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677" r:id="rId4"/>
  </p:sldMasterIdLst>
  <p:notesMasterIdLst>
    <p:notesMasterId r:id="rId70"/>
  </p:notesMasterIdLst>
  <p:handoutMasterIdLst>
    <p:handoutMasterId r:id="rId71"/>
  </p:handoutMasterIdLst>
  <p:sldIdLst>
    <p:sldId id="283" r:id="rId5"/>
    <p:sldId id="269" r:id="rId6"/>
    <p:sldId id="270" r:id="rId7"/>
    <p:sldId id="268" r:id="rId8"/>
    <p:sldId id="336" r:id="rId9"/>
    <p:sldId id="271" r:id="rId10"/>
    <p:sldId id="272" r:id="rId11"/>
    <p:sldId id="273" r:id="rId12"/>
    <p:sldId id="274" r:id="rId13"/>
    <p:sldId id="275" r:id="rId14"/>
    <p:sldId id="276" r:id="rId15"/>
    <p:sldId id="277" r:id="rId16"/>
    <p:sldId id="278" r:id="rId17"/>
    <p:sldId id="279" r:id="rId18"/>
    <p:sldId id="280" r:id="rId19"/>
    <p:sldId id="335" r:id="rId20"/>
    <p:sldId id="281" r:id="rId21"/>
    <p:sldId id="284" r:id="rId22"/>
    <p:sldId id="1327" r:id="rId23"/>
    <p:sldId id="1328" r:id="rId24"/>
    <p:sldId id="288" r:id="rId25"/>
    <p:sldId id="282" r:id="rId26"/>
    <p:sldId id="285" r:id="rId27"/>
    <p:sldId id="290" r:id="rId28"/>
    <p:sldId id="291" r:id="rId29"/>
    <p:sldId id="292" r:id="rId30"/>
    <p:sldId id="293" r:id="rId31"/>
    <p:sldId id="294" r:id="rId32"/>
    <p:sldId id="296" r:id="rId33"/>
    <p:sldId id="319" r:id="rId34"/>
    <p:sldId id="320" r:id="rId35"/>
    <p:sldId id="321" r:id="rId36"/>
    <p:sldId id="322" r:id="rId37"/>
    <p:sldId id="352" r:id="rId38"/>
    <p:sldId id="1329" r:id="rId39"/>
    <p:sldId id="340" r:id="rId40"/>
    <p:sldId id="341" r:id="rId41"/>
    <p:sldId id="342" r:id="rId42"/>
    <p:sldId id="343" r:id="rId43"/>
    <p:sldId id="344" r:id="rId44"/>
    <p:sldId id="345" r:id="rId45"/>
    <p:sldId id="346" r:id="rId46"/>
    <p:sldId id="347" r:id="rId47"/>
    <p:sldId id="348" r:id="rId48"/>
    <p:sldId id="349" r:id="rId49"/>
    <p:sldId id="350" r:id="rId50"/>
    <p:sldId id="351" r:id="rId51"/>
    <p:sldId id="325" r:id="rId52"/>
    <p:sldId id="326" r:id="rId53"/>
    <p:sldId id="327" r:id="rId54"/>
    <p:sldId id="328" r:id="rId55"/>
    <p:sldId id="363" r:id="rId56"/>
    <p:sldId id="329" r:id="rId57"/>
    <p:sldId id="364" r:id="rId58"/>
    <p:sldId id="353" r:id="rId59"/>
    <p:sldId id="354" r:id="rId60"/>
    <p:sldId id="355" r:id="rId61"/>
    <p:sldId id="356" r:id="rId62"/>
    <p:sldId id="357" r:id="rId63"/>
    <p:sldId id="365" r:id="rId64"/>
    <p:sldId id="330" r:id="rId65"/>
    <p:sldId id="331" r:id="rId66"/>
    <p:sldId id="332" r:id="rId67"/>
    <p:sldId id="333" r:id="rId68"/>
    <p:sldId id="334" r:id="rId69"/>
  </p:sldIdLst>
  <p:sldSz cx="9147175" cy="5145088"/>
  <p:notesSz cx="6735763" cy="9866313"/>
  <p:embeddedFontLst>
    <p:embeddedFont>
      <p:font typeface="Times" panose="02020603050405020304" pitchFamily="18" charset="0"/>
      <p:regular r:id="rId72"/>
      <p:bold r:id="rId73"/>
      <p:italic r:id="rId74"/>
      <p:boldItalic r:id="rId75"/>
    </p:embeddedFont>
    <p:embeddedFont>
      <p:font typeface="Verdana" panose="020B0604030504040204" pitchFamily="34" charset="0"/>
      <p:regular r:id="rId76"/>
      <p:bold r:id="rId77"/>
      <p:italic r:id="rId78"/>
      <p:boldItalic r:id="rId79"/>
    </p:embeddedFont>
    <p:embeddedFont>
      <p:font typeface="Volvo Novum" pitchFamily="50" charset="0"/>
      <p:regular r:id="rId80"/>
      <p:bold r:id="rId81"/>
      <p:italic r:id="rId82"/>
      <p:boldItalic r:id="rId83"/>
    </p:embeddedFont>
    <p:embeddedFont>
      <p:font typeface="Volvo Novum Light" pitchFamily="50" charset="0"/>
      <p:regular r:id="rId84"/>
      <p:italic r:id="rId85"/>
    </p:embeddedFont>
    <p:embeddedFont>
      <p:font typeface="Volvo Novum Medium" pitchFamily="50" charset="0"/>
      <p:regular r:id="rId86"/>
      <p:italic r:id="rId87"/>
    </p:embeddedFont>
    <p:embeddedFont>
      <p:font typeface="微软雅黑" panose="020B0503020204020204" pitchFamily="34" charset="-122"/>
      <p:regular r:id="rId88"/>
      <p:bold r:id="rId89"/>
    </p:embeddedFont>
    <p:embeddedFont>
      <p:font typeface="微软雅黑" panose="020B0503020204020204" pitchFamily="34" charset="-122"/>
      <p:regular r:id="rId88"/>
      <p:bold r:id="rId89"/>
    </p:embeddedFont>
  </p:embeddedFontLst>
  <p:defaultTextStyle>
    <a:defPPr>
      <a:defRPr lang="sv-SE"/>
    </a:defPPr>
    <a:lvl1pPr marL="0" algn="l" defTabSz="729604" rtl="0" eaLnBrk="1" latinLnBrk="0" hangingPunct="1">
      <a:defRPr sz="1437" kern="1200">
        <a:solidFill>
          <a:schemeClr val="tx1"/>
        </a:solidFill>
        <a:latin typeface="+mn-lt"/>
        <a:ea typeface="+mn-ea"/>
        <a:cs typeface="+mn-cs"/>
      </a:defRPr>
    </a:lvl1pPr>
    <a:lvl2pPr marL="364802" algn="l" defTabSz="729604" rtl="0" eaLnBrk="1" latinLnBrk="0" hangingPunct="1">
      <a:defRPr sz="1437" kern="1200">
        <a:solidFill>
          <a:schemeClr val="tx1"/>
        </a:solidFill>
        <a:latin typeface="+mn-lt"/>
        <a:ea typeface="+mn-ea"/>
        <a:cs typeface="+mn-cs"/>
      </a:defRPr>
    </a:lvl2pPr>
    <a:lvl3pPr marL="729604" algn="l" defTabSz="729604" rtl="0" eaLnBrk="1" latinLnBrk="0" hangingPunct="1">
      <a:defRPr sz="1437" kern="1200">
        <a:solidFill>
          <a:schemeClr val="tx1"/>
        </a:solidFill>
        <a:latin typeface="+mn-lt"/>
        <a:ea typeface="+mn-ea"/>
        <a:cs typeface="+mn-cs"/>
      </a:defRPr>
    </a:lvl3pPr>
    <a:lvl4pPr marL="1094406" algn="l" defTabSz="729604" rtl="0" eaLnBrk="1" latinLnBrk="0" hangingPunct="1">
      <a:defRPr sz="1437" kern="1200">
        <a:solidFill>
          <a:schemeClr val="tx1"/>
        </a:solidFill>
        <a:latin typeface="+mn-lt"/>
        <a:ea typeface="+mn-ea"/>
        <a:cs typeface="+mn-cs"/>
      </a:defRPr>
    </a:lvl4pPr>
    <a:lvl5pPr marL="1459208" algn="l" defTabSz="729604" rtl="0" eaLnBrk="1" latinLnBrk="0" hangingPunct="1">
      <a:defRPr sz="1437" kern="1200">
        <a:solidFill>
          <a:schemeClr val="tx1"/>
        </a:solidFill>
        <a:latin typeface="+mn-lt"/>
        <a:ea typeface="+mn-ea"/>
        <a:cs typeface="+mn-cs"/>
      </a:defRPr>
    </a:lvl5pPr>
    <a:lvl6pPr marL="1824011" algn="l" defTabSz="729604" rtl="0" eaLnBrk="1" latinLnBrk="0" hangingPunct="1">
      <a:defRPr sz="1437" kern="1200">
        <a:solidFill>
          <a:schemeClr val="tx1"/>
        </a:solidFill>
        <a:latin typeface="+mn-lt"/>
        <a:ea typeface="+mn-ea"/>
        <a:cs typeface="+mn-cs"/>
      </a:defRPr>
    </a:lvl6pPr>
    <a:lvl7pPr marL="2188811" algn="l" defTabSz="729604" rtl="0" eaLnBrk="1" latinLnBrk="0" hangingPunct="1">
      <a:defRPr sz="1437" kern="1200">
        <a:solidFill>
          <a:schemeClr val="tx1"/>
        </a:solidFill>
        <a:latin typeface="+mn-lt"/>
        <a:ea typeface="+mn-ea"/>
        <a:cs typeface="+mn-cs"/>
      </a:defRPr>
    </a:lvl7pPr>
    <a:lvl8pPr marL="2553614" algn="l" defTabSz="729604" rtl="0" eaLnBrk="1" latinLnBrk="0" hangingPunct="1">
      <a:defRPr sz="1437" kern="1200">
        <a:solidFill>
          <a:schemeClr val="tx1"/>
        </a:solidFill>
        <a:latin typeface="+mn-lt"/>
        <a:ea typeface="+mn-ea"/>
        <a:cs typeface="+mn-cs"/>
      </a:defRPr>
    </a:lvl8pPr>
    <a:lvl9pPr marL="2918415" algn="l" defTabSz="729604" rtl="0" eaLnBrk="1" latinLnBrk="0" hangingPunct="1">
      <a:defRPr sz="1437"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111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721" autoAdjust="0"/>
    <p:restoredTop sz="94118" autoAdjust="0"/>
  </p:normalViewPr>
  <p:slideViewPr>
    <p:cSldViewPr snapToGrid="0">
      <p:cViewPr varScale="1">
        <p:scale>
          <a:sx n="120" d="100"/>
          <a:sy n="120" d="100"/>
        </p:scale>
        <p:origin x="274" y="77"/>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50" d="100"/>
          <a:sy n="50" d="100"/>
        </p:scale>
        <p:origin x="2988" y="4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font" Target="fonts/font13.fntdata"/><Relationship Id="rId89" Type="http://schemas.openxmlformats.org/officeDocument/2006/relationships/font" Target="fonts/font18.fntdata"/><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font" Target="fonts/font3.fntdata"/><Relationship Id="rId79" Type="http://schemas.openxmlformats.org/officeDocument/2006/relationships/font" Target="fonts/font8.fntdata"/><Relationship Id="rId5" Type="http://schemas.openxmlformats.org/officeDocument/2006/relationships/slide" Target="slides/slide1.xml"/><Relationship Id="rId90"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font" Target="fonts/font1.fntdata"/><Relationship Id="rId80" Type="http://schemas.openxmlformats.org/officeDocument/2006/relationships/font" Target="fonts/font9.fntdata"/><Relationship Id="rId85" Type="http://schemas.openxmlformats.org/officeDocument/2006/relationships/font" Target="fonts/font14.fntdata"/><Relationship Id="rId93"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notesMaster" Target="notesMasters/notesMaster1.xml"/><Relationship Id="rId75" Type="http://schemas.openxmlformats.org/officeDocument/2006/relationships/font" Target="fonts/font4.fntdata"/><Relationship Id="rId83" Type="http://schemas.openxmlformats.org/officeDocument/2006/relationships/font" Target="fonts/font12.fntdata"/><Relationship Id="rId88" Type="http://schemas.openxmlformats.org/officeDocument/2006/relationships/font" Target="fonts/font17.fntdata"/><Relationship Id="rId9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font" Target="fonts/font2.fntdata"/><Relationship Id="rId78" Type="http://schemas.openxmlformats.org/officeDocument/2006/relationships/font" Target="fonts/font7.fntdata"/><Relationship Id="rId81" Type="http://schemas.openxmlformats.org/officeDocument/2006/relationships/font" Target="fonts/font10.fntdata"/><Relationship Id="rId86" Type="http://schemas.openxmlformats.org/officeDocument/2006/relationships/font" Target="fonts/font15.fntdata"/><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font" Target="fonts/font5.fntdata"/><Relationship Id="rId7" Type="http://schemas.openxmlformats.org/officeDocument/2006/relationships/slide" Target="slides/slide3.xml"/><Relationship Id="rId71" Type="http://schemas.openxmlformats.org/officeDocument/2006/relationships/handoutMaster" Target="handoutMasters/handoutMaster1.xml"/><Relationship Id="rId92" Type="http://schemas.openxmlformats.org/officeDocument/2006/relationships/theme" Target="theme/theme1.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font" Target="fonts/font16.fntdata"/><Relationship Id="rId61" Type="http://schemas.openxmlformats.org/officeDocument/2006/relationships/slide" Target="slides/slide57.xml"/><Relationship Id="rId82" Type="http://schemas.openxmlformats.org/officeDocument/2006/relationships/font" Target="fonts/font11.fntdata"/><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font" Target="fonts/font6.fntdata"/></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14763" y="0"/>
            <a:ext cx="2919412" cy="495300"/>
          </a:xfrm>
          <a:prstGeom prst="rect">
            <a:avLst/>
          </a:prstGeom>
        </p:spPr>
        <p:txBody>
          <a:bodyPr vert="horz" lIns="91440" tIns="45720" rIns="91440" bIns="45720" rtlCol="0"/>
          <a:lstStyle>
            <a:lvl1pPr algn="r">
              <a:defRPr sz="1200"/>
            </a:lvl1pPr>
          </a:lstStyle>
          <a:p>
            <a:fld id="{F255EC49-870C-4F9C-8D50-99EC31C6F75F}" type="datetimeFigureOut">
              <a:rPr lang="en-GB" smtClean="0"/>
              <a:t>24/06/2025</a:t>
            </a:fld>
            <a:endParaRPr lang="en-GB"/>
          </a:p>
        </p:txBody>
      </p:sp>
      <p:sp>
        <p:nvSpPr>
          <p:cNvPr id="4" name="Footer Placeholder 3"/>
          <p:cNvSpPr>
            <a:spLocks noGrp="1"/>
          </p:cNvSpPr>
          <p:nvPr>
            <p:ph type="ftr" sz="quarter" idx="2"/>
          </p:nvPr>
        </p:nvSpPr>
        <p:spPr>
          <a:xfrm>
            <a:off x="0" y="9371013"/>
            <a:ext cx="2919413" cy="4953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14763" y="9371013"/>
            <a:ext cx="2919412" cy="495300"/>
          </a:xfrm>
          <a:prstGeom prst="rect">
            <a:avLst/>
          </a:prstGeom>
        </p:spPr>
        <p:txBody>
          <a:bodyPr vert="horz" lIns="91440" tIns="45720" rIns="91440" bIns="45720" rtlCol="0" anchor="b"/>
          <a:lstStyle>
            <a:lvl1pPr algn="r">
              <a:defRPr sz="1200"/>
            </a:lvl1pPr>
          </a:lstStyle>
          <a:p>
            <a:fld id="{B5051B9F-F4B3-407B-8B8C-E5092DFD6FE6}" type="slidenum">
              <a:rPr lang="en-GB" smtClean="0"/>
              <a:t>‹#›</a:t>
            </a:fld>
            <a:endParaRPr lang="en-GB"/>
          </a:p>
        </p:txBody>
      </p:sp>
    </p:spTree>
    <p:extLst>
      <p:ext uri="{BB962C8B-B14F-4D97-AF65-F5344CB8AC3E}">
        <p14:creationId xmlns:p14="http://schemas.microsoft.com/office/powerpoint/2010/main" val="4457924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18831" cy="494497"/>
          </a:xfrm>
          <a:prstGeom prst="rect">
            <a:avLst/>
          </a:prstGeom>
        </p:spPr>
        <p:txBody>
          <a:bodyPr vert="horz" lIns="90343" tIns="45171" rIns="90343" bIns="45171" rtlCol="0"/>
          <a:lstStyle>
            <a:lvl1pPr algn="l">
              <a:defRPr sz="1200"/>
            </a:lvl1pPr>
          </a:lstStyle>
          <a:p>
            <a:endParaRPr lang="sv-SE"/>
          </a:p>
        </p:txBody>
      </p:sp>
      <p:sp>
        <p:nvSpPr>
          <p:cNvPr id="3" name="Platshållare för datum 2"/>
          <p:cNvSpPr>
            <a:spLocks noGrp="1"/>
          </p:cNvSpPr>
          <p:nvPr>
            <p:ph type="dt" idx="1"/>
          </p:nvPr>
        </p:nvSpPr>
        <p:spPr>
          <a:xfrm>
            <a:off x="3815373" y="0"/>
            <a:ext cx="2918831" cy="494497"/>
          </a:xfrm>
          <a:prstGeom prst="rect">
            <a:avLst/>
          </a:prstGeom>
        </p:spPr>
        <p:txBody>
          <a:bodyPr vert="horz" lIns="90343" tIns="45171" rIns="90343" bIns="45171" rtlCol="0"/>
          <a:lstStyle>
            <a:lvl1pPr algn="r">
              <a:defRPr sz="1200"/>
            </a:lvl1pPr>
          </a:lstStyle>
          <a:p>
            <a:fld id="{A1A942C2-2B0E-4348-A779-75C6EC8BB84D}" type="datetimeFigureOut">
              <a:rPr lang="sv-SE" smtClean="0"/>
              <a:t>2025-06-24</a:t>
            </a:fld>
            <a:endParaRPr lang="sv-SE"/>
          </a:p>
        </p:txBody>
      </p:sp>
      <p:sp>
        <p:nvSpPr>
          <p:cNvPr id="4" name="Platshållare för bildobjekt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343" tIns="45171" rIns="90343" bIns="45171" rtlCol="0" anchor="ctr"/>
          <a:lstStyle/>
          <a:p>
            <a:endParaRPr lang="sv-SE"/>
          </a:p>
        </p:txBody>
      </p:sp>
      <p:sp>
        <p:nvSpPr>
          <p:cNvPr id="5" name="Platshållare för anteckningar 4"/>
          <p:cNvSpPr>
            <a:spLocks noGrp="1"/>
          </p:cNvSpPr>
          <p:nvPr>
            <p:ph type="body" sz="quarter" idx="3"/>
          </p:nvPr>
        </p:nvSpPr>
        <p:spPr>
          <a:xfrm>
            <a:off x="673577" y="4748114"/>
            <a:ext cx="5388610" cy="3885106"/>
          </a:xfrm>
          <a:prstGeom prst="rect">
            <a:avLst/>
          </a:prstGeom>
        </p:spPr>
        <p:txBody>
          <a:bodyPr vert="horz" lIns="90343" tIns="45171" rIns="90343" bIns="45171"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371817"/>
            <a:ext cx="2918831" cy="494497"/>
          </a:xfrm>
          <a:prstGeom prst="rect">
            <a:avLst/>
          </a:prstGeom>
        </p:spPr>
        <p:txBody>
          <a:bodyPr vert="horz" lIns="90343" tIns="45171" rIns="90343" bIns="45171" rtlCol="0" anchor="b"/>
          <a:lstStyle>
            <a:lvl1pPr algn="l">
              <a:defRPr sz="1200"/>
            </a:lvl1pPr>
          </a:lstStyle>
          <a:p>
            <a:endParaRPr lang="sv-SE"/>
          </a:p>
        </p:txBody>
      </p:sp>
      <p:sp>
        <p:nvSpPr>
          <p:cNvPr id="7" name="Platshållare för bildnummer 6"/>
          <p:cNvSpPr>
            <a:spLocks noGrp="1"/>
          </p:cNvSpPr>
          <p:nvPr>
            <p:ph type="sldNum" sz="quarter" idx="5"/>
          </p:nvPr>
        </p:nvSpPr>
        <p:spPr>
          <a:xfrm>
            <a:off x="3815373" y="9371817"/>
            <a:ext cx="2918831" cy="494497"/>
          </a:xfrm>
          <a:prstGeom prst="rect">
            <a:avLst/>
          </a:prstGeom>
        </p:spPr>
        <p:txBody>
          <a:bodyPr vert="horz" lIns="90343" tIns="45171" rIns="90343" bIns="45171" rtlCol="0" anchor="b"/>
          <a:lstStyle>
            <a:lvl1pPr algn="r">
              <a:defRPr sz="1200"/>
            </a:lvl1pPr>
          </a:lstStyle>
          <a:p>
            <a:fld id="{7692B0D0-35E0-4DC8-B4A6-118214BEA3B7}" type="slidenum">
              <a:rPr lang="sv-SE" smtClean="0"/>
              <a:t>‹#›</a:t>
            </a:fld>
            <a:endParaRPr lang="sv-SE"/>
          </a:p>
        </p:txBody>
      </p:sp>
    </p:spTree>
    <p:extLst>
      <p:ext uri="{BB962C8B-B14F-4D97-AF65-F5344CB8AC3E}">
        <p14:creationId xmlns:p14="http://schemas.microsoft.com/office/powerpoint/2010/main" val="3189629828"/>
      </p:ext>
    </p:extLst>
  </p:cSld>
  <p:clrMap bg1="lt1" tx1="dk1" bg2="lt2" tx2="dk2" accent1="accent1" accent2="accent2" accent3="accent3" accent4="accent4" accent5="accent5" accent6="accent6" hlink="hlink" folHlink="folHlink"/>
  <p:hf hdr="0" ftr="0" dt="0"/>
  <p:notesStyle>
    <a:lvl1pPr marL="0" algn="l" defTabSz="823234" rtl="0" eaLnBrk="1" latinLnBrk="0" hangingPunct="1">
      <a:defRPr sz="1080" kern="1200">
        <a:solidFill>
          <a:schemeClr val="tx1"/>
        </a:solidFill>
        <a:latin typeface="+mn-lt"/>
        <a:ea typeface="+mn-ea"/>
        <a:cs typeface="+mn-cs"/>
      </a:defRPr>
    </a:lvl1pPr>
    <a:lvl2pPr marL="411617" algn="l" defTabSz="823234" rtl="0" eaLnBrk="1" latinLnBrk="0" hangingPunct="1">
      <a:defRPr sz="1080" kern="1200">
        <a:solidFill>
          <a:schemeClr val="tx1"/>
        </a:solidFill>
        <a:latin typeface="+mn-lt"/>
        <a:ea typeface="+mn-ea"/>
        <a:cs typeface="+mn-cs"/>
      </a:defRPr>
    </a:lvl2pPr>
    <a:lvl3pPr marL="823234" algn="l" defTabSz="823234" rtl="0" eaLnBrk="1" latinLnBrk="0" hangingPunct="1">
      <a:defRPr sz="1080" kern="1200">
        <a:solidFill>
          <a:schemeClr val="tx1"/>
        </a:solidFill>
        <a:latin typeface="+mn-lt"/>
        <a:ea typeface="+mn-ea"/>
        <a:cs typeface="+mn-cs"/>
      </a:defRPr>
    </a:lvl3pPr>
    <a:lvl4pPr marL="1234851" algn="l" defTabSz="823234" rtl="0" eaLnBrk="1" latinLnBrk="0" hangingPunct="1">
      <a:defRPr sz="1080" kern="1200">
        <a:solidFill>
          <a:schemeClr val="tx1"/>
        </a:solidFill>
        <a:latin typeface="+mn-lt"/>
        <a:ea typeface="+mn-ea"/>
        <a:cs typeface="+mn-cs"/>
      </a:defRPr>
    </a:lvl4pPr>
    <a:lvl5pPr marL="1646469" algn="l" defTabSz="823234" rtl="0" eaLnBrk="1" latinLnBrk="0" hangingPunct="1">
      <a:defRPr sz="1080" kern="1200">
        <a:solidFill>
          <a:schemeClr val="tx1"/>
        </a:solidFill>
        <a:latin typeface="+mn-lt"/>
        <a:ea typeface="+mn-ea"/>
        <a:cs typeface="+mn-cs"/>
      </a:defRPr>
    </a:lvl5pPr>
    <a:lvl6pPr marL="2058086" algn="l" defTabSz="823234" rtl="0" eaLnBrk="1" latinLnBrk="0" hangingPunct="1">
      <a:defRPr sz="1080" kern="1200">
        <a:solidFill>
          <a:schemeClr val="tx1"/>
        </a:solidFill>
        <a:latin typeface="+mn-lt"/>
        <a:ea typeface="+mn-ea"/>
        <a:cs typeface="+mn-cs"/>
      </a:defRPr>
    </a:lvl6pPr>
    <a:lvl7pPr marL="2469703" algn="l" defTabSz="823234" rtl="0" eaLnBrk="1" latinLnBrk="0" hangingPunct="1">
      <a:defRPr sz="1080" kern="1200">
        <a:solidFill>
          <a:schemeClr val="tx1"/>
        </a:solidFill>
        <a:latin typeface="+mn-lt"/>
        <a:ea typeface="+mn-ea"/>
        <a:cs typeface="+mn-cs"/>
      </a:defRPr>
    </a:lvl7pPr>
    <a:lvl8pPr marL="2881320" algn="l" defTabSz="823234" rtl="0" eaLnBrk="1" latinLnBrk="0" hangingPunct="1">
      <a:defRPr sz="1080" kern="1200">
        <a:solidFill>
          <a:schemeClr val="tx1"/>
        </a:solidFill>
        <a:latin typeface="+mn-lt"/>
        <a:ea typeface="+mn-ea"/>
        <a:cs typeface="+mn-cs"/>
      </a:defRPr>
    </a:lvl8pPr>
    <a:lvl9pPr marL="3292937" algn="l" defTabSz="823234" rtl="0" eaLnBrk="1" latinLnBrk="0" hangingPunct="1">
      <a:defRPr sz="10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692B0D0-35E0-4DC8-B4A6-118214BEA3B7}" type="slidenum">
              <a:rPr lang="sv-SE" smtClean="0"/>
              <a:t>2</a:t>
            </a:fld>
            <a:endParaRPr lang="sv-SE"/>
          </a:p>
        </p:txBody>
      </p:sp>
    </p:spTree>
    <p:extLst>
      <p:ext uri="{BB962C8B-B14F-4D97-AF65-F5344CB8AC3E}">
        <p14:creationId xmlns:p14="http://schemas.microsoft.com/office/powerpoint/2010/main" val="35342844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txBox="1">
            <a:spLocks noGrp="1" noChangeArrowheads="1"/>
          </p:cNvSpPr>
          <p:nvPr/>
        </p:nvSpPr>
        <p:spPr bwMode="auto">
          <a:xfrm>
            <a:off x="3577554" y="9728802"/>
            <a:ext cx="2736259" cy="511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253" tIns="46127" rIns="92253" bIns="46127" anchor="b"/>
          <a:lstStyle>
            <a:lvl1pPr defTabSz="946150" eaLnBrk="0" hangingPunct="0">
              <a:defRPr>
                <a:solidFill>
                  <a:schemeClr val="tx1"/>
                </a:solidFill>
                <a:latin typeface="Arial" charset="0"/>
                <a:ea typeface="宋体" pitchFamily="2" charset="-122"/>
              </a:defRPr>
            </a:lvl1pPr>
            <a:lvl2pPr marL="742950" indent="-285750" defTabSz="946150" eaLnBrk="0" hangingPunct="0">
              <a:defRPr>
                <a:solidFill>
                  <a:schemeClr val="tx1"/>
                </a:solidFill>
                <a:latin typeface="Arial" charset="0"/>
                <a:ea typeface="宋体" pitchFamily="2" charset="-122"/>
              </a:defRPr>
            </a:lvl2pPr>
            <a:lvl3pPr marL="1143000" indent="-228600" defTabSz="946150" eaLnBrk="0" hangingPunct="0">
              <a:defRPr>
                <a:solidFill>
                  <a:schemeClr val="tx1"/>
                </a:solidFill>
                <a:latin typeface="Arial" charset="0"/>
                <a:ea typeface="宋体" pitchFamily="2" charset="-122"/>
              </a:defRPr>
            </a:lvl3pPr>
            <a:lvl4pPr marL="1600200" indent="-228600" defTabSz="946150" eaLnBrk="0" hangingPunct="0">
              <a:defRPr>
                <a:solidFill>
                  <a:schemeClr val="tx1"/>
                </a:solidFill>
                <a:latin typeface="Arial" charset="0"/>
                <a:ea typeface="宋体" pitchFamily="2" charset="-122"/>
              </a:defRPr>
            </a:lvl4pPr>
            <a:lvl5pPr marL="2057400" indent="-228600" defTabSz="946150" eaLnBrk="0" hangingPunct="0">
              <a:defRPr>
                <a:solidFill>
                  <a:schemeClr val="tx1"/>
                </a:solidFill>
                <a:latin typeface="Arial" charset="0"/>
                <a:ea typeface="宋体" pitchFamily="2" charset="-122"/>
              </a:defRPr>
            </a:lvl5pPr>
            <a:lvl6pPr marL="2514600" indent="-228600" defTabSz="946150" eaLnBrk="0" fontAlgn="base" hangingPunct="0">
              <a:spcBef>
                <a:spcPct val="0"/>
              </a:spcBef>
              <a:spcAft>
                <a:spcPct val="0"/>
              </a:spcAft>
              <a:defRPr>
                <a:solidFill>
                  <a:schemeClr val="tx1"/>
                </a:solidFill>
                <a:latin typeface="Arial" charset="0"/>
                <a:ea typeface="宋体" pitchFamily="2" charset="-122"/>
              </a:defRPr>
            </a:lvl6pPr>
            <a:lvl7pPr marL="2971800" indent="-228600" defTabSz="946150" eaLnBrk="0" fontAlgn="base" hangingPunct="0">
              <a:spcBef>
                <a:spcPct val="0"/>
              </a:spcBef>
              <a:spcAft>
                <a:spcPct val="0"/>
              </a:spcAft>
              <a:defRPr>
                <a:solidFill>
                  <a:schemeClr val="tx1"/>
                </a:solidFill>
                <a:latin typeface="Arial" charset="0"/>
                <a:ea typeface="宋体" pitchFamily="2" charset="-122"/>
              </a:defRPr>
            </a:lvl7pPr>
            <a:lvl8pPr marL="3429000" indent="-228600" defTabSz="946150" eaLnBrk="0" fontAlgn="base" hangingPunct="0">
              <a:spcBef>
                <a:spcPct val="0"/>
              </a:spcBef>
              <a:spcAft>
                <a:spcPct val="0"/>
              </a:spcAft>
              <a:defRPr>
                <a:solidFill>
                  <a:schemeClr val="tx1"/>
                </a:solidFill>
                <a:latin typeface="Arial" charset="0"/>
                <a:ea typeface="宋体" pitchFamily="2" charset="-122"/>
              </a:defRPr>
            </a:lvl8pPr>
            <a:lvl9pPr marL="3886200" indent="-228600" defTabSz="946150" eaLnBrk="0" fontAlgn="base" hangingPunct="0">
              <a:spcBef>
                <a:spcPct val="0"/>
              </a:spcBef>
              <a:spcAft>
                <a:spcPct val="0"/>
              </a:spcAft>
              <a:defRPr>
                <a:solidFill>
                  <a:schemeClr val="tx1"/>
                </a:solidFill>
                <a:latin typeface="Arial" charset="0"/>
                <a:ea typeface="宋体" pitchFamily="2" charset="-122"/>
              </a:defRPr>
            </a:lvl9pPr>
          </a:lstStyle>
          <a:p>
            <a:pPr algn="r"/>
            <a:fld id="{707DE928-DE1C-47B3-93A6-193821F6246C}" type="slidenum">
              <a:rPr lang="en-US" altLang="zh-CN" sz="1200">
                <a:latin typeface="Times" pitchFamily="18" charset="0"/>
              </a:rPr>
              <a:pPr algn="r"/>
              <a:t>38</a:t>
            </a:fld>
            <a:endParaRPr lang="en-US" altLang="zh-CN" sz="1200">
              <a:latin typeface="Times" pitchFamily="18" charset="0"/>
            </a:endParaRPr>
          </a:p>
        </p:txBody>
      </p:sp>
      <p:sp>
        <p:nvSpPr>
          <p:cNvPr id="135171" name="幻灯片图像占位符 1"/>
          <p:cNvSpPr>
            <a:spLocks noGrp="1" noRot="1" noChangeAspect="1" noTextEdit="1"/>
          </p:cNvSpPr>
          <p:nvPr>
            <p:ph type="sldImg"/>
          </p:nvPr>
        </p:nvSpPr>
        <p:spPr>
          <a:xfrm>
            <a:off x="-596900" y="574675"/>
            <a:ext cx="7510463" cy="4225925"/>
          </a:xfrm>
          <a:ln/>
        </p:spPr>
      </p:sp>
      <p:sp>
        <p:nvSpPr>
          <p:cNvPr id="135172" name="备注占位符 2"/>
          <p:cNvSpPr>
            <a:spLocks noGrp="1"/>
          </p:cNvSpPr>
          <p:nvPr>
            <p:ph type="body" idx="1"/>
          </p:nvPr>
        </p:nvSpPr>
        <p:spPr>
          <a:xfrm>
            <a:off x="841294" y="5120066"/>
            <a:ext cx="4631226" cy="460704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lstStyle/>
          <a:p>
            <a:pPr eaLnBrk="1" hangingPunct="1"/>
            <a:endParaRPr lang="zh-CN" altLang="en-US" dirty="0"/>
          </a:p>
        </p:txBody>
      </p:sp>
      <p:sp>
        <p:nvSpPr>
          <p:cNvPr id="135173" name="灯片编号占位符 3"/>
          <p:cNvSpPr txBox="1">
            <a:spLocks noGrp="1"/>
          </p:cNvSpPr>
          <p:nvPr/>
        </p:nvSpPr>
        <p:spPr bwMode="auto">
          <a:xfrm>
            <a:off x="3578924" y="9727109"/>
            <a:ext cx="2734889" cy="513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nchor="b"/>
          <a:lstStyle>
            <a:lvl1pPr defTabSz="955675" eaLnBrk="0" hangingPunct="0">
              <a:defRPr>
                <a:solidFill>
                  <a:schemeClr val="tx1"/>
                </a:solidFill>
                <a:latin typeface="Arial" charset="0"/>
                <a:ea typeface="宋体" pitchFamily="2" charset="-122"/>
              </a:defRPr>
            </a:lvl1pPr>
            <a:lvl2pPr marL="742950" indent="-285750" defTabSz="955675" eaLnBrk="0" hangingPunct="0">
              <a:defRPr>
                <a:solidFill>
                  <a:schemeClr val="tx1"/>
                </a:solidFill>
                <a:latin typeface="Arial" charset="0"/>
                <a:ea typeface="宋体" pitchFamily="2" charset="-122"/>
              </a:defRPr>
            </a:lvl2pPr>
            <a:lvl3pPr marL="1143000" indent="-228600" defTabSz="955675" eaLnBrk="0" hangingPunct="0">
              <a:defRPr>
                <a:solidFill>
                  <a:schemeClr val="tx1"/>
                </a:solidFill>
                <a:latin typeface="Arial" charset="0"/>
                <a:ea typeface="宋体" pitchFamily="2" charset="-122"/>
              </a:defRPr>
            </a:lvl3pPr>
            <a:lvl4pPr marL="1600200" indent="-228600" defTabSz="955675" eaLnBrk="0" hangingPunct="0">
              <a:defRPr>
                <a:solidFill>
                  <a:schemeClr val="tx1"/>
                </a:solidFill>
                <a:latin typeface="Arial" charset="0"/>
                <a:ea typeface="宋体" pitchFamily="2" charset="-122"/>
              </a:defRPr>
            </a:lvl4pPr>
            <a:lvl5pPr marL="2057400" indent="-228600" defTabSz="955675" eaLnBrk="0" hangingPunct="0">
              <a:defRPr>
                <a:solidFill>
                  <a:schemeClr val="tx1"/>
                </a:solidFill>
                <a:latin typeface="Arial" charset="0"/>
                <a:ea typeface="宋体" pitchFamily="2" charset="-122"/>
              </a:defRPr>
            </a:lvl5pPr>
            <a:lvl6pPr marL="2514600" indent="-228600" defTabSz="955675" eaLnBrk="0" fontAlgn="base" hangingPunct="0">
              <a:spcBef>
                <a:spcPct val="0"/>
              </a:spcBef>
              <a:spcAft>
                <a:spcPct val="0"/>
              </a:spcAft>
              <a:defRPr>
                <a:solidFill>
                  <a:schemeClr val="tx1"/>
                </a:solidFill>
                <a:latin typeface="Arial" charset="0"/>
                <a:ea typeface="宋体" pitchFamily="2" charset="-122"/>
              </a:defRPr>
            </a:lvl6pPr>
            <a:lvl7pPr marL="2971800" indent="-228600" defTabSz="955675" eaLnBrk="0" fontAlgn="base" hangingPunct="0">
              <a:spcBef>
                <a:spcPct val="0"/>
              </a:spcBef>
              <a:spcAft>
                <a:spcPct val="0"/>
              </a:spcAft>
              <a:defRPr>
                <a:solidFill>
                  <a:schemeClr val="tx1"/>
                </a:solidFill>
                <a:latin typeface="Arial" charset="0"/>
                <a:ea typeface="宋体" pitchFamily="2" charset="-122"/>
              </a:defRPr>
            </a:lvl7pPr>
            <a:lvl8pPr marL="3429000" indent="-228600" defTabSz="955675" eaLnBrk="0" fontAlgn="base" hangingPunct="0">
              <a:spcBef>
                <a:spcPct val="0"/>
              </a:spcBef>
              <a:spcAft>
                <a:spcPct val="0"/>
              </a:spcAft>
              <a:defRPr>
                <a:solidFill>
                  <a:schemeClr val="tx1"/>
                </a:solidFill>
                <a:latin typeface="Arial" charset="0"/>
                <a:ea typeface="宋体" pitchFamily="2" charset="-122"/>
              </a:defRPr>
            </a:lvl8pPr>
            <a:lvl9pPr marL="3886200" indent="-228600" defTabSz="955675" eaLnBrk="0" fontAlgn="base" hangingPunct="0">
              <a:spcBef>
                <a:spcPct val="0"/>
              </a:spcBef>
              <a:spcAft>
                <a:spcPct val="0"/>
              </a:spcAft>
              <a:defRPr>
                <a:solidFill>
                  <a:schemeClr val="tx1"/>
                </a:solidFill>
                <a:latin typeface="Arial" charset="0"/>
                <a:ea typeface="宋体" pitchFamily="2" charset="-122"/>
              </a:defRPr>
            </a:lvl9pPr>
          </a:lstStyle>
          <a:p>
            <a:pPr algn="r"/>
            <a:fld id="{967BBF71-3149-494C-847F-15994E3719FA}" type="slidenum">
              <a:rPr lang="it-IT" altLang="zh-CN" sz="1300">
                <a:latin typeface="Times" pitchFamily="18" charset="0"/>
              </a:rPr>
              <a:pPr algn="r"/>
              <a:t>38</a:t>
            </a:fld>
            <a:endParaRPr lang="it-IT" altLang="zh-CN" sz="1300">
              <a:latin typeface="Times" pitchFamily="18" charset="0"/>
            </a:endParaRPr>
          </a:p>
        </p:txBody>
      </p:sp>
    </p:spTree>
    <p:extLst>
      <p:ext uri="{BB962C8B-B14F-4D97-AF65-F5344CB8AC3E}">
        <p14:creationId xmlns:p14="http://schemas.microsoft.com/office/powerpoint/2010/main" val="20458443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692B0D0-35E0-4DC8-B4A6-118214BEA3B7}" type="slidenum">
              <a:rPr lang="sv-SE" smtClean="0"/>
              <a:t>65</a:t>
            </a:fld>
            <a:endParaRPr lang="sv-SE"/>
          </a:p>
        </p:txBody>
      </p:sp>
    </p:spTree>
    <p:extLst>
      <p:ext uri="{BB962C8B-B14F-4D97-AF65-F5344CB8AC3E}">
        <p14:creationId xmlns:p14="http://schemas.microsoft.com/office/powerpoint/2010/main" val="1902710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692B0D0-35E0-4DC8-B4A6-118214BEA3B7}" type="slidenum">
              <a:rPr lang="sv-SE" smtClean="0"/>
              <a:t>3</a:t>
            </a:fld>
            <a:endParaRPr lang="sv-SE"/>
          </a:p>
        </p:txBody>
      </p:sp>
    </p:spTree>
    <p:extLst>
      <p:ext uri="{BB962C8B-B14F-4D97-AF65-F5344CB8AC3E}">
        <p14:creationId xmlns:p14="http://schemas.microsoft.com/office/powerpoint/2010/main" val="20633465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692B0D0-35E0-4DC8-B4A6-118214BEA3B7}" type="slidenum">
              <a:rPr lang="sv-SE" smtClean="0"/>
              <a:t>4</a:t>
            </a:fld>
            <a:endParaRPr lang="sv-SE"/>
          </a:p>
        </p:txBody>
      </p:sp>
    </p:spTree>
    <p:extLst>
      <p:ext uri="{BB962C8B-B14F-4D97-AF65-F5344CB8AC3E}">
        <p14:creationId xmlns:p14="http://schemas.microsoft.com/office/powerpoint/2010/main" val="23638962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Rectangle 7"/>
          <p:cNvSpPr txBox="1">
            <a:spLocks noGrp="1" noChangeArrowheads="1"/>
          </p:cNvSpPr>
          <p:nvPr/>
        </p:nvSpPr>
        <p:spPr bwMode="auto">
          <a:xfrm>
            <a:off x="3849923" y="9411356"/>
            <a:ext cx="2944578" cy="494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253" tIns="46127" rIns="92253" bIns="46127" anchor="b"/>
          <a:lstStyle>
            <a:lvl1pPr defTabSz="946150" eaLnBrk="0" hangingPunct="0">
              <a:defRPr>
                <a:solidFill>
                  <a:schemeClr val="tx1"/>
                </a:solidFill>
                <a:latin typeface="Arial" charset="0"/>
                <a:ea typeface="宋体" pitchFamily="2" charset="-122"/>
              </a:defRPr>
            </a:lvl1pPr>
            <a:lvl2pPr marL="742950" indent="-285750" defTabSz="946150" eaLnBrk="0" hangingPunct="0">
              <a:defRPr>
                <a:solidFill>
                  <a:schemeClr val="tx1"/>
                </a:solidFill>
                <a:latin typeface="Arial" charset="0"/>
                <a:ea typeface="宋体" pitchFamily="2" charset="-122"/>
              </a:defRPr>
            </a:lvl2pPr>
            <a:lvl3pPr marL="1143000" indent="-228600" defTabSz="946150" eaLnBrk="0" hangingPunct="0">
              <a:defRPr>
                <a:solidFill>
                  <a:schemeClr val="tx1"/>
                </a:solidFill>
                <a:latin typeface="Arial" charset="0"/>
                <a:ea typeface="宋体" pitchFamily="2" charset="-122"/>
              </a:defRPr>
            </a:lvl3pPr>
            <a:lvl4pPr marL="1600200" indent="-228600" defTabSz="946150" eaLnBrk="0" hangingPunct="0">
              <a:defRPr>
                <a:solidFill>
                  <a:schemeClr val="tx1"/>
                </a:solidFill>
                <a:latin typeface="Arial" charset="0"/>
                <a:ea typeface="宋体" pitchFamily="2" charset="-122"/>
              </a:defRPr>
            </a:lvl4pPr>
            <a:lvl5pPr marL="2057400" indent="-228600" defTabSz="946150" eaLnBrk="0" hangingPunct="0">
              <a:defRPr>
                <a:solidFill>
                  <a:schemeClr val="tx1"/>
                </a:solidFill>
                <a:latin typeface="Arial" charset="0"/>
                <a:ea typeface="宋体" pitchFamily="2" charset="-122"/>
              </a:defRPr>
            </a:lvl5pPr>
            <a:lvl6pPr marL="2514600" indent="-228600" defTabSz="946150" eaLnBrk="0" fontAlgn="base" hangingPunct="0">
              <a:spcBef>
                <a:spcPct val="0"/>
              </a:spcBef>
              <a:spcAft>
                <a:spcPct val="0"/>
              </a:spcAft>
              <a:defRPr>
                <a:solidFill>
                  <a:schemeClr val="tx1"/>
                </a:solidFill>
                <a:latin typeface="Arial" charset="0"/>
                <a:ea typeface="宋体" pitchFamily="2" charset="-122"/>
              </a:defRPr>
            </a:lvl6pPr>
            <a:lvl7pPr marL="2971800" indent="-228600" defTabSz="946150" eaLnBrk="0" fontAlgn="base" hangingPunct="0">
              <a:spcBef>
                <a:spcPct val="0"/>
              </a:spcBef>
              <a:spcAft>
                <a:spcPct val="0"/>
              </a:spcAft>
              <a:defRPr>
                <a:solidFill>
                  <a:schemeClr val="tx1"/>
                </a:solidFill>
                <a:latin typeface="Arial" charset="0"/>
                <a:ea typeface="宋体" pitchFamily="2" charset="-122"/>
              </a:defRPr>
            </a:lvl7pPr>
            <a:lvl8pPr marL="3429000" indent="-228600" defTabSz="946150" eaLnBrk="0" fontAlgn="base" hangingPunct="0">
              <a:spcBef>
                <a:spcPct val="0"/>
              </a:spcBef>
              <a:spcAft>
                <a:spcPct val="0"/>
              </a:spcAft>
              <a:defRPr>
                <a:solidFill>
                  <a:schemeClr val="tx1"/>
                </a:solidFill>
                <a:latin typeface="Arial" charset="0"/>
                <a:ea typeface="宋体" pitchFamily="2" charset="-122"/>
              </a:defRPr>
            </a:lvl8pPr>
            <a:lvl9pPr marL="3886200" indent="-228600" defTabSz="946150" eaLnBrk="0" fontAlgn="base" hangingPunct="0">
              <a:spcBef>
                <a:spcPct val="0"/>
              </a:spcBef>
              <a:spcAft>
                <a:spcPct val="0"/>
              </a:spcAft>
              <a:defRPr>
                <a:solidFill>
                  <a:schemeClr val="tx1"/>
                </a:solidFill>
                <a:latin typeface="Arial" charset="0"/>
                <a:ea typeface="宋体" pitchFamily="2" charset="-122"/>
              </a:defRPr>
            </a:lvl9pPr>
          </a:lstStyle>
          <a:p>
            <a:pPr algn="r"/>
            <a:fld id="{66713BA4-2A37-4430-9F6A-189DD9F38451}" type="slidenum">
              <a:rPr lang="en-US" altLang="zh-CN" sz="1200">
                <a:latin typeface="Times" pitchFamily="18" charset="0"/>
              </a:rPr>
              <a:pPr algn="r"/>
              <a:t>5</a:t>
            </a:fld>
            <a:endParaRPr lang="en-US" altLang="zh-CN" sz="1200" dirty="0">
              <a:latin typeface="Times" pitchFamily="18" charset="0"/>
            </a:endParaRPr>
          </a:p>
        </p:txBody>
      </p:sp>
      <p:sp>
        <p:nvSpPr>
          <p:cNvPr id="131075" name="幻灯片图像占位符 1"/>
          <p:cNvSpPr>
            <a:spLocks noGrp="1" noRot="1" noChangeAspect="1" noTextEdit="1"/>
          </p:cNvSpPr>
          <p:nvPr>
            <p:ph type="sldImg"/>
          </p:nvPr>
        </p:nvSpPr>
        <p:spPr>
          <a:xfrm>
            <a:off x="-233363" y="557213"/>
            <a:ext cx="7262813" cy="4086225"/>
          </a:xfrm>
          <a:ln/>
        </p:spPr>
      </p:sp>
      <p:sp>
        <p:nvSpPr>
          <p:cNvPr id="131076" name="备注占位符 2"/>
          <p:cNvSpPr>
            <a:spLocks noGrp="1"/>
          </p:cNvSpPr>
          <p:nvPr>
            <p:ph type="body" idx="1"/>
          </p:nvPr>
        </p:nvSpPr>
        <p:spPr>
          <a:xfrm>
            <a:off x="905344" y="4953000"/>
            <a:ext cx="4983813" cy="44567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lstStyle/>
          <a:p>
            <a:pPr eaLnBrk="1" hangingPunct="1"/>
            <a:r>
              <a:rPr lang="en-US" altLang="zh-CN" dirty="0"/>
              <a:t>History of Brand 4S </a:t>
            </a:r>
            <a:r>
              <a:rPr lang="en-US" altLang="zh-CN" dirty="0" err="1"/>
              <a:t>dlrs</a:t>
            </a:r>
            <a:r>
              <a:rPr lang="en-US" altLang="zh-CN" dirty="0"/>
              <a:t>: </a:t>
            </a:r>
            <a:r>
              <a:rPr lang="zh-CN" altLang="en-US" dirty="0"/>
              <a:t>豪华品牌及分布的城市。</a:t>
            </a:r>
          </a:p>
          <a:p>
            <a:pPr eaLnBrk="1" hangingPunct="1"/>
            <a:r>
              <a:rPr lang="zh-CN" altLang="en-US" dirty="0"/>
              <a:t>删除：总营业面积、销售顾问数、技工数</a:t>
            </a:r>
            <a:endParaRPr lang="en-US" altLang="zh-CN" dirty="0"/>
          </a:p>
          <a:p>
            <a:pPr eaLnBrk="1" hangingPunct="1"/>
            <a:r>
              <a:rPr lang="en-US" altLang="zh-CN" dirty="0" err="1"/>
              <a:t>Yongda</a:t>
            </a:r>
            <a:r>
              <a:rPr lang="zh-CN" altLang="en-US" dirty="0"/>
              <a:t>是否上市？</a:t>
            </a:r>
            <a:endParaRPr lang="en-US" altLang="zh-CN" dirty="0"/>
          </a:p>
          <a:p>
            <a:pPr eaLnBrk="1" hangingPunct="1"/>
            <a:endParaRPr lang="en-US" altLang="zh-CN" dirty="0"/>
          </a:p>
          <a:p>
            <a:pPr eaLnBrk="1" hangingPunct="1"/>
            <a:r>
              <a:rPr lang="en-US" altLang="zh-CN" dirty="0"/>
              <a:t>TY:</a:t>
            </a:r>
            <a:r>
              <a:rPr lang="zh-CN" altLang="en-US" dirty="0"/>
              <a:t>新申请公司需要做这一页</a:t>
            </a:r>
          </a:p>
          <a:p>
            <a:pPr eaLnBrk="1" hangingPunct="1"/>
            <a:endParaRPr lang="zh-CN" altLang="en-US" dirty="0"/>
          </a:p>
        </p:txBody>
      </p:sp>
      <p:sp>
        <p:nvSpPr>
          <p:cNvPr id="131077" name="灯片编号占位符 3"/>
          <p:cNvSpPr txBox="1">
            <a:spLocks noGrp="1"/>
          </p:cNvSpPr>
          <p:nvPr/>
        </p:nvSpPr>
        <p:spPr bwMode="auto">
          <a:xfrm>
            <a:off x="3851396" y="9409718"/>
            <a:ext cx="2943104" cy="496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nchor="b"/>
          <a:lstStyle>
            <a:lvl1pPr defTabSz="955675" eaLnBrk="0" hangingPunct="0">
              <a:defRPr>
                <a:solidFill>
                  <a:schemeClr val="tx1"/>
                </a:solidFill>
                <a:latin typeface="Arial" charset="0"/>
                <a:ea typeface="宋体" pitchFamily="2" charset="-122"/>
              </a:defRPr>
            </a:lvl1pPr>
            <a:lvl2pPr marL="742950" indent="-285750" defTabSz="955675" eaLnBrk="0" hangingPunct="0">
              <a:defRPr>
                <a:solidFill>
                  <a:schemeClr val="tx1"/>
                </a:solidFill>
                <a:latin typeface="Arial" charset="0"/>
                <a:ea typeface="宋体" pitchFamily="2" charset="-122"/>
              </a:defRPr>
            </a:lvl2pPr>
            <a:lvl3pPr marL="1143000" indent="-228600" defTabSz="955675" eaLnBrk="0" hangingPunct="0">
              <a:defRPr>
                <a:solidFill>
                  <a:schemeClr val="tx1"/>
                </a:solidFill>
                <a:latin typeface="Arial" charset="0"/>
                <a:ea typeface="宋体" pitchFamily="2" charset="-122"/>
              </a:defRPr>
            </a:lvl3pPr>
            <a:lvl4pPr marL="1600200" indent="-228600" defTabSz="955675" eaLnBrk="0" hangingPunct="0">
              <a:defRPr>
                <a:solidFill>
                  <a:schemeClr val="tx1"/>
                </a:solidFill>
                <a:latin typeface="Arial" charset="0"/>
                <a:ea typeface="宋体" pitchFamily="2" charset="-122"/>
              </a:defRPr>
            </a:lvl4pPr>
            <a:lvl5pPr marL="2057400" indent="-228600" defTabSz="955675" eaLnBrk="0" hangingPunct="0">
              <a:defRPr>
                <a:solidFill>
                  <a:schemeClr val="tx1"/>
                </a:solidFill>
                <a:latin typeface="Arial" charset="0"/>
                <a:ea typeface="宋体" pitchFamily="2" charset="-122"/>
              </a:defRPr>
            </a:lvl5pPr>
            <a:lvl6pPr marL="2514600" indent="-228600" defTabSz="955675" eaLnBrk="0" fontAlgn="base" hangingPunct="0">
              <a:spcBef>
                <a:spcPct val="0"/>
              </a:spcBef>
              <a:spcAft>
                <a:spcPct val="0"/>
              </a:spcAft>
              <a:defRPr>
                <a:solidFill>
                  <a:schemeClr val="tx1"/>
                </a:solidFill>
                <a:latin typeface="Arial" charset="0"/>
                <a:ea typeface="宋体" pitchFamily="2" charset="-122"/>
              </a:defRPr>
            </a:lvl6pPr>
            <a:lvl7pPr marL="2971800" indent="-228600" defTabSz="955675" eaLnBrk="0" fontAlgn="base" hangingPunct="0">
              <a:spcBef>
                <a:spcPct val="0"/>
              </a:spcBef>
              <a:spcAft>
                <a:spcPct val="0"/>
              </a:spcAft>
              <a:defRPr>
                <a:solidFill>
                  <a:schemeClr val="tx1"/>
                </a:solidFill>
                <a:latin typeface="Arial" charset="0"/>
                <a:ea typeface="宋体" pitchFamily="2" charset="-122"/>
              </a:defRPr>
            </a:lvl7pPr>
            <a:lvl8pPr marL="3429000" indent="-228600" defTabSz="955675" eaLnBrk="0" fontAlgn="base" hangingPunct="0">
              <a:spcBef>
                <a:spcPct val="0"/>
              </a:spcBef>
              <a:spcAft>
                <a:spcPct val="0"/>
              </a:spcAft>
              <a:defRPr>
                <a:solidFill>
                  <a:schemeClr val="tx1"/>
                </a:solidFill>
                <a:latin typeface="Arial" charset="0"/>
                <a:ea typeface="宋体" pitchFamily="2" charset="-122"/>
              </a:defRPr>
            </a:lvl8pPr>
            <a:lvl9pPr marL="3886200" indent="-228600" defTabSz="955675" eaLnBrk="0" fontAlgn="base" hangingPunct="0">
              <a:spcBef>
                <a:spcPct val="0"/>
              </a:spcBef>
              <a:spcAft>
                <a:spcPct val="0"/>
              </a:spcAft>
              <a:defRPr>
                <a:solidFill>
                  <a:schemeClr val="tx1"/>
                </a:solidFill>
                <a:latin typeface="Arial" charset="0"/>
                <a:ea typeface="宋体" pitchFamily="2" charset="-122"/>
              </a:defRPr>
            </a:lvl9pPr>
          </a:lstStyle>
          <a:p>
            <a:pPr algn="r"/>
            <a:fld id="{D8D80A80-9DE1-4D50-A6C5-1EF9323C7D0B}" type="slidenum">
              <a:rPr lang="it-IT" altLang="zh-CN" sz="1300">
                <a:latin typeface="Times" pitchFamily="18" charset="0"/>
              </a:rPr>
              <a:pPr algn="r"/>
              <a:t>5</a:t>
            </a:fld>
            <a:endParaRPr lang="it-IT" altLang="zh-CN" sz="1300">
              <a:latin typeface="Times" pitchFamily="18" charset="0"/>
            </a:endParaRPr>
          </a:p>
        </p:txBody>
      </p:sp>
    </p:spTree>
    <p:extLst>
      <p:ext uri="{BB962C8B-B14F-4D97-AF65-F5344CB8AC3E}">
        <p14:creationId xmlns:p14="http://schemas.microsoft.com/office/powerpoint/2010/main" val="30397047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defTabSz="946150">
              <a:spcBef>
                <a:spcPct val="30000"/>
              </a:spcBef>
              <a:defRPr sz="1200">
                <a:solidFill>
                  <a:schemeClr val="tx1"/>
                </a:solidFill>
                <a:latin typeface="Times" panose="02020603050405020304" pitchFamily="18" charset="0"/>
              </a:defRPr>
            </a:lvl1pPr>
            <a:lvl2pPr marL="742950" indent="-285750" defTabSz="946150">
              <a:spcBef>
                <a:spcPct val="30000"/>
              </a:spcBef>
              <a:defRPr sz="1200">
                <a:solidFill>
                  <a:schemeClr val="tx1"/>
                </a:solidFill>
                <a:latin typeface="Times" panose="02020603050405020304" pitchFamily="18" charset="0"/>
              </a:defRPr>
            </a:lvl2pPr>
            <a:lvl3pPr marL="1143000" indent="-228600" defTabSz="946150">
              <a:spcBef>
                <a:spcPct val="30000"/>
              </a:spcBef>
              <a:defRPr sz="1200">
                <a:solidFill>
                  <a:schemeClr val="tx1"/>
                </a:solidFill>
                <a:latin typeface="Times" panose="02020603050405020304" pitchFamily="18" charset="0"/>
              </a:defRPr>
            </a:lvl3pPr>
            <a:lvl4pPr marL="1600200" indent="-228600" defTabSz="946150">
              <a:spcBef>
                <a:spcPct val="30000"/>
              </a:spcBef>
              <a:defRPr sz="1200">
                <a:solidFill>
                  <a:schemeClr val="tx1"/>
                </a:solidFill>
                <a:latin typeface="Times" panose="02020603050405020304" pitchFamily="18" charset="0"/>
              </a:defRPr>
            </a:lvl4pPr>
            <a:lvl5pPr marL="2057400" indent="-228600" defTabSz="946150">
              <a:spcBef>
                <a:spcPct val="30000"/>
              </a:spcBef>
              <a:defRPr sz="1200">
                <a:solidFill>
                  <a:schemeClr val="tx1"/>
                </a:solidFill>
                <a:latin typeface="Times" panose="02020603050405020304" pitchFamily="18" charset="0"/>
              </a:defRPr>
            </a:lvl5pPr>
            <a:lvl6pPr marL="2514600" indent="-228600" defTabSz="946150" eaLnBrk="0" fontAlgn="base" hangingPunct="0">
              <a:spcBef>
                <a:spcPct val="30000"/>
              </a:spcBef>
              <a:spcAft>
                <a:spcPct val="0"/>
              </a:spcAft>
              <a:defRPr sz="1200">
                <a:solidFill>
                  <a:schemeClr val="tx1"/>
                </a:solidFill>
                <a:latin typeface="Times" panose="02020603050405020304" pitchFamily="18" charset="0"/>
              </a:defRPr>
            </a:lvl6pPr>
            <a:lvl7pPr marL="2971800" indent="-228600" defTabSz="946150" eaLnBrk="0" fontAlgn="base" hangingPunct="0">
              <a:spcBef>
                <a:spcPct val="30000"/>
              </a:spcBef>
              <a:spcAft>
                <a:spcPct val="0"/>
              </a:spcAft>
              <a:defRPr sz="1200">
                <a:solidFill>
                  <a:schemeClr val="tx1"/>
                </a:solidFill>
                <a:latin typeface="Times" panose="02020603050405020304" pitchFamily="18" charset="0"/>
              </a:defRPr>
            </a:lvl7pPr>
            <a:lvl8pPr marL="3429000" indent="-228600" defTabSz="946150" eaLnBrk="0" fontAlgn="base" hangingPunct="0">
              <a:spcBef>
                <a:spcPct val="30000"/>
              </a:spcBef>
              <a:spcAft>
                <a:spcPct val="0"/>
              </a:spcAft>
              <a:defRPr sz="1200">
                <a:solidFill>
                  <a:schemeClr val="tx1"/>
                </a:solidFill>
                <a:latin typeface="Times" panose="02020603050405020304" pitchFamily="18" charset="0"/>
              </a:defRPr>
            </a:lvl8pPr>
            <a:lvl9pPr marL="3886200" indent="-228600" defTabSz="946150" eaLnBrk="0" fontAlgn="base" hangingPunct="0">
              <a:spcBef>
                <a:spcPct val="30000"/>
              </a:spcBef>
              <a:spcAft>
                <a:spcPct val="0"/>
              </a:spcAft>
              <a:defRPr sz="1200">
                <a:solidFill>
                  <a:schemeClr val="tx1"/>
                </a:solidFill>
                <a:latin typeface="Times" panose="02020603050405020304" pitchFamily="18" charset="0"/>
              </a:defRPr>
            </a:lvl9pPr>
          </a:lstStyle>
          <a:p>
            <a:pPr>
              <a:spcBef>
                <a:spcPct val="0"/>
              </a:spcBef>
            </a:pPr>
            <a:fld id="{CAEEBCFD-CB6B-43F9-850A-88223FD7F6BD}" type="slidenum">
              <a:rPr lang="en-US" altLang="zh-CN" smtClean="0">
                <a:solidFill>
                  <a:srgbClr val="000000"/>
                </a:solidFill>
              </a:rPr>
              <a:pPr>
                <a:spcBef>
                  <a:spcPct val="0"/>
                </a:spcBef>
              </a:pPr>
              <a:t>19</a:t>
            </a:fld>
            <a:endParaRPr lang="en-US" altLang="zh-CN">
              <a:solidFill>
                <a:srgbClr val="000000"/>
              </a:solidFill>
            </a:endParaRPr>
          </a:p>
        </p:txBody>
      </p:sp>
      <p:sp>
        <p:nvSpPr>
          <p:cNvPr id="48131" name="幻灯片图像占位符 1"/>
          <p:cNvSpPr>
            <a:spLocks noGrp="1" noRot="1" noChangeAspect="1" noTextEdit="1"/>
          </p:cNvSpPr>
          <p:nvPr>
            <p:ph type="sldImg"/>
          </p:nvPr>
        </p:nvSpPr>
        <p:spPr>
          <a:xfrm>
            <a:off x="139700" y="768350"/>
            <a:ext cx="6819900" cy="3836988"/>
          </a:xfrm>
          <a:ln/>
        </p:spPr>
      </p:sp>
      <p:sp>
        <p:nvSpPr>
          <p:cNvPr id="48132" name="备注占位符 2"/>
          <p:cNvSpPr>
            <a:spLocks noGrp="1"/>
          </p:cNvSpPr>
          <p:nvPr>
            <p:ph type="body" idx="1"/>
          </p:nvPr>
        </p:nvSpPr>
        <p:spPr>
          <a:noFill/>
        </p:spPr>
        <p:txBody>
          <a:bodyPr lIns="99048" tIns="49524" rIns="99048" bIns="49524"/>
          <a:lstStyle/>
          <a:p>
            <a:pPr eaLnBrk="1" hangingPunct="1"/>
            <a:endParaRPr lang="zh-CN" altLang="en-US"/>
          </a:p>
        </p:txBody>
      </p:sp>
    </p:spTree>
    <p:extLst>
      <p:ext uri="{BB962C8B-B14F-4D97-AF65-F5344CB8AC3E}">
        <p14:creationId xmlns:p14="http://schemas.microsoft.com/office/powerpoint/2010/main" val="33151031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7692B0D0-35E0-4DC8-B4A6-118214BEA3B7}" type="slidenum">
              <a:rPr lang="sv-SE" smtClean="0"/>
              <a:t>29</a:t>
            </a:fld>
            <a:endParaRPr lang="sv-SE"/>
          </a:p>
        </p:txBody>
      </p:sp>
    </p:spTree>
    <p:extLst>
      <p:ext uri="{BB962C8B-B14F-4D97-AF65-F5344CB8AC3E}">
        <p14:creationId xmlns:p14="http://schemas.microsoft.com/office/powerpoint/2010/main" val="612629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92B0D0-35E0-4DC8-B4A6-118214BEA3B7}" type="slidenum">
              <a:rPr lang="sv-SE" smtClean="0"/>
              <a:t>33</a:t>
            </a:fld>
            <a:endParaRPr lang="sv-SE"/>
          </a:p>
        </p:txBody>
      </p:sp>
    </p:spTree>
    <p:extLst>
      <p:ext uri="{BB962C8B-B14F-4D97-AF65-F5344CB8AC3E}">
        <p14:creationId xmlns:p14="http://schemas.microsoft.com/office/powerpoint/2010/main" val="42703488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7"/>
          <p:cNvSpPr txBox="1">
            <a:spLocks noGrp="1" noChangeArrowheads="1"/>
          </p:cNvSpPr>
          <p:nvPr/>
        </p:nvSpPr>
        <p:spPr bwMode="auto">
          <a:xfrm>
            <a:off x="3849923" y="9411356"/>
            <a:ext cx="2944578" cy="4946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253" tIns="46127" rIns="92253" bIns="46127" anchor="b"/>
          <a:lstStyle>
            <a:lvl1pPr defTabSz="946150" eaLnBrk="0" hangingPunct="0">
              <a:defRPr>
                <a:solidFill>
                  <a:schemeClr val="tx1"/>
                </a:solidFill>
                <a:latin typeface="Arial" charset="0"/>
                <a:ea typeface="宋体" pitchFamily="2" charset="-122"/>
              </a:defRPr>
            </a:lvl1pPr>
            <a:lvl2pPr marL="742950" indent="-285750" defTabSz="946150" eaLnBrk="0" hangingPunct="0">
              <a:defRPr>
                <a:solidFill>
                  <a:schemeClr val="tx1"/>
                </a:solidFill>
                <a:latin typeface="Arial" charset="0"/>
                <a:ea typeface="宋体" pitchFamily="2" charset="-122"/>
              </a:defRPr>
            </a:lvl2pPr>
            <a:lvl3pPr marL="1143000" indent="-228600" defTabSz="946150" eaLnBrk="0" hangingPunct="0">
              <a:defRPr>
                <a:solidFill>
                  <a:schemeClr val="tx1"/>
                </a:solidFill>
                <a:latin typeface="Arial" charset="0"/>
                <a:ea typeface="宋体" pitchFamily="2" charset="-122"/>
              </a:defRPr>
            </a:lvl3pPr>
            <a:lvl4pPr marL="1600200" indent="-228600" defTabSz="946150" eaLnBrk="0" hangingPunct="0">
              <a:defRPr>
                <a:solidFill>
                  <a:schemeClr val="tx1"/>
                </a:solidFill>
                <a:latin typeface="Arial" charset="0"/>
                <a:ea typeface="宋体" pitchFamily="2" charset="-122"/>
              </a:defRPr>
            </a:lvl4pPr>
            <a:lvl5pPr marL="2057400" indent="-228600" defTabSz="946150" eaLnBrk="0" hangingPunct="0">
              <a:defRPr>
                <a:solidFill>
                  <a:schemeClr val="tx1"/>
                </a:solidFill>
                <a:latin typeface="Arial" charset="0"/>
                <a:ea typeface="宋体" pitchFamily="2" charset="-122"/>
              </a:defRPr>
            </a:lvl5pPr>
            <a:lvl6pPr marL="2514600" indent="-228600" defTabSz="946150" eaLnBrk="0" fontAlgn="base" hangingPunct="0">
              <a:spcBef>
                <a:spcPct val="0"/>
              </a:spcBef>
              <a:spcAft>
                <a:spcPct val="0"/>
              </a:spcAft>
              <a:defRPr>
                <a:solidFill>
                  <a:schemeClr val="tx1"/>
                </a:solidFill>
                <a:latin typeface="Arial" charset="0"/>
                <a:ea typeface="宋体" pitchFamily="2" charset="-122"/>
              </a:defRPr>
            </a:lvl6pPr>
            <a:lvl7pPr marL="2971800" indent="-228600" defTabSz="946150" eaLnBrk="0" fontAlgn="base" hangingPunct="0">
              <a:spcBef>
                <a:spcPct val="0"/>
              </a:spcBef>
              <a:spcAft>
                <a:spcPct val="0"/>
              </a:spcAft>
              <a:defRPr>
                <a:solidFill>
                  <a:schemeClr val="tx1"/>
                </a:solidFill>
                <a:latin typeface="Arial" charset="0"/>
                <a:ea typeface="宋体" pitchFamily="2" charset="-122"/>
              </a:defRPr>
            </a:lvl7pPr>
            <a:lvl8pPr marL="3429000" indent="-228600" defTabSz="946150" eaLnBrk="0" fontAlgn="base" hangingPunct="0">
              <a:spcBef>
                <a:spcPct val="0"/>
              </a:spcBef>
              <a:spcAft>
                <a:spcPct val="0"/>
              </a:spcAft>
              <a:defRPr>
                <a:solidFill>
                  <a:schemeClr val="tx1"/>
                </a:solidFill>
                <a:latin typeface="Arial" charset="0"/>
                <a:ea typeface="宋体" pitchFamily="2" charset="-122"/>
              </a:defRPr>
            </a:lvl8pPr>
            <a:lvl9pPr marL="3886200" indent="-228600" defTabSz="946150" eaLnBrk="0" fontAlgn="base" hangingPunct="0">
              <a:spcBef>
                <a:spcPct val="0"/>
              </a:spcBef>
              <a:spcAft>
                <a:spcPct val="0"/>
              </a:spcAft>
              <a:defRPr>
                <a:solidFill>
                  <a:schemeClr val="tx1"/>
                </a:solidFill>
                <a:latin typeface="Arial" charset="0"/>
                <a:ea typeface="宋体" pitchFamily="2" charset="-122"/>
              </a:defRPr>
            </a:lvl9pPr>
          </a:lstStyle>
          <a:p>
            <a:pPr algn="r"/>
            <a:fld id="{707DE928-DE1C-47B3-93A6-193821F6246C}" type="slidenum">
              <a:rPr lang="en-US" altLang="zh-CN" sz="1200">
                <a:latin typeface="Times" pitchFamily="18" charset="0"/>
              </a:rPr>
              <a:pPr algn="r"/>
              <a:t>36</a:t>
            </a:fld>
            <a:endParaRPr lang="en-US" altLang="zh-CN" sz="1200">
              <a:latin typeface="Times" pitchFamily="18" charset="0"/>
            </a:endParaRPr>
          </a:p>
        </p:txBody>
      </p:sp>
      <p:sp>
        <p:nvSpPr>
          <p:cNvPr id="135171" name="幻灯片图像占位符 1"/>
          <p:cNvSpPr>
            <a:spLocks noGrp="1" noRot="1" noChangeAspect="1" noTextEdit="1"/>
          </p:cNvSpPr>
          <p:nvPr>
            <p:ph type="sldImg"/>
          </p:nvPr>
        </p:nvSpPr>
        <p:spPr>
          <a:xfrm>
            <a:off x="-233363" y="557213"/>
            <a:ext cx="7262813" cy="4086225"/>
          </a:xfrm>
          <a:ln/>
        </p:spPr>
      </p:sp>
      <p:sp>
        <p:nvSpPr>
          <p:cNvPr id="135172" name="备注占位符 2"/>
          <p:cNvSpPr>
            <a:spLocks noGrp="1"/>
          </p:cNvSpPr>
          <p:nvPr>
            <p:ph type="body" idx="1"/>
          </p:nvPr>
        </p:nvSpPr>
        <p:spPr>
          <a:xfrm>
            <a:off x="905344" y="4953000"/>
            <a:ext cx="4983813" cy="445671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lstStyle/>
          <a:p>
            <a:pPr eaLnBrk="1" hangingPunct="1"/>
            <a:r>
              <a:rPr lang="zh-CN" altLang="en-US" dirty="0"/>
              <a:t>表格现在没有，标识中心地带</a:t>
            </a:r>
          </a:p>
        </p:txBody>
      </p:sp>
      <p:sp>
        <p:nvSpPr>
          <p:cNvPr id="135173" name="灯片编号占位符 3"/>
          <p:cNvSpPr txBox="1">
            <a:spLocks noGrp="1"/>
          </p:cNvSpPr>
          <p:nvPr/>
        </p:nvSpPr>
        <p:spPr bwMode="auto">
          <a:xfrm>
            <a:off x="3851396" y="9409718"/>
            <a:ext cx="2943104" cy="496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4" rIns="93170" bIns="46584" anchor="b"/>
          <a:lstStyle>
            <a:lvl1pPr defTabSz="955675" eaLnBrk="0" hangingPunct="0">
              <a:defRPr>
                <a:solidFill>
                  <a:schemeClr val="tx1"/>
                </a:solidFill>
                <a:latin typeface="Arial" charset="0"/>
                <a:ea typeface="宋体" pitchFamily="2" charset="-122"/>
              </a:defRPr>
            </a:lvl1pPr>
            <a:lvl2pPr marL="742950" indent="-285750" defTabSz="955675" eaLnBrk="0" hangingPunct="0">
              <a:defRPr>
                <a:solidFill>
                  <a:schemeClr val="tx1"/>
                </a:solidFill>
                <a:latin typeface="Arial" charset="0"/>
                <a:ea typeface="宋体" pitchFamily="2" charset="-122"/>
              </a:defRPr>
            </a:lvl2pPr>
            <a:lvl3pPr marL="1143000" indent="-228600" defTabSz="955675" eaLnBrk="0" hangingPunct="0">
              <a:defRPr>
                <a:solidFill>
                  <a:schemeClr val="tx1"/>
                </a:solidFill>
                <a:latin typeface="Arial" charset="0"/>
                <a:ea typeface="宋体" pitchFamily="2" charset="-122"/>
              </a:defRPr>
            </a:lvl3pPr>
            <a:lvl4pPr marL="1600200" indent="-228600" defTabSz="955675" eaLnBrk="0" hangingPunct="0">
              <a:defRPr>
                <a:solidFill>
                  <a:schemeClr val="tx1"/>
                </a:solidFill>
                <a:latin typeface="Arial" charset="0"/>
                <a:ea typeface="宋体" pitchFamily="2" charset="-122"/>
              </a:defRPr>
            </a:lvl4pPr>
            <a:lvl5pPr marL="2057400" indent="-228600" defTabSz="955675" eaLnBrk="0" hangingPunct="0">
              <a:defRPr>
                <a:solidFill>
                  <a:schemeClr val="tx1"/>
                </a:solidFill>
                <a:latin typeface="Arial" charset="0"/>
                <a:ea typeface="宋体" pitchFamily="2" charset="-122"/>
              </a:defRPr>
            </a:lvl5pPr>
            <a:lvl6pPr marL="2514600" indent="-228600" defTabSz="955675" eaLnBrk="0" fontAlgn="base" hangingPunct="0">
              <a:spcBef>
                <a:spcPct val="0"/>
              </a:spcBef>
              <a:spcAft>
                <a:spcPct val="0"/>
              </a:spcAft>
              <a:defRPr>
                <a:solidFill>
                  <a:schemeClr val="tx1"/>
                </a:solidFill>
                <a:latin typeface="Arial" charset="0"/>
                <a:ea typeface="宋体" pitchFamily="2" charset="-122"/>
              </a:defRPr>
            </a:lvl6pPr>
            <a:lvl7pPr marL="2971800" indent="-228600" defTabSz="955675" eaLnBrk="0" fontAlgn="base" hangingPunct="0">
              <a:spcBef>
                <a:spcPct val="0"/>
              </a:spcBef>
              <a:spcAft>
                <a:spcPct val="0"/>
              </a:spcAft>
              <a:defRPr>
                <a:solidFill>
                  <a:schemeClr val="tx1"/>
                </a:solidFill>
                <a:latin typeface="Arial" charset="0"/>
                <a:ea typeface="宋体" pitchFamily="2" charset="-122"/>
              </a:defRPr>
            </a:lvl7pPr>
            <a:lvl8pPr marL="3429000" indent="-228600" defTabSz="955675" eaLnBrk="0" fontAlgn="base" hangingPunct="0">
              <a:spcBef>
                <a:spcPct val="0"/>
              </a:spcBef>
              <a:spcAft>
                <a:spcPct val="0"/>
              </a:spcAft>
              <a:defRPr>
                <a:solidFill>
                  <a:schemeClr val="tx1"/>
                </a:solidFill>
                <a:latin typeface="Arial" charset="0"/>
                <a:ea typeface="宋体" pitchFamily="2" charset="-122"/>
              </a:defRPr>
            </a:lvl8pPr>
            <a:lvl9pPr marL="3886200" indent="-228600" defTabSz="955675" eaLnBrk="0" fontAlgn="base" hangingPunct="0">
              <a:spcBef>
                <a:spcPct val="0"/>
              </a:spcBef>
              <a:spcAft>
                <a:spcPct val="0"/>
              </a:spcAft>
              <a:defRPr>
                <a:solidFill>
                  <a:schemeClr val="tx1"/>
                </a:solidFill>
                <a:latin typeface="Arial" charset="0"/>
                <a:ea typeface="宋体" pitchFamily="2" charset="-122"/>
              </a:defRPr>
            </a:lvl9pPr>
          </a:lstStyle>
          <a:p>
            <a:pPr algn="r"/>
            <a:fld id="{967BBF71-3149-494C-847F-15994E3719FA}" type="slidenum">
              <a:rPr lang="it-IT" altLang="zh-CN" sz="1300">
                <a:latin typeface="Times" pitchFamily="18" charset="0"/>
              </a:rPr>
              <a:pPr algn="r"/>
              <a:t>36</a:t>
            </a:fld>
            <a:endParaRPr lang="it-IT" altLang="zh-CN" sz="1300">
              <a:latin typeface="Times" pitchFamily="18" charset="0"/>
            </a:endParaRPr>
          </a:p>
        </p:txBody>
      </p:sp>
    </p:spTree>
    <p:extLst>
      <p:ext uri="{BB962C8B-B14F-4D97-AF65-F5344CB8AC3E}">
        <p14:creationId xmlns:p14="http://schemas.microsoft.com/office/powerpoint/2010/main" val="4103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7692B0D0-35E0-4DC8-B4A6-118214BEA3B7}" type="slidenum">
              <a:rPr lang="sv-SE" smtClean="0"/>
              <a:t>37</a:t>
            </a:fld>
            <a:endParaRPr lang="sv-SE"/>
          </a:p>
        </p:txBody>
      </p:sp>
    </p:spTree>
    <p:extLst>
      <p:ext uri="{BB962C8B-B14F-4D97-AF65-F5344CB8AC3E}">
        <p14:creationId xmlns:p14="http://schemas.microsoft.com/office/powerpoint/2010/main" val="5267825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标题">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375CE769-8DF4-401B-B582-7F7A931D5B5D}"/>
              </a:ext>
            </a:extLst>
          </p:cNvPr>
          <p:cNvSpPr>
            <a:spLocks noGrp="1"/>
          </p:cNvSpPr>
          <p:nvPr>
            <p:ph type="pic" sz="quarter" idx="16" hasCustomPrompt="1"/>
          </p:nvPr>
        </p:nvSpPr>
        <p:spPr>
          <a:xfrm>
            <a:off x="1" y="0"/>
            <a:ext cx="9147175" cy="5145088"/>
          </a:xfrm>
          <a:noFill/>
        </p:spPr>
        <p:txBody>
          <a:bodyPr lIns="2520000" tIns="180000" rIns="0" anchor="ctr" anchorCtr="1">
            <a:normAutofit/>
          </a:bodyPr>
          <a:lstStyle>
            <a:lvl1pPr>
              <a:defRPr sz="1000" i="1">
                <a:solidFill>
                  <a:schemeClr val="tx1">
                    <a:lumMod val="50000"/>
                    <a:lumOff val="50000"/>
                  </a:schemeClr>
                </a:solidFill>
              </a:defRPr>
            </a:lvl1pPr>
          </a:lstStyle>
          <a:p>
            <a:r>
              <a:rPr lang="sv-SE" dirty="0"/>
              <a:t>&lt;&lt; </a:t>
            </a:r>
            <a:r>
              <a:rPr lang="ja-JP" altLang="sv-SE" dirty="0"/>
              <a:t>点击</a:t>
            </a:r>
            <a:r>
              <a:rPr lang="ja-JP" altLang="en-US" dirty="0"/>
              <a:t>添加浅色背景图片或留白</a:t>
            </a:r>
            <a:endParaRPr lang="en-US" dirty="0"/>
          </a:p>
        </p:txBody>
      </p:sp>
      <p:sp>
        <p:nvSpPr>
          <p:cNvPr id="3" name="Text Placeholder 2">
            <a:extLst>
              <a:ext uri="{FF2B5EF4-FFF2-40B4-BE49-F238E27FC236}">
                <a16:creationId xmlns:a16="http://schemas.microsoft.com/office/drawing/2014/main" id="{99C8AA38-B029-0F43-B47A-A9C35BAC0916}"/>
              </a:ext>
            </a:extLst>
          </p:cNvPr>
          <p:cNvSpPr>
            <a:spLocks noGrp="1"/>
          </p:cNvSpPr>
          <p:nvPr>
            <p:ph type="body" sz="quarter" idx="14" hasCustomPrompt="1"/>
          </p:nvPr>
        </p:nvSpPr>
        <p:spPr>
          <a:xfrm>
            <a:off x="3538370" y="444068"/>
            <a:ext cx="2070435" cy="331515"/>
          </a:xfrm>
        </p:spPr>
        <p:txBody>
          <a:bodyPr>
            <a:noAutofit/>
          </a:bodyPr>
          <a:lstStyle>
            <a:lvl1pPr algn="ctr">
              <a:spcAft>
                <a:spcPts val="0"/>
              </a:spcAft>
              <a:defRPr sz="1000" b="0" i="1">
                <a:solidFill>
                  <a:schemeClr val="tx1">
                    <a:lumMod val="50000"/>
                    <a:lumOff val="50000"/>
                  </a:schemeClr>
                </a:solidFill>
                <a:latin typeface="微软雅黑" panose="020B0503020204020204" pitchFamily="34" charset="-122"/>
              </a:defRPr>
            </a:lvl1pPr>
            <a:lvl2pPr algn="ctr">
              <a:defRPr sz="1000" b="0" i="1">
                <a:solidFill>
                  <a:schemeClr val="bg2"/>
                </a:solidFill>
                <a:latin typeface="Volvo Novum Light" panose="020B0303040502060204" pitchFamily="34" charset="77"/>
              </a:defRPr>
            </a:lvl2pPr>
            <a:lvl3pPr algn="ctr">
              <a:defRPr sz="1000" b="0" i="1">
                <a:solidFill>
                  <a:schemeClr val="bg2"/>
                </a:solidFill>
                <a:latin typeface="Volvo Novum Light" panose="020B0303040502060204" pitchFamily="34" charset="77"/>
              </a:defRPr>
            </a:lvl3pPr>
            <a:lvl4pPr algn="ctr">
              <a:defRPr sz="1000" b="0" i="1">
                <a:solidFill>
                  <a:schemeClr val="bg2"/>
                </a:solidFill>
                <a:latin typeface="Volvo Novum Light" panose="020B0303040502060204" pitchFamily="34" charset="77"/>
              </a:defRPr>
            </a:lvl4pPr>
            <a:lvl5pPr algn="ctr">
              <a:defRPr sz="1000" b="0" i="1">
                <a:solidFill>
                  <a:schemeClr val="bg2"/>
                </a:solidFill>
                <a:latin typeface="Volvo Novum Light" panose="020B0303040502060204" pitchFamily="34" charset="77"/>
              </a:defRPr>
            </a:lvl5pPr>
          </a:lstStyle>
          <a:p>
            <a:pPr lvl="0"/>
            <a:r>
              <a:rPr lang="zh-CN" altLang="en-US" dirty="0"/>
              <a:t>请注意：</a:t>
            </a:r>
            <a:r>
              <a:rPr lang="en-US" altLang="zh-CN" dirty="0"/>
              <a:t>Logo</a:t>
            </a:r>
            <a:r>
              <a:rPr lang="zh-CN" altLang="en-US" dirty="0"/>
              <a:t>必须在每页上都可见；每个演示文档只应有一张标题页面。</a:t>
            </a:r>
          </a:p>
        </p:txBody>
      </p:sp>
      <p:sp>
        <p:nvSpPr>
          <p:cNvPr id="16" name="Title 1">
            <a:extLst>
              <a:ext uri="{FF2B5EF4-FFF2-40B4-BE49-F238E27FC236}">
                <a16:creationId xmlns:a16="http://schemas.microsoft.com/office/drawing/2014/main" id="{FD345CC0-82DA-7048-839A-198E806AE622}"/>
              </a:ext>
            </a:extLst>
          </p:cNvPr>
          <p:cNvSpPr>
            <a:spLocks noGrp="1"/>
          </p:cNvSpPr>
          <p:nvPr>
            <p:ph type="ctrTitle" hasCustomPrompt="1"/>
          </p:nvPr>
        </p:nvSpPr>
        <p:spPr>
          <a:xfrm>
            <a:off x="360363" y="1348409"/>
            <a:ext cx="8389937" cy="504056"/>
          </a:xfrm>
          <a:prstGeom prst="rect">
            <a:avLst/>
          </a:prstGeom>
        </p:spPr>
        <p:txBody>
          <a:bodyPr lIns="0" anchor="t" anchorCtr="0">
            <a:noAutofit/>
          </a:bodyPr>
          <a:lstStyle>
            <a:lvl1pPr algn="ctr">
              <a:lnSpc>
                <a:spcPts val="3800"/>
              </a:lnSpc>
              <a:defRPr sz="3200" b="1" spc="50" baseline="0">
                <a:latin typeface="微软雅黑" panose="020B0503020204020204" pitchFamily="34" charset="-122"/>
              </a:defRPr>
            </a:lvl1pPr>
            <a:lvl2pPr algn="ctr">
              <a:defRPr sz="3300">
                <a:latin typeface="Volvo Novum" panose="02000606020000020004" pitchFamily="2" charset="0"/>
              </a:defRPr>
            </a:lvl2pPr>
          </a:lstStyle>
          <a:p>
            <a:pPr lvl="0"/>
            <a:r>
              <a:rPr lang="zh-CN" altLang="en-US" noProof="0" dirty="0"/>
              <a:t>点击添加演示文档标题</a:t>
            </a:r>
            <a:endParaRPr lang="en-GB" noProof="0" dirty="0"/>
          </a:p>
        </p:txBody>
      </p:sp>
      <p:pic>
        <p:nvPicPr>
          <p:cNvPr id="6" name="Bildobjekt 7">
            <a:extLst>
              <a:ext uri="{FF2B5EF4-FFF2-40B4-BE49-F238E27FC236}">
                <a16:creationId xmlns:a16="http://schemas.microsoft.com/office/drawing/2014/main" id="{6A583A38-3E42-4EBA-9FB4-004710E743BE}"/>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8" name="Text Placeholder 3">
            <a:extLst>
              <a:ext uri="{FF2B5EF4-FFF2-40B4-BE49-F238E27FC236}">
                <a16:creationId xmlns:a16="http://schemas.microsoft.com/office/drawing/2014/main" id="{05E8B469-7564-452E-BFBD-9520D0001278}"/>
              </a:ext>
            </a:extLst>
          </p:cNvPr>
          <p:cNvSpPr>
            <a:spLocks noGrp="1"/>
          </p:cNvSpPr>
          <p:nvPr>
            <p:ph type="body" sz="quarter" idx="15" hasCustomPrompt="1"/>
          </p:nvPr>
        </p:nvSpPr>
        <p:spPr>
          <a:xfrm>
            <a:off x="360362" y="4408488"/>
            <a:ext cx="8389937" cy="174664"/>
          </a:xfrm>
        </p:spPr>
        <p:txBody>
          <a:bodyPr anchor="b" anchorCtr="0">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ja-JP" altLang="en-GB" noProof="0" dirty="0"/>
              <a:t>点击</a:t>
            </a:r>
            <a:r>
              <a:rPr lang="ja-JP" altLang="en-US" noProof="0" dirty="0"/>
              <a:t>添加演讲者姓名</a:t>
            </a:r>
            <a:r>
              <a:rPr lang="zh-CN" altLang="en-US" noProof="0" dirty="0"/>
              <a:t>，</a:t>
            </a:r>
            <a:r>
              <a:rPr lang="ja-JP" altLang="en-US" noProof="0" dirty="0"/>
              <a:t>安全级别</a:t>
            </a:r>
            <a:r>
              <a:rPr lang="en-GB" noProof="0" dirty="0"/>
              <a:t>: </a:t>
            </a:r>
            <a:r>
              <a:rPr lang="ja-JP" altLang="en-GB" noProof="0" dirty="0"/>
              <a:t>私有</a:t>
            </a:r>
            <a:r>
              <a:rPr lang="en-GB" noProof="0" dirty="0"/>
              <a:t>, </a:t>
            </a:r>
            <a:r>
              <a:rPr lang="ja-JP" altLang="en-GB" noProof="0" dirty="0"/>
              <a:t>机密或</a:t>
            </a:r>
            <a:r>
              <a:rPr lang="ja-JP" altLang="en-US" noProof="0" dirty="0"/>
              <a:t>公开</a:t>
            </a:r>
            <a:endParaRPr lang="en-GB" noProof="0" dirty="0"/>
          </a:p>
        </p:txBody>
      </p:sp>
    </p:spTree>
    <p:extLst>
      <p:ext uri="{BB962C8B-B14F-4D97-AF65-F5344CB8AC3E}">
        <p14:creationId xmlns:p14="http://schemas.microsoft.com/office/powerpoint/2010/main" val="27410853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文字+相关文字">
    <p:spTree>
      <p:nvGrpSpPr>
        <p:cNvPr id="1" name=""/>
        <p:cNvGrpSpPr/>
        <p:nvPr/>
      </p:nvGrpSpPr>
      <p:grpSpPr>
        <a:xfrm>
          <a:off x="0" y="0"/>
          <a:ext cx="0" cy="0"/>
          <a:chOff x="0" y="0"/>
          <a:chExt cx="0" cy="0"/>
        </a:xfrm>
      </p:grpSpPr>
      <p:sp>
        <p:nvSpPr>
          <p:cNvPr id="11" name="Text Placeholder 3">
            <a:extLst>
              <a:ext uri="{FF2B5EF4-FFF2-40B4-BE49-F238E27FC236}">
                <a16:creationId xmlns:a16="http://schemas.microsoft.com/office/drawing/2014/main" id="{A018C5C5-4FDF-9B48-B097-A58AA76F86BB}"/>
              </a:ext>
            </a:extLst>
          </p:cNvPr>
          <p:cNvSpPr>
            <a:spLocks noGrp="1"/>
          </p:cNvSpPr>
          <p:nvPr>
            <p:ph type="body" sz="quarter" idx="22" hasCustomPrompt="1"/>
          </p:nvPr>
        </p:nvSpPr>
        <p:spPr>
          <a:xfrm>
            <a:off x="360364" y="1347144"/>
            <a:ext cx="5508625" cy="3458219"/>
          </a:xfrm>
          <a:prstGeom prst="rect">
            <a:avLst/>
          </a:prstGeom>
        </p:spPr>
        <p:txBody>
          <a:bodyPr>
            <a:noAutofit/>
          </a:bodyPr>
          <a:lstStyle>
            <a:lvl1pPr>
              <a:defRPr sz="1200"/>
            </a:lvl1pPr>
            <a:lvl2pPr>
              <a:defRPr sz="1200"/>
            </a:lvl2pPr>
            <a:lvl3pPr>
              <a:defRPr sz="1000"/>
            </a:lvl3pPr>
            <a:lvl4pPr>
              <a:defRPr sz="900"/>
            </a:lvl4pPr>
            <a:lvl5pPr>
              <a:defRPr sz="800"/>
            </a:lvl5pPr>
            <a:lvl6pPr>
              <a:defRPr sz="700"/>
            </a:lvl6pPr>
            <a:lvl7pPr>
              <a:defRPr sz="900"/>
            </a:lvl7pPr>
            <a:lvl8pPr>
              <a:defRPr sz="900"/>
            </a:lvl8pPr>
            <a:lvl9pPr>
              <a:defRPr sz="900"/>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a:p>
            <a:pPr lvl="2"/>
            <a:r>
              <a:rPr lang="ja-JP" altLang="en-GB" noProof="0"/>
              <a:t>第二</a:t>
            </a:r>
            <a:r>
              <a:rPr lang="ja-JP" altLang="en-US" noProof="0"/>
              <a:t>项要点</a:t>
            </a:r>
            <a:endParaRPr lang="en-GB" noProof="0" dirty="0"/>
          </a:p>
          <a:p>
            <a:pPr lvl="3"/>
            <a:r>
              <a:rPr lang="ja-JP" altLang="en-GB" noProof="0"/>
              <a:t>第三</a:t>
            </a:r>
            <a:r>
              <a:rPr lang="ja-JP" altLang="en-US" noProof="0"/>
              <a:t>项要点</a:t>
            </a:r>
            <a:endParaRPr lang="en-GB" noProof="0" dirty="0"/>
          </a:p>
          <a:p>
            <a:pPr lvl="4"/>
            <a:r>
              <a:rPr lang="ja-JP" altLang="en-GB" noProof="0"/>
              <a:t>第四</a:t>
            </a:r>
            <a:r>
              <a:rPr lang="ja-JP" altLang="en-US" noProof="0"/>
              <a:t>项要点</a:t>
            </a:r>
            <a:endParaRPr lang="en-GB" noProof="0" dirty="0"/>
          </a:p>
          <a:p>
            <a:pPr lvl="5"/>
            <a:r>
              <a:rPr lang="ja-JP" altLang="en-GB" noProof="0"/>
              <a:t>第五</a:t>
            </a:r>
            <a:r>
              <a:rPr lang="ja-JP" altLang="en-US" noProof="0"/>
              <a:t>项要点</a:t>
            </a:r>
            <a:endParaRPr lang="en-GB" noProof="0" dirty="0"/>
          </a:p>
        </p:txBody>
      </p:sp>
      <p:sp>
        <p:nvSpPr>
          <p:cNvPr id="16" name="Text Placeholder 4">
            <a:extLst>
              <a:ext uri="{FF2B5EF4-FFF2-40B4-BE49-F238E27FC236}">
                <a16:creationId xmlns:a16="http://schemas.microsoft.com/office/drawing/2014/main" id="{1ABC783F-0ABA-4249-B6A4-0A19CBB559C8}"/>
              </a:ext>
            </a:extLst>
          </p:cNvPr>
          <p:cNvSpPr>
            <a:spLocks noGrp="1"/>
          </p:cNvSpPr>
          <p:nvPr>
            <p:ph type="body" sz="quarter" idx="23" hasCustomPrompt="1"/>
          </p:nvPr>
        </p:nvSpPr>
        <p:spPr>
          <a:xfrm>
            <a:off x="6121400" y="1347144"/>
            <a:ext cx="2628900" cy="3458219"/>
          </a:xfrm>
          <a:prstGeom prst="rect">
            <a:avLst/>
          </a:prstGeom>
          <a:solidFill>
            <a:schemeClr val="bg1">
              <a:lumMod val="95000"/>
            </a:schemeClr>
          </a:solidFill>
          <a:ln>
            <a:noFill/>
          </a:ln>
        </p:spPr>
        <p:txBody>
          <a:bodyPr lIns="216000" tIns="144000" rIns="216000" bIns="144000">
            <a:normAutofit/>
          </a:bodyPr>
          <a:lstStyle>
            <a:lvl1pPr>
              <a:defRPr sz="1200"/>
            </a:lvl1pPr>
            <a:lvl2pPr>
              <a:defRPr sz="1200"/>
            </a:lvl2pPr>
            <a:lvl3pPr>
              <a:defRPr sz="1000"/>
            </a:lvl3pPr>
            <a:lvl4pPr>
              <a:defRPr sz="900"/>
            </a:lvl4pPr>
            <a:lvl5pPr>
              <a:defRPr sz="800"/>
            </a:lvl5pPr>
            <a:lvl6pPr>
              <a:defRPr sz="700"/>
            </a:lvl6pPr>
            <a:lvl7pPr>
              <a:defRPr/>
            </a:lvl7pPr>
            <a:lvl8pPr>
              <a:defRPr/>
            </a:lvl8pPr>
            <a:lvl9pPr>
              <a:defRPr/>
            </a:lvl9pPr>
          </a:lstStyle>
          <a:p>
            <a:pPr lvl="0"/>
            <a:r>
              <a:rPr lang="ja-JP" altLang="en-GB" noProof="0"/>
              <a:t>点击</a:t>
            </a:r>
            <a:r>
              <a:rPr lang="ja-JP" altLang="en-US" noProof="0"/>
              <a:t>添加相关内容文字</a:t>
            </a:r>
            <a:endParaRPr lang="en-GB" noProof="0" dirty="0"/>
          </a:p>
          <a:p>
            <a:pPr lvl="1"/>
            <a:r>
              <a:rPr lang="ja-JP" altLang="en-GB" noProof="0"/>
              <a:t>第一</a:t>
            </a:r>
            <a:r>
              <a:rPr lang="ja-JP" altLang="en-US" noProof="0"/>
              <a:t>项要点</a:t>
            </a:r>
            <a:endParaRPr lang="en-GB" noProof="0" dirty="0"/>
          </a:p>
          <a:p>
            <a:pPr lvl="2"/>
            <a:r>
              <a:rPr lang="ja-JP" altLang="en-GB" noProof="0"/>
              <a:t>第二</a:t>
            </a:r>
            <a:r>
              <a:rPr lang="ja-JP" altLang="en-US" noProof="0"/>
              <a:t>项要点</a:t>
            </a:r>
            <a:endParaRPr lang="en-GB" noProof="0" dirty="0"/>
          </a:p>
          <a:p>
            <a:pPr lvl="3"/>
            <a:r>
              <a:rPr lang="ja-JP" altLang="en-GB" noProof="0"/>
              <a:t>第三</a:t>
            </a:r>
            <a:r>
              <a:rPr lang="ja-JP" altLang="en-US" noProof="0"/>
              <a:t>项要点</a:t>
            </a:r>
            <a:endParaRPr lang="en-GB" noProof="0" dirty="0"/>
          </a:p>
          <a:p>
            <a:pPr lvl="4"/>
            <a:r>
              <a:rPr lang="ja-JP" altLang="en-GB" noProof="0"/>
              <a:t>第四</a:t>
            </a:r>
            <a:r>
              <a:rPr lang="ja-JP" altLang="en-US" noProof="0"/>
              <a:t>项要点</a:t>
            </a:r>
            <a:endParaRPr lang="en-GB" noProof="0" dirty="0"/>
          </a:p>
          <a:p>
            <a:pPr lvl="5"/>
            <a:r>
              <a:rPr lang="ja-JP" altLang="en-GB" noProof="0"/>
              <a:t>第五</a:t>
            </a:r>
            <a:r>
              <a:rPr lang="ja-JP" altLang="en-US" noProof="0"/>
              <a:t>项要点</a:t>
            </a:r>
            <a:endParaRPr lang="en-GB" noProof="0" dirty="0"/>
          </a:p>
        </p:txBody>
      </p:sp>
      <p:pic>
        <p:nvPicPr>
          <p:cNvPr id="12" name="Bildobjekt 7">
            <a:extLst>
              <a:ext uri="{FF2B5EF4-FFF2-40B4-BE49-F238E27FC236}">
                <a16:creationId xmlns:a16="http://schemas.microsoft.com/office/drawing/2014/main" id="{50D511DD-AB1B-417F-96D3-A1D769F938A3}"/>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3" name="Title Placeholder 10">
            <a:extLst>
              <a:ext uri="{FF2B5EF4-FFF2-40B4-BE49-F238E27FC236}">
                <a16:creationId xmlns:a16="http://schemas.microsoft.com/office/drawing/2014/main" id="{FDFCF8A1-B54F-42AB-8033-B232F746C4A1}"/>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defRPr lang="en-GB" sz="2000" b="1" noProof="0" dirty="0"/>
            </a:lvl1pPr>
          </a:lstStyle>
          <a:p>
            <a:pPr lvl="0"/>
            <a:r>
              <a:rPr lang="zh-CN" altLang="en-US" dirty="0"/>
              <a:t>文字</a:t>
            </a:r>
            <a:r>
              <a:rPr lang="en-US" altLang="zh-CN" dirty="0"/>
              <a:t>+</a:t>
            </a:r>
            <a:r>
              <a:rPr lang="zh-CN" altLang="en-US" dirty="0"/>
              <a:t>相关文字页面 </a:t>
            </a:r>
            <a:r>
              <a:rPr lang="en-US" altLang="zh-CN" dirty="0"/>
              <a:t>- </a:t>
            </a:r>
            <a:r>
              <a:rPr lang="zh-CN" altLang="en-US" dirty="0"/>
              <a:t>点击添加主题</a:t>
            </a:r>
            <a:endParaRPr lang="en-GB" noProof="0" dirty="0"/>
          </a:p>
        </p:txBody>
      </p:sp>
      <p:sp>
        <p:nvSpPr>
          <p:cNvPr id="19" name="Slide Number Placeholder 9">
            <a:extLst>
              <a:ext uri="{FF2B5EF4-FFF2-40B4-BE49-F238E27FC236}">
                <a16:creationId xmlns:a16="http://schemas.microsoft.com/office/drawing/2014/main" id="{904AD82D-9F8A-4344-A59C-C2EAD2640F34}"/>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29558453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三栏式1">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477B619C-E078-1242-9B16-E25B558DA559}"/>
              </a:ext>
            </a:extLst>
          </p:cNvPr>
          <p:cNvSpPr>
            <a:spLocks noGrp="1"/>
          </p:cNvSpPr>
          <p:nvPr>
            <p:ph sz="quarter" idx="16" hasCustomPrompt="1"/>
          </p:nvPr>
        </p:nvSpPr>
        <p:spPr>
          <a:xfrm>
            <a:off x="360363" y="1970669"/>
            <a:ext cx="2628000" cy="2628000"/>
          </a:xfrm>
          <a:prstGeom prst="rect">
            <a:avLst/>
          </a:prstGeom>
          <a:solidFill>
            <a:schemeClr val="bg1">
              <a:lumMod val="85000"/>
            </a:schemeClr>
          </a:solidFill>
        </p:spPr>
        <p:txBody>
          <a:bodyPr tIns="147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21" name="Content Placeholder 23">
            <a:extLst>
              <a:ext uri="{FF2B5EF4-FFF2-40B4-BE49-F238E27FC236}">
                <a16:creationId xmlns:a16="http://schemas.microsoft.com/office/drawing/2014/main" id="{390E5A46-5C96-F14C-B23C-323DD25FC50F}"/>
              </a:ext>
            </a:extLst>
          </p:cNvPr>
          <p:cNvSpPr>
            <a:spLocks noGrp="1"/>
          </p:cNvSpPr>
          <p:nvPr>
            <p:ph sz="quarter" idx="38" hasCustomPrompt="1"/>
          </p:nvPr>
        </p:nvSpPr>
        <p:spPr>
          <a:xfrm>
            <a:off x="3241674" y="1970669"/>
            <a:ext cx="2628000" cy="2628000"/>
          </a:xfrm>
          <a:prstGeom prst="rect">
            <a:avLst/>
          </a:prstGeom>
          <a:solidFill>
            <a:schemeClr val="bg1">
              <a:lumMod val="85000"/>
            </a:schemeClr>
          </a:solidFill>
        </p:spPr>
        <p:txBody>
          <a:bodyPr tIns="147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22" name="Content Placeholder 23">
            <a:extLst>
              <a:ext uri="{FF2B5EF4-FFF2-40B4-BE49-F238E27FC236}">
                <a16:creationId xmlns:a16="http://schemas.microsoft.com/office/drawing/2014/main" id="{C8D83589-9E38-E546-B361-55C64B61CBD4}"/>
              </a:ext>
            </a:extLst>
          </p:cNvPr>
          <p:cNvSpPr>
            <a:spLocks noGrp="1"/>
          </p:cNvSpPr>
          <p:nvPr>
            <p:ph sz="quarter" idx="39" hasCustomPrompt="1"/>
          </p:nvPr>
        </p:nvSpPr>
        <p:spPr>
          <a:xfrm>
            <a:off x="6121400" y="1970669"/>
            <a:ext cx="2628000" cy="2628000"/>
          </a:xfrm>
          <a:prstGeom prst="rect">
            <a:avLst/>
          </a:prstGeom>
          <a:solidFill>
            <a:schemeClr val="bg1">
              <a:lumMod val="85000"/>
            </a:schemeClr>
          </a:solidFill>
        </p:spPr>
        <p:txBody>
          <a:bodyPr tIns="147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27" name="Text Placeholder 3">
            <a:extLst>
              <a:ext uri="{FF2B5EF4-FFF2-40B4-BE49-F238E27FC236}">
                <a16:creationId xmlns:a16="http://schemas.microsoft.com/office/drawing/2014/main" id="{86592BE4-4DC2-3442-BB1E-ECB0E8B6EF05}"/>
              </a:ext>
            </a:extLst>
          </p:cNvPr>
          <p:cNvSpPr>
            <a:spLocks noGrp="1"/>
          </p:cNvSpPr>
          <p:nvPr>
            <p:ph type="body" sz="quarter" idx="35" hasCustomPrompt="1"/>
          </p:nvPr>
        </p:nvSpPr>
        <p:spPr>
          <a:xfrm>
            <a:off x="360363" y="1357893"/>
            <a:ext cx="2628901" cy="386770"/>
          </a:xfrm>
          <a:prstGeom prst="rect">
            <a:avLst/>
          </a:prstGeom>
        </p:spPr>
        <p:txBody>
          <a:bodyPr>
            <a:noAutofit/>
          </a:bodyPr>
          <a:lstStyle>
            <a:lvl1pPr>
              <a:lnSpc>
                <a:spcPct val="100000"/>
              </a:lnSpc>
              <a:defRPr sz="1200"/>
            </a:lvl1pPr>
            <a:lvl2pPr>
              <a:defRPr sz="1200"/>
            </a:lvl2pPr>
            <a:lvl3pPr>
              <a:defRPr sz="10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文字</a:t>
            </a:r>
            <a:r>
              <a:rPr lang="zh-CN" altLang="en-US" noProof="0" dirty="0"/>
              <a:t>（</a:t>
            </a:r>
            <a:r>
              <a:rPr lang="ja-JP" altLang="en-US" noProof="0"/>
              <a:t>最多两行</a:t>
            </a:r>
            <a:r>
              <a:rPr lang="zh-CN" altLang="en-US" noProof="0" dirty="0"/>
              <a:t>）</a:t>
            </a:r>
            <a:endParaRPr lang="en-GB" noProof="0" dirty="0"/>
          </a:p>
        </p:txBody>
      </p:sp>
      <p:sp>
        <p:nvSpPr>
          <p:cNvPr id="30" name="Text Placeholder 3">
            <a:extLst>
              <a:ext uri="{FF2B5EF4-FFF2-40B4-BE49-F238E27FC236}">
                <a16:creationId xmlns:a16="http://schemas.microsoft.com/office/drawing/2014/main" id="{901FC27F-F931-3A41-9C9D-B2E474B598F5}"/>
              </a:ext>
            </a:extLst>
          </p:cNvPr>
          <p:cNvSpPr>
            <a:spLocks noGrp="1"/>
          </p:cNvSpPr>
          <p:nvPr>
            <p:ph type="body" sz="quarter" idx="36" hasCustomPrompt="1"/>
          </p:nvPr>
        </p:nvSpPr>
        <p:spPr>
          <a:xfrm>
            <a:off x="3241676" y="1347789"/>
            <a:ext cx="2628658" cy="396875"/>
          </a:xfrm>
          <a:prstGeom prst="rect">
            <a:avLst/>
          </a:prstGeom>
        </p:spPr>
        <p:txBody>
          <a:bodyPr>
            <a:noAutofit/>
          </a:bodyPr>
          <a:lstStyle>
            <a:lvl1pPr>
              <a:lnSpc>
                <a:spcPct val="100000"/>
              </a:lnSpc>
              <a:defRPr sz="1200"/>
            </a:lvl1pPr>
            <a:lvl2pPr>
              <a:defRPr sz="1200"/>
            </a:lvl2pPr>
            <a:lvl3pPr>
              <a:defRPr sz="10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文字</a:t>
            </a:r>
            <a:r>
              <a:rPr lang="zh-CN" altLang="en-US" noProof="0" dirty="0"/>
              <a:t>（</a:t>
            </a:r>
            <a:r>
              <a:rPr lang="ja-JP" altLang="en-US" noProof="0"/>
              <a:t>最多两行</a:t>
            </a:r>
            <a:r>
              <a:rPr lang="zh-CN" altLang="en-US" noProof="0" dirty="0"/>
              <a:t>）</a:t>
            </a:r>
            <a:endParaRPr lang="en-GB" noProof="0" dirty="0"/>
          </a:p>
        </p:txBody>
      </p:sp>
      <p:sp>
        <p:nvSpPr>
          <p:cNvPr id="31" name="Text Placeholder 3">
            <a:extLst>
              <a:ext uri="{FF2B5EF4-FFF2-40B4-BE49-F238E27FC236}">
                <a16:creationId xmlns:a16="http://schemas.microsoft.com/office/drawing/2014/main" id="{336C3EBF-74D6-A047-A06B-CE280A2B6BA0}"/>
              </a:ext>
            </a:extLst>
          </p:cNvPr>
          <p:cNvSpPr>
            <a:spLocks noGrp="1"/>
          </p:cNvSpPr>
          <p:nvPr>
            <p:ph type="body" sz="quarter" idx="37" hasCustomPrompt="1"/>
          </p:nvPr>
        </p:nvSpPr>
        <p:spPr>
          <a:xfrm>
            <a:off x="6121399" y="1357894"/>
            <a:ext cx="2626383" cy="386770"/>
          </a:xfrm>
          <a:prstGeom prst="rect">
            <a:avLst/>
          </a:prstGeom>
        </p:spPr>
        <p:txBody>
          <a:bodyPr>
            <a:noAutofit/>
          </a:bodyPr>
          <a:lstStyle>
            <a:lvl1pPr>
              <a:lnSpc>
                <a:spcPct val="100000"/>
              </a:lnSpc>
              <a:defRPr sz="1200"/>
            </a:lvl1pPr>
            <a:lvl2pPr marL="0" indent="0">
              <a:buNone/>
              <a:defRPr sz="1200"/>
            </a:lvl2pPr>
            <a:lvl3pPr>
              <a:defRPr sz="1000"/>
            </a:lvl3pPr>
            <a:lvl4pPr>
              <a:defRPr sz="900"/>
            </a:lvl4pPr>
            <a:lvl5pPr>
              <a:defRPr sz="800"/>
            </a:lvl5pPr>
            <a:lvl6pPr>
              <a:defRPr/>
            </a:lvl6pPr>
            <a:lvl7pPr>
              <a:defRPr/>
            </a:lvl7pPr>
            <a:lvl8pPr>
              <a:defRPr/>
            </a:lvl8pPr>
            <a:lvl9pPr marL="417584" indent="0">
              <a:buNone/>
              <a:defRPr/>
            </a:lvl9pPr>
          </a:lstStyle>
          <a:p>
            <a:pPr lvl="0"/>
            <a:r>
              <a:rPr lang="ja-JP" altLang="en-GB" noProof="0"/>
              <a:t>点击</a:t>
            </a:r>
            <a:r>
              <a:rPr lang="ja-JP" altLang="en-US" noProof="0"/>
              <a:t>添加文字</a:t>
            </a:r>
            <a:r>
              <a:rPr lang="zh-CN" altLang="en-US" noProof="0"/>
              <a:t>（</a:t>
            </a:r>
            <a:r>
              <a:rPr lang="ja-JP" altLang="en-US" noProof="0"/>
              <a:t>最多两行</a:t>
            </a:r>
            <a:r>
              <a:rPr lang="zh-CN" altLang="en-US" noProof="0"/>
              <a:t>）</a:t>
            </a:r>
            <a:endParaRPr lang="en-GB" noProof="0" dirty="0"/>
          </a:p>
        </p:txBody>
      </p:sp>
      <p:pic>
        <p:nvPicPr>
          <p:cNvPr id="19" name="Bildobjekt 7">
            <a:extLst>
              <a:ext uri="{FF2B5EF4-FFF2-40B4-BE49-F238E27FC236}">
                <a16:creationId xmlns:a16="http://schemas.microsoft.com/office/drawing/2014/main" id="{7461F592-04C2-4A8D-9539-B5D01C7271E7}"/>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20" name="Title Placeholder 10">
            <a:extLst>
              <a:ext uri="{FF2B5EF4-FFF2-40B4-BE49-F238E27FC236}">
                <a16:creationId xmlns:a16="http://schemas.microsoft.com/office/drawing/2014/main" id="{21B1FA15-7476-4DDC-9504-60666496A991}"/>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a:lvl1pPr>
          </a:lstStyle>
          <a:p>
            <a:pPr algn="l"/>
            <a:r>
              <a:rPr lang="zh-CN" altLang="en-US" dirty="0"/>
              <a:t>三栏式页面</a:t>
            </a:r>
            <a:r>
              <a:rPr lang="en-US" altLang="zh-CN" dirty="0"/>
              <a:t>1</a:t>
            </a:r>
            <a:r>
              <a:rPr lang="zh-CN" altLang="en-US" dirty="0"/>
              <a:t> </a:t>
            </a:r>
            <a:r>
              <a:rPr lang="en-US" altLang="zh-CN" dirty="0"/>
              <a:t>- </a:t>
            </a:r>
            <a:r>
              <a:rPr lang="zh-CN" altLang="en-US" dirty="0"/>
              <a:t>点击添加主题</a:t>
            </a:r>
            <a:endParaRPr lang="en-GB" noProof="0" dirty="0"/>
          </a:p>
        </p:txBody>
      </p:sp>
      <p:sp>
        <p:nvSpPr>
          <p:cNvPr id="32" name="Slide Number Placeholder 9">
            <a:extLst>
              <a:ext uri="{FF2B5EF4-FFF2-40B4-BE49-F238E27FC236}">
                <a16:creationId xmlns:a16="http://schemas.microsoft.com/office/drawing/2014/main" id="{493B0D3B-EE59-47A3-8E71-D8D8F8EACB17}"/>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29210978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三栏式2">
    <p:spTree>
      <p:nvGrpSpPr>
        <p:cNvPr id="1" name=""/>
        <p:cNvGrpSpPr/>
        <p:nvPr/>
      </p:nvGrpSpPr>
      <p:grpSpPr>
        <a:xfrm>
          <a:off x="0" y="0"/>
          <a:ext cx="0" cy="0"/>
          <a:chOff x="0" y="0"/>
          <a:chExt cx="0" cy="0"/>
        </a:xfrm>
      </p:grpSpPr>
      <p:sp>
        <p:nvSpPr>
          <p:cNvPr id="24" name="Content Placeholder 23">
            <a:extLst>
              <a:ext uri="{FF2B5EF4-FFF2-40B4-BE49-F238E27FC236}">
                <a16:creationId xmlns:a16="http://schemas.microsoft.com/office/drawing/2014/main" id="{477B619C-E078-1242-9B16-E25B558DA559}"/>
              </a:ext>
            </a:extLst>
          </p:cNvPr>
          <p:cNvSpPr>
            <a:spLocks noGrp="1"/>
          </p:cNvSpPr>
          <p:nvPr>
            <p:ph sz="quarter" idx="16" hasCustomPrompt="1"/>
          </p:nvPr>
        </p:nvSpPr>
        <p:spPr>
          <a:xfrm>
            <a:off x="361263" y="1347789"/>
            <a:ext cx="2628000" cy="1400053"/>
          </a:xfrm>
          <a:prstGeom prst="rect">
            <a:avLst/>
          </a:prstGeom>
          <a:solidFill>
            <a:schemeClr val="bg1">
              <a:lumMod val="85000"/>
            </a:schemeClr>
          </a:solidFill>
        </p:spPr>
        <p:txBody>
          <a:bodyPr tIns="93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18" name="Text Placeholder 11">
            <a:extLst>
              <a:ext uri="{FF2B5EF4-FFF2-40B4-BE49-F238E27FC236}">
                <a16:creationId xmlns:a16="http://schemas.microsoft.com/office/drawing/2014/main" id="{C73EF000-82BC-3F4F-843C-F37CD6347E00}"/>
              </a:ext>
            </a:extLst>
          </p:cNvPr>
          <p:cNvSpPr>
            <a:spLocks noGrp="1"/>
          </p:cNvSpPr>
          <p:nvPr>
            <p:ph type="body" sz="quarter" idx="29" hasCustomPrompt="1"/>
          </p:nvPr>
        </p:nvSpPr>
        <p:spPr>
          <a:xfrm>
            <a:off x="361263" y="3184525"/>
            <a:ext cx="2628000" cy="260236"/>
          </a:xfrm>
          <a:prstGeom prst="rect">
            <a:avLst/>
          </a:prstGeom>
        </p:spPr>
        <p:txBody>
          <a:bodyPr>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ja-JP" altLang="en-GB" noProof="0"/>
              <a:t>点击</a:t>
            </a:r>
            <a:r>
              <a:rPr lang="ja-JP" altLang="en-US" noProof="0"/>
              <a:t>添加子标题</a:t>
            </a:r>
            <a:endParaRPr lang="en-GB" noProof="0" dirty="0"/>
          </a:p>
        </p:txBody>
      </p:sp>
      <p:sp>
        <p:nvSpPr>
          <p:cNvPr id="32" name="Content Placeholder 23">
            <a:extLst>
              <a:ext uri="{FF2B5EF4-FFF2-40B4-BE49-F238E27FC236}">
                <a16:creationId xmlns:a16="http://schemas.microsoft.com/office/drawing/2014/main" id="{671D206D-ABCD-9C43-A0D7-7A72CDC98451}"/>
              </a:ext>
            </a:extLst>
          </p:cNvPr>
          <p:cNvSpPr>
            <a:spLocks noGrp="1"/>
          </p:cNvSpPr>
          <p:nvPr>
            <p:ph sz="quarter" idx="41" hasCustomPrompt="1"/>
          </p:nvPr>
        </p:nvSpPr>
        <p:spPr>
          <a:xfrm>
            <a:off x="3241676" y="1347789"/>
            <a:ext cx="2627313" cy="1400053"/>
          </a:xfrm>
          <a:prstGeom prst="rect">
            <a:avLst/>
          </a:prstGeom>
          <a:solidFill>
            <a:schemeClr val="bg1">
              <a:lumMod val="85000"/>
            </a:schemeClr>
          </a:solidFill>
        </p:spPr>
        <p:txBody>
          <a:bodyPr tIns="93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33" name="Content Placeholder 23">
            <a:extLst>
              <a:ext uri="{FF2B5EF4-FFF2-40B4-BE49-F238E27FC236}">
                <a16:creationId xmlns:a16="http://schemas.microsoft.com/office/drawing/2014/main" id="{157CDFCB-103B-9F43-9485-DD9C523E1B2C}"/>
              </a:ext>
            </a:extLst>
          </p:cNvPr>
          <p:cNvSpPr>
            <a:spLocks noGrp="1"/>
          </p:cNvSpPr>
          <p:nvPr>
            <p:ph sz="quarter" idx="42" hasCustomPrompt="1"/>
          </p:nvPr>
        </p:nvSpPr>
        <p:spPr>
          <a:xfrm>
            <a:off x="6119025" y="1347789"/>
            <a:ext cx="2628000" cy="1400053"/>
          </a:xfrm>
          <a:prstGeom prst="rect">
            <a:avLst/>
          </a:prstGeom>
          <a:solidFill>
            <a:schemeClr val="bg1">
              <a:lumMod val="85000"/>
            </a:schemeClr>
          </a:solidFill>
        </p:spPr>
        <p:txBody>
          <a:bodyPr tIns="936000"/>
          <a:lstStyle>
            <a:lvl1pPr marL="0" indent="0" algn="ctr">
              <a:lnSpc>
                <a:spcPct val="300000"/>
              </a:lnSpc>
              <a:buNone/>
              <a:defRPr sz="900" i="1"/>
            </a:lvl1pPr>
            <a:lvl2pPr marL="342990" indent="0" algn="ctr">
              <a:buNone/>
              <a:defRPr sz="900"/>
            </a:lvl2pPr>
            <a:lvl3pPr marL="685981" indent="0" algn="ctr">
              <a:buNone/>
              <a:defRPr sz="900"/>
            </a:lvl3pPr>
            <a:lvl4pPr marL="1028971" indent="0" algn="ctr">
              <a:buNone/>
              <a:defRPr sz="900"/>
            </a:lvl4pPr>
            <a:lvl5pPr marL="1371961" indent="0" algn="ctr">
              <a:buNone/>
              <a:defRPr sz="900"/>
            </a:lvl5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26" name="Text Placeholder 3">
            <a:extLst>
              <a:ext uri="{FF2B5EF4-FFF2-40B4-BE49-F238E27FC236}">
                <a16:creationId xmlns:a16="http://schemas.microsoft.com/office/drawing/2014/main" id="{CF7E22BD-4C58-1A4E-8BCE-04600A81298A}"/>
              </a:ext>
            </a:extLst>
          </p:cNvPr>
          <p:cNvSpPr>
            <a:spLocks noGrp="1"/>
          </p:cNvSpPr>
          <p:nvPr>
            <p:ph type="body" sz="quarter" idx="44" hasCustomPrompt="1"/>
          </p:nvPr>
        </p:nvSpPr>
        <p:spPr>
          <a:xfrm>
            <a:off x="361263" y="3581400"/>
            <a:ext cx="2628000" cy="1223963"/>
          </a:xfrm>
          <a:prstGeom prst="rect">
            <a:avLst/>
          </a:prstGeom>
        </p:spPr>
        <p:txBody>
          <a:bodyPr>
            <a:no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a:p>
            <a:pPr lvl="2"/>
            <a:r>
              <a:rPr lang="ja-JP" altLang="en-GB" noProof="0"/>
              <a:t>第二项</a:t>
            </a:r>
            <a:r>
              <a:rPr lang="ja-JP" altLang="en-US" noProof="0"/>
              <a:t>要点</a:t>
            </a:r>
            <a:endParaRPr lang="en-GB" noProof="0" dirty="0"/>
          </a:p>
        </p:txBody>
      </p:sp>
      <p:sp>
        <p:nvSpPr>
          <p:cNvPr id="29" name="Text Placeholder 3">
            <a:extLst>
              <a:ext uri="{FF2B5EF4-FFF2-40B4-BE49-F238E27FC236}">
                <a16:creationId xmlns:a16="http://schemas.microsoft.com/office/drawing/2014/main" id="{15D2EC6C-5339-C142-AE24-B8FAF44F9D24}"/>
              </a:ext>
            </a:extLst>
          </p:cNvPr>
          <p:cNvSpPr>
            <a:spLocks noGrp="1"/>
          </p:cNvSpPr>
          <p:nvPr>
            <p:ph type="body" sz="quarter" idx="46" hasCustomPrompt="1"/>
          </p:nvPr>
        </p:nvSpPr>
        <p:spPr>
          <a:xfrm>
            <a:off x="3241676" y="3581400"/>
            <a:ext cx="2628000" cy="1223961"/>
          </a:xfrm>
          <a:prstGeom prst="rect">
            <a:avLst/>
          </a:prstGeom>
        </p:spPr>
        <p:txBody>
          <a:bodyPr>
            <a:no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a:p>
            <a:pPr lvl="2"/>
            <a:r>
              <a:rPr lang="ja-JP" altLang="en-GB" noProof="0"/>
              <a:t>第二项</a:t>
            </a:r>
            <a:r>
              <a:rPr lang="ja-JP" altLang="en-US" noProof="0"/>
              <a:t>要点</a:t>
            </a:r>
            <a:endParaRPr lang="en-GB" noProof="0" dirty="0"/>
          </a:p>
        </p:txBody>
      </p:sp>
      <p:sp>
        <p:nvSpPr>
          <p:cNvPr id="38" name="Text Placeholder 3">
            <a:extLst>
              <a:ext uri="{FF2B5EF4-FFF2-40B4-BE49-F238E27FC236}">
                <a16:creationId xmlns:a16="http://schemas.microsoft.com/office/drawing/2014/main" id="{C74301D4-2C08-3842-873E-C53A4E35E1FC}"/>
              </a:ext>
            </a:extLst>
          </p:cNvPr>
          <p:cNvSpPr>
            <a:spLocks noGrp="1"/>
          </p:cNvSpPr>
          <p:nvPr>
            <p:ph type="body" sz="quarter" idx="49" hasCustomPrompt="1"/>
          </p:nvPr>
        </p:nvSpPr>
        <p:spPr>
          <a:xfrm>
            <a:off x="6119025" y="3581399"/>
            <a:ext cx="2628000" cy="1223965"/>
          </a:xfrm>
          <a:prstGeom prst="rect">
            <a:avLst/>
          </a:prstGeom>
        </p:spPr>
        <p:txBody>
          <a:bodyPr>
            <a:no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a:p>
            <a:pPr lvl="2"/>
            <a:r>
              <a:rPr lang="ja-JP" altLang="en-GB" noProof="0"/>
              <a:t>第二项</a:t>
            </a:r>
            <a:r>
              <a:rPr lang="ja-JP" altLang="en-US" noProof="0"/>
              <a:t>要点</a:t>
            </a:r>
            <a:endParaRPr lang="en-GB" noProof="0" dirty="0"/>
          </a:p>
        </p:txBody>
      </p:sp>
      <p:sp>
        <p:nvSpPr>
          <p:cNvPr id="39" name="Text Placeholder 11">
            <a:extLst>
              <a:ext uri="{FF2B5EF4-FFF2-40B4-BE49-F238E27FC236}">
                <a16:creationId xmlns:a16="http://schemas.microsoft.com/office/drawing/2014/main" id="{8704E15C-F5B7-A54E-9E67-F332B8384777}"/>
              </a:ext>
            </a:extLst>
          </p:cNvPr>
          <p:cNvSpPr>
            <a:spLocks noGrp="1"/>
          </p:cNvSpPr>
          <p:nvPr>
            <p:ph type="body" sz="quarter" idx="50" hasCustomPrompt="1"/>
          </p:nvPr>
        </p:nvSpPr>
        <p:spPr>
          <a:xfrm>
            <a:off x="3252874" y="3184525"/>
            <a:ext cx="2627313" cy="260236"/>
          </a:xfrm>
          <a:prstGeom prst="rect">
            <a:avLst/>
          </a:prstGeom>
        </p:spPr>
        <p:txBody>
          <a:bodyPr>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ja-JP" altLang="en-GB" noProof="0"/>
              <a:t>点击</a:t>
            </a:r>
            <a:r>
              <a:rPr lang="ja-JP" altLang="en-US" noProof="0"/>
              <a:t>添加子标题</a:t>
            </a:r>
            <a:endParaRPr lang="en-GB" noProof="0" dirty="0"/>
          </a:p>
        </p:txBody>
      </p:sp>
      <p:sp>
        <p:nvSpPr>
          <p:cNvPr id="40" name="Text Placeholder 11">
            <a:extLst>
              <a:ext uri="{FF2B5EF4-FFF2-40B4-BE49-F238E27FC236}">
                <a16:creationId xmlns:a16="http://schemas.microsoft.com/office/drawing/2014/main" id="{35E4AD9A-2483-4941-8109-5902D5B8BCA5}"/>
              </a:ext>
            </a:extLst>
          </p:cNvPr>
          <p:cNvSpPr>
            <a:spLocks noGrp="1"/>
          </p:cNvSpPr>
          <p:nvPr>
            <p:ph type="body" sz="quarter" idx="51" hasCustomPrompt="1"/>
          </p:nvPr>
        </p:nvSpPr>
        <p:spPr>
          <a:xfrm>
            <a:off x="6119099" y="3184525"/>
            <a:ext cx="2628000" cy="260236"/>
          </a:xfrm>
          <a:prstGeom prst="rect">
            <a:avLst/>
          </a:prstGeom>
        </p:spPr>
        <p:txBody>
          <a:bodyPr>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ja-JP" altLang="en-GB" noProof="0"/>
              <a:t>点击</a:t>
            </a:r>
            <a:r>
              <a:rPr lang="ja-JP" altLang="en-US" noProof="0"/>
              <a:t>添加子标题</a:t>
            </a:r>
            <a:endParaRPr lang="en-GB" noProof="0" dirty="0"/>
          </a:p>
        </p:txBody>
      </p:sp>
      <p:pic>
        <p:nvPicPr>
          <p:cNvPr id="21" name="Bildobjekt 7">
            <a:extLst>
              <a:ext uri="{FF2B5EF4-FFF2-40B4-BE49-F238E27FC236}">
                <a16:creationId xmlns:a16="http://schemas.microsoft.com/office/drawing/2014/main" id="{17716B58-F4DB-4CE9-A13B-E6ABD9218BFC}"/>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23" name="Title Placeholder 10">
            <a:extLst>
              <a:ext uri="{FF2B5EF4-FFF2-40B4-BE49-F238E27FC236}">
                <a16:creationId xmlns:a16="http://schemas.microsoft.com/office/drawing/2014/main" id="{7521BB99-BB6E-4918-A7E7-F1E0FF3F6C98}"/>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a:lvl1pPr>
          </a:lstStyle>
          <a:p>
            <a:pPr algn="l"/>
            <a:r>
              <a:rPr lang="zh-CN" altLang="en-US" dirty="0"/>
              <a:t>三栏式页面</a:t>
            </a:r>
            <a:r>
              <a:rPr lang="en-US" altLang="zh-CN" dirty="0"/>
              <a:t>2</a:t>
            </a:r>
            <a:r>
              <a:rPr lang="zh-CN" altLang="en-US" dirty="0"/>
              <a:t> </a:t>
            </a:r>
            <a:r>
              <a:rPr lang="en-US" altLang="zh-CN" dirty="0"/>
              <a:t>- </a:t>
            </a:r>
            <a:r>
              <a:rPr lang="zh-CN" altLang="en-US" dirty="0"/>
              <a:t>点击添加主题</a:t>
            </a:r>
            <a:endParaRPr lang="en-GB" noProof="0" dirty="0"/>
          </a:p>
        </p:txBody>
      </p:sp>
      <p:sp>
        <p:nvSpPr>
          <p:cNvPr id="30" name="Slide Number Placeholder 9">
            <a:extLst>
              <a:ext uri="{FF2B5EF4-FFF2-40B4-BE49-F238E27FC236}">
                <a16:creationId xmlns:a16="http://schemas.microsoft.com/office/drawing/2014/main" id="{0D220421-12B6-4B5C-A34C-55CB2E8A6CB0}"/>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206320172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圆形">
    <p:spTree>
      <p:nvGrpSpPr>
        <p:cNvPr id="1" name=""/>
        <p:cNvGrpSpPr/>
        <p:nvPr/>
      </p:nvGrpSpPr>
      <p:grpSpPr>
        <a:xfrm>
          <a:off x="0" y="0"/>
          <a:ext cx="0" cy="0"/>
          <a:chOff x="0" y="0"/>
          <a:chExt cx="0" cy="0"/>
        </a:xfrm>
      </p:grpSpPr>
      <p:sp>
        <p:nvSpPr>
          <p:cNvPr id="6" name="Picture Placeholder 7">
            <a:extLst>
              <a:ext uri="{FF2B5EF4-FFF2-40B4-BE49-F238E27FC236}">
                <a16:creationId xmlns:a16="http://schemas.microsoft.com/office/drawing/2014/main" id="{EAA349A2-A320-4D43-8F68-3A1B95C54D50}"/>
              </a:ext>
            </a:extLst>
          </p:cNvPr>
          <p:cNvSpPr>
            <a:spLocks noGrp="1"/>
          </p:cNvSpPr>
          <p:nvPr>
            <p:ph type="pic" sz="quarter" idx="13" hasCustomPrompt="1"/>
          </p:nvPr>
        </p:nvSpPr>
        <p:spPr>
          <a:xfrm>
            <a:off x="360363" y="1347788"/>
            <a:ext cx="1908663" cy="1908000"/>
          </a:xfrm>
          <a:prstGeom prst="ellipse">
            <a:avLst/>
          </a:prstGeom>
          <a:solidFill>
            <a:schemeClr val="bg1">
              <a:lumMod val="85000"/>
            </a:schemeClr>
          </a:solidFill>
          <a:ln>
            <a:noFill/>
          </a:ln>
        </p:spPr>
        <p:txBody>
          <a:bodyPr tIns="936000"/>
          <a:lstStyle>
            <a:lvl1pPr marL="0" indent="0" algn="ctr">
              <a:buNone/>
              <a:defRPr sz="900" i="1"/>
            </a:lvl1pPr>
          </a:lstStyle>
          <a:p>
            <a:r>
              <a:rPr lang="ja-JP" altLang="en-GB" noProof="0"/>
              <a:t>点击</a:t>
            </a:r>
            <a:r>
              <a:rPr lang="ja-JP" altLang="en-US" noProof="0"/>
              <a:t>添加图片</a:t>
            </a:r>
            <a:endParaRPr lang="en-GB" noProof="0" dirty="0"/>
          </a:p>
        </p:txBody>
      </p:sp>
      <p:sp>
        <p:nvSpPr>
          <p:cNvPr id="7" name="Picture Placeholder 7">
            <a:extLst>
              <a:ext uri="{FF2B5EF4-FFF2-40B4-BE49-F238E27FC236}">
                <a16:creationId xmlns:a16="http://schemas.microsoft.com/office/drawing/2014/main" id="{ED8137BB-1ECE-1647-9D2B-D6351DFB226D}"/>
              </a:ext>
            </a:extLst>
          </p:cNvPr>
          <p:cNvSpPr>
            <a:spLocks noGrp="1"/>
          </p:cNvSpPr>
          <p:nvPr>
            <p:ph type="pic" sz="quarter" idx="17" hasCustomPrompt="1"/>
          </p:nvPr>
        </p:nvSpPr>
        <p:spPr>
          <a:xfrm>
            <a:off x="2520951" y="1347788"/>
            <a:ext cx="1908663" cy="1908000"/>
          </a:xfrm>
          <a:prstGeom prst="ellipse">
            <a:avLst/>
          </a:prstGeom>
          <a:solidFill>
            <a:schemeClr val="bg1">
              <a:lumMod val="85000"/>
            </a:schemeClr>
          </a:solidFill>
        </p:spPr>
        <p:txBody>
          <a:bodyPr tIns="936000"/>
          <a:lstStyle>
            <a:lvl1pPr marL="0" marR="0" indent="0" algn="ctr" defTabSz="685981" rtl="0" eaLnBrk="1" fontAlgn="auto" latinLnBrk="0" hangingPunct="1">
              <a:lnSpc>
                <a:spcPct val="90000"/>
              </a:lnSpc>
              <a:spcBef>
                <a:spcPts val="750"/>
              </a:spcBef>
              <a:spcAft>
                <a:spcPts val="0"/>
              </a:spcAft>
              <a:buClrTx/>
              <a:buSzTx/>
              <a:buFont typeface="Volvo Novum Light" panose="020B0604020202020204" pitchFamily="34" charset="0"/>
              <a:buNone/>
              <a:tabLst/>
              <a:defRPr sz="900" i="1"/>
            </a:lvl1pPr>
          </a:lstStyle>
          <a:p>
            <a:r>
              <a:rPr lang="ja-JP" altLang="en-GB" noProof="0"/>
              <a:t>点击</a:t>
            </a:r>
            <a:r>
              <a:rPr lang="ja-JP" altLang="en-US" noProof="0"/>
              <a:t>添加图片</a:t>
            </a:r>
            <a:endParaRPr lang="en-GB" noProof="0" dirty="0"/>
          </a:p>
        </p:txBody>
      </p:sp>
      <p:sp>
        <p:nvSpPr>
          <p:cNvPr id="8" name="Picture Placeholder 7">
            <a:extLst>
              <a:ext uri="{FF2B5EF4-FFF2-40B4-BE49-F238E27FC236}">
                <a16:creationId xmlns:a16="http://schemas.microsoft.com/office/drawing/2014/main" id="{3381E67F-00E8-8F4A-BC95-9DAFE2918067}"/>
              </a:ext>
            </a:extLst>
          </p:cNvPr>
          <p:cNvSpPr>
            <a:spLocks noGrp="1"/>
          </p:cNvSpPr>
          <p:nvPr>
            <p:ph type="pic" sz="quarter" idx="18" hasCustomPrompt="1"/>
          </p:nvPr>
        </p:nvSpPr>
        <p:spPr>
          <a:xfrm>
            <a:off x="4681539" y="1347788"/>
            <a:ext cx="1908663" cy="1908000"/>
          </a:xfrm>
          <a:prstGeom prst="ellipse">
            <a:avLst/>
          </a:prstGeom>
          <a:solidFill>
            <a:schemeClr val="bg1">
              <a:lumMod val="85000"/>
            </a:schemeClr>
          </a:solidFill>
        </p:spPr>
        <p:txBody>
          <a:bodyPr tIns="936000"/>
          <a:lstStyle>
            <a:lvl1pPr marL="0" marR="0" indent="0" algn="ctr" defTabSz="685981" rtl="0" eaLnBrk="1" fontAlgn="auto" latinLnBrk="0" hangingPunct="1">
              <a:lnSpc>
                <a:spcPct val="90000"/>
              </a:lnSpc>
              <a:spcBef>
                <a:spcPts val="750"/>
              </a:spcBef>
              <a:spcAft>
                <a:spcPts val="0"/>
              </a:spcAft>
              <a:buClrTx/>
              <a:buSzTx/>
              <a:buFont typeface="Volvo Novum Light" panose="020B0604020202020204" pitchFamily="34" charset="0"/>
              <a:buNone/>
              <a:tabLst/>
              <a:defRPr sz="900" i="1"/>
            </a:lvl1pPr>
          </a:lstStyle>
          <a:p>
            <a:r>
              <a:rPr lang="ja-JP" altLang="en-GB" noProof="0"/>
              <a:t>点击</a:t>
            </a:r>
            <a:r>
              <a:rPr lang="ja-JP" altLang="en-US" noProof="0"/>
              <a:t>添加图片</a:t>
            </a:r>
            <a:endParaRPr lang="en-GB" noProof="0" dirty="0"/>
          </a:p>
        </p:txBody>
      </p:sp>
      <p:sp>
        <p:nvSpPr>
          <p:cNvPr id="9" name="Picture Placeholder 7">
            <a:extLst>
              <a:ext uri="{FF2B5EF4-FFF2-40B4-BE49-F238E27FC236}">
                <a16:creationId xmlns:a16="http://schemas.microsoft.com/office/drawing/2014/main" id="{D17BAECE-64BB-814F-BBE3-F56E4055A42B}"/>
              </a:ext>
            </a:extLst>
          </p:cNvPr>
          <p:cNvSpPr>
            <a:spLocks noGrp="1"/>
          </p:cNvSpPr>
          <p:nvPr>
            <p:ph type="pic" sz="quarter" idx="19" hasCustomPrompt="1"/>
          </p:nvPr>
        </p:nvSpPr>
        <p:spPr>
          <a:xfrm>
            <a:off x="6842126" y="1347788"/>
            <a:ext cx="1908663" cy="1908000"/>
          </a:xfrm>
          <a:prstGeom prst="ellipse">
            <a:avLst/>
          </a:prstGeom>
          <a:solidFill>
            <a:schemeClr val="bg1">
              <a:lumMod val="85000"/>
            </a:schemeClr>
          </a:solidFill>
        </p:spPr>
        <p:txBody>
          <a:bodyPr tIns="936000"/>
          <a:lstStyle>
            <a:lvl1pPr marL="0" marR="0" indent="0" algn="ctr" defTabSz="685981" rtl="0" eaLnBrk="1" fontAlgn="auto" latinLnBrk="0" hangingPunct="1">
              <a:lnSpc>
                <a:spcPct val="90000"/>
              </a:lnSpc>
              <a:spcBef>
                <a:spcPts val="750"/>
              </a:spcBef>
              <a:spcAft>
                <a:spcPts val="0"/>
              </a:spcAft>
              <a:buClrTx/>
              <a:buSzTx/>
              <a:buFont typeface="Volvo Novum Light" panose="020B0604020202020204" pitchFamily="34" charset="0"/>
              <a:buNone/>
              <a:tabLst/>
              <a:defRPr sz="900" i="1"/>
            </a:lvl1pPr>
          </a:lstStyle>
          <a:p>
            <a:r>
              <a:rPr lang="ja-JP" altLang="en-GB" noProof="0"/>
              <a:t>点击</a:t>
            </a:r>
            <a:r>
              <a:rPr lang="ja-JP" altLang="en-US" noProof="0"/>
              <a:t>添加图片</a:t>
            </a:r>
            <a:endParaRPr lang="en-GB" noProof="0" dirty="0"/>
          </a:p>
        </p:txBody>
      </p:sp>
      <p:cxnSp>
        <p:nvCxnSpPr>
          <p:cNvPr id="10" name="Rak 5">
            <a:extLst>
              <a:ext uri="{FF2B5EF4-FFF2-40B4-BE49-F238E27FC236}">
                <a16:creationId xmlns:a16="http://schemas.microsoft.com/office/drawing/2014/main" id="{DDEC33F9-F349-A643-97DF-1CFD1A601DF1}"/>
              </a:ext>
            </a:extLst>
          </p:cNvPr>
          <p:cNvCxnSpPr>
            <a:cxnSpLocks/>
          </p:cNvCxnSpPr>
          <p:nvPr userDrawn="1"/>
        </p:nvCxnSpPr>
        <p:spPr>
          <a:xfrm>
            <a:off x="2394545" y="3364631"/>
            <a:ext cx="0" cy="1440733"/>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Rak 5">
            <a:extLst>
              <a:ext uri="{FF2B5EF4-FFF2-40B4-BE49-F238E27FC236}">
                <a16:creationId xmlns:a16="http://schemas.microsoft.com/office/drawing/2014/main" id="{9C054490-DE66-074A-8137-03050D90CA0B}"/>
              </a:ext>
            </a:extLst>
          </p:cNvPr>
          <p:cNvCxnSpPr>
            <a:cxnSpLocks/>
          </p:cNvCxnSpPr>
          <p:nvPr userDrawn="1"/>
        </p:nvCxnSpPr>
        <p:spPr>
          <a:xfrm>
            <a:off x="4554911" y="3364630"/>
            <a:ext cx="0" cy="144073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5" name="Rak 5">
            <a:extLst>
              <a:ext uri="{FF2B5EF4-FFF2-40B4-BE49-F238E27FC236}">
                <a16:creationId xmlns:a16="http://schemas.microsoft.com/office/drawing/2014/main" id="{D22C16C6-0362-604F-A516-67C24034198E}"/>
              </a:ext>
            </a:extLst>
          </p:cNvPr>
          <p:cNvCxnSpPr>
            <a:cxnSpLocks/>
          </p:cNvCxnSpPr>
          <p:nvPr userDrawn="1"/>
        </p:nvCxnSpPr>
        <p:spPr>
          <a:xfrm>
            <a:off x="6715941" y="3364630"/>
            <a:ext cx="0" cy="1440734"/>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2" name="Text Placeholder 3">
            <a:extLst>
              <a:ext uri="{FF2B5EF4-FFF2-40B4-BE49-F238E27FC236}">
                <a16:creationId xmlns:a16="http://schemas.microsoft.com/office/drawing/2014/main" id="{B0F8563D-36B0-FE4D-A073-B69E8571DCE0}"/>
              </a:ext>
            </a:extLst>
          </p:cNvPr>
          <p:cNvSpPr>
            <a:spLocks noGrp="1"/>
          </p:cNvSpPr>
          <p:nvPr>
            <p:ph type="body" sz="quarter" idx="51" hasCustomPrompt="1"/>
          </p:nvPr>
        </p:nvSpPr>
        <p:spPr>
          <a:xfrm>
            <a:off x="360363" y="3797301"/>
            <a:ext cx="1909762" cy="1008063"/>
          </a:xfrm>
          <a:prstGeom prst="rect">
            <a:avLst/>
          </a:prstGeom>
        </p:spPr>
        <p:txBody>
          <a:bodyPr>
            <a:norm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dirty="0"/>
              <a:t>点击</a:t>
            </a:r>
            <a:r>
              <a:rPr lang="ja-JP" altLang="en-US" noProof="0" dirty="0"/>
              <a:t>添加内容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项</a:t>
            </a:r>
            <a:r>
              <a:rPr lang="ja-JP" altLang="en-US" noProof="0" dirty="0"/>
              <a:t>要点</a:t>
            </a:r>
            <a:endParaRPr lang="en-GB" noProof="0" dirty="0"/>
          </a:p>
        </p:txBody>
      </p:sp>
      <p:sp>
        <p:nvSpPr>
          <p:cNvPr id="39" name="Text Placeholder 3">
            <a:extLst>
              <a:ext uri="{FF2B5EF4-FFF2-40B4-BE49-F238E27FC236}">
                <a16:creationId xmlns:a16="http://schemas.microsoft.com/office/drawing/2014/main" id="{080AE4D0-E234-FC44-9A75-27629967541A}"/>
              </a:ext>
            </a:extLst>
          </p:cNvPr>
          <p:cNvSpPr>
            <a:spLocks noGrp="1"/>
          </p:cNvSpPr>
          <p:nvPr>
            <p:ph type="body" sz="quarter" idx="53" hasCustomPrompt="1"/>
          </p:nvPr>
        </p:nvSpPr>
        <p:spPr>
          <a:xfrm>
            <a:off x="2520950" y="3797300"/>
            <a:ext cx="1907598" cy="1008064"/>
          </a:xfrm>
          <a:prstGeom prst="rect">
            <a:avLst/>
          </a:prstGeom>
        </p:spPr>
        <p:txBody>
          <a:bodyPr>
            <a:norm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dirty="0"/>
              <a:t>点击</a:t>
            </a:r>
            <a:r>
              <a:rPr lang="ja-JP" altLang="en-US" noProof="0" dirty="0"/>
              <a:t>添加内容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项</a:t>
            </a:r>
            <a:r>
              <a:rPr lang="ja-JP" altLang="en-US" noProof="0" dirty="0"/>
              <a:t>要点</a:t>
            </a:r>
            <a:endParaRPr lang="en-GB" noProof="0" dirty="0"/>
          </a:p>
        </p:txBody>
      </p:sp>
      <p:sp>
        <p:nvSpPr>
          <p:cNvPr id="43" name="Text Placeholder 3">
            <a:extLst>
              <a:ext uri="{FF2B5EF4-FFF2-40B4-BE49-F238E27FC236}">
                <a16:creationId xmlns:a16="http://schemas.microsoft.com/office/drawing/2014/main" id="{264BDAD6-0EF2-E14A-AF95-FF8C25DD22DF}"/>
              </a:ext>
            </a:extLst>
          </p:cNvPr>
          <p:cNvSpPr>
            <a:spLocks noGrp="1"/>
          </p:cNvSpPr>
          <p:nvPr>
            <p:ph type="body" sz="quarter" idx="55" hasCustomPrompt="1"/>
          </p:nvPr>
        </p:nvSpPr>
        <p:spPr>
          <a:xfrm>
            <a:off x="4682201" y="3797301"/>
            <a:ext cx="1908000" cy="1008063"/>
          </a:xfrm>
          <a:prstGeom prst="rect">
            <a:avLst/>
          </a:prstGeom>
        </p:spPr>
        <p:txBody>
          <a:bodyPr>
            <a:normAutofit/>
          </a:bodyPr>
          <a:lstStyle>
            <a:lvl1pPr>
              <a:defRPr sz="1000"/>
            </a:lvl1pPr>
            <a:lvl2pPr>
              <a:defRPr sz="900"/>
            </a:lvl2pPr>
            <a:lvl3pPr>
              <a:defRPr sz="800"/>
            </a:lvl3pPr>
            <a:lvl4pPr>
              <a:defRPr sz="900"/>
            </a:lvl4pPr>
            <a:lvl5pPr>
              <a:defRPr sz="800"/>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a:p>
            <a:pPr lvl="2"/>
            <a:r>
              <a:rPr lang="ja-JP" altLang="en-GB" noProof="0"/>
              <a:t>第二项</a:t>
            </a:r>
            <a:r>
              <a:rPr lang="ja-JP" altLang="en-US" noProof="0"/>
              <a:t>要点</a:t>
            </a:r>
            <a:endParaRPr lang="en-GB" noProof="0" dirty="0"/>
          </a:p>
        </p:txBody>
      </p:sp>
      <p:sp>
        <p:nvSpPr>
          <p:cNvPr id="45" name="Text Placeholder 3">
            <a:extLst>
              <a:ext uri="{FF2B5EF4-FFF2-40B4-BE49-F238E27FC236}">
                <a16:creationId xmlns:a16="http://schemas.microsoft.com/office/drawing/2014/main" id="{316739A7-61A8-8140-BB50-18533D5EEC71}"/>
              </a:ext>
            </a:extLst>
          </p:cNvPr>
          <p:cNvSpPr>
            <a:spLocks noGrp="1"/>
          </p:cNvSpPr>
          <p:nvPr>
            <p:ph type="body" sz="quarter" idx="57" hasCustomPrompt="1"/>
          </p:nvPr>
        </p:nvSpPr>
        <p:spPr>
          <a:xfrm>
            <a:off x="6842126" y="3797301"/>
            <a:ext cx="1908663" cy="1008063"/>
          </a:xfrm>
          <a:prstGeom prst="rect">
            <a:avLst/>
          </a:prstGeom>
        </p:spPr>
        <p:txBody>
          <a:bodyPr>
            <a:normAutofit/>
          </a:bodyPr>
          <a:lstStyle>
            <a:lvl1pPr>
              <a:defRPr sz="1000"/>
            </a:lvl1pPr>
            <a:lvl2pPr>
              <a:defRPr sz="900"/>
            </a:lvl2pPr>
            <a:lvl3pPr>
              <a:defRPr sz="800"/>
            </a:lvl3pPr>
            <a:lvl4pPr marL="247641" indent="0">
              <a:buNone/>
              <a:defRPr sz="900"/>
            </a:lvl4pPr>
            <a:lvl5pPr>
              <a:defRPr sz="800"/>
            </a:lvl5pPr>
            <a:lvl6pPr>
              <a:defRPr/>
            </a:lvl6pPr>
            <a:lvl7pPr>
              <a:defRPr/>
            </a:lvl7pPr>
            <a:lvl8pPr>
              <a:defRPr/>
            </a:lvl8pPr>
            <a:lvl9pPr>
              <a:defRPr/>
            </a:lvl9pPr>
          </a:lstStyle>
          <a:p>
            <a:pPr lvl="0"/>
            <a:r>
              <a:rPr lang="ja-JP" altLang="en-GB" noProof="0" dirty="0"/>
              <a:t>点击</a:t>
            </a:r>
            <a:r>
              <a:rPr lang="ja-JP" altLang="en-US" noProof="0" dirty="0"/>
              <a:t>添加内容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项</a:t>
            </a:r>
            <a:r>
              <a:rPr lang="ja-JP" altLang="en-US" noProof="0" dirty="0"/>
              <a:t>要点</a:t>
            </a:r>
            <a:endParaRPr lang="en-GB" noProof="0" dirty="0"/>
          </a:p>
        </p:txBody>
      </p:sp>
      <p:sp>
        <p:nvSpPr>
          <p:cNvPr id="49" name="Text Placeholder 11">
            <a:extLst>
              <a:ext uri="{FF2B5EF4-FFF2-40B4-BE49-F238E27FC236}">
                <a16:creationId xmlns:a16="http://schemas.microsoft.com/office/drawing/2014/main" id="{B32CAADE-3AD6-5546-B659-5C1D1C337A4C}"/>
              </a:ext>
            </a:extLst>
          </p:cNvPr>
          <p:cNvSpPr>
            <a:spLocks noGrp="1"/>
          </p:cNvSpPr>
          <p:nvPr>
            <p:ph type="body" sz="quarter" idx="29" hasCustomPrompt="1"/>
          </p:nvPr>
        </p:nvSpPr>
        <p:spPr>
          <a:xfrm>
            <a:off x="360361" y="3364631"/>
            <a:ext cx="1908000" cy="216769"/>
          </a:xfrm>
          <a:prstGeom prst="rect">
            <a:avLst/>
          </a:prstGeom>
        </p:spPr>
        <p:txBody>
          <a:bodyPr anchor="b" anchorCtr="0">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zh-CN" altLang="en-US" noProof="0" dirty="0"/>
              <a:t>点击添加子标题</a:t>
            </a:r>
            <a:endParaRPr lang="en-GB" noProof="0" dirty="0"/>
          </a:p>
        </p:txBody>
      </p:sp>
      <p:sp>
        <p:nvSpPr>
          <p:cNvPr id="50" name="Text Placeholder 11">
            <a:extLst>
              <a:ext uri="{FF2B5EF4-FFF2-40B4-BE49-F238E27FC236}">
                <a16:creationId xmlns:a16="http://schemas.microsoft.com/office/drawing/2014/main" id="{CF296816-DE4E-CF43-92FF-AAF587D0BE69}"/>
              </a:ext>
            </a:extLst>
          </p:cNvPr>
          <p:cNvSpPr>
            <a:spLocks noGrp="1"/>
          </p:cNvSpPr>
          <p:nvPr>
            <p:ph type="body" sz="quarter" idx="58" hasCustomPrompt="1"/>
          </p:nvPr>
        </p:nvSpPr>
        <p:spPr>
          <a:xfrm>
            <a:off x="2520728" y="3364630"/>
            <a:ext cx="1908000" cy="216767"/>
          </a:xfrm>
          <a:prstGeom prst="rect">
            <a:avLst/>
          </a:prstGeom>
        </p:spPr>
        <p:txBody>
          <a:bodyPr anchor="b" anchorCtr="0">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zh-CN" altLang="en-US" noProof="0" dirty="0"/>
              <a:t>点击添加子标题</a:t>
            </a:r>
            <a:endParaRPr lang="en-GB" noProof="0" dirty="0"/>
          </a:p>
        </p:txBody>
      </p:sp>
      <p:sp>
        <p:nvSpPr>
          <p:cNvPr id="51" name="Text Placeholder 11">
            <a:extLst>
              <a:ext uri="{FF2B5EF4-FFF2-40B4-BE49-F238E27FC236}">
                <a16:creationId xmlns:a16="http://schemas.microsoft.com/office/drawing/2014/main" id="{A034BAA0-F5CF-FA4A-A339-D4EBCA9AC047}"/>
              </a:ext>
            </a:extLst>
          </p:cNvPr>
          <p:cNvSpPr>
            <a:spLocks noGrp="1"/>
          </p:cNvSpPr>
          <p:nvPr>
            <p:ph type="body" sz="quarter" idx="59" hasCustomPrompt="1"/>
          </p:nvPr>
        </p:nvSpPr>
        <p:spPr>
          <a:xfrm>
            <a:off x="4681095" y="3364631"/>
            <a:ext cx="1908663" cy="216769"/>
          </a:xfrm>
          <a:prstGeom prst="rect">
            <a:avLst/>
          </a:prstGeom>
        </p:spPr>
        <p:txBody>
          <a:bodyPr anchor="b" anchorCtr="0">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zh-CN" altLang="en-US" noProof="0" dirty="0"/>
              <a:t>点击添加子标题</a:t>
            </a:r>
            <a:endParaRPr lang="en-GB" noProof="0" dirty="0"/>
          </a:p>
        </p:txBody>
      </p:sp>
      <p:sp>
        <p:nvSpPr>
          <p:cNvPr id="52" name="Text Placeholder 11">
            <a:extLst>
              <a:ext uri="{FF2B5EF4-FFF2-40B4-BE49-F238E27FC236}">
                <a16:creationId xmlns:a16="http://schemas.microsoft.com/office/drawing/2014/main" id="{1EC23075-E7FF-1B4D-AA78-08BFE8A651A1}"/>
              </a:ext>
            </a:extLst>
          </p:cNvPr>
          <p:cNvSpPr>
            <a:spLocks noGrp="1"/>
          </p:cNvSpPr>
          <p:nvPr>
            <p:ph type="body" sz="quarter" idx="60" hasCustomPrompt="1"/>
          </p:nvPr>
        </p:nvSpPr>
        <p:spPr>
          <a:xfrm>
            <a:off x="6842126" y="3364631"/>
            <a:ext cx="1908663" cy="216769"/>
          </a:xfrm>
          <a:prstGeom prst="rect">
            <a:avLst/>
          </a:prstGeom>
        </p:spPr>
        <p:txBody>
          <a:bodyPr anchor="b" anchorCtr="0">
            <a:noAutofit/>
          </a:bodyPr>
          <a:lstStyle>
            <a:lvl1pPr marL="0" indent="0">
              <a:lnSpc>
                <a:spcPct val="100000"/>
              </a:lnSpc>
              <a:spcAft>
                <a:spcPts val="0"/>
              </a:spcAft>
              <a:buFontTx/>
              <a:buNone/>
              <a:tabLst/>
              <a:defRPr sz="1200" b="1" i="0">
                <a:latin typeface="Volvo Novum Medium" panose="020B0503040502060204" pitchFamily="34" charset="77"/>
              </a:defRPr>
            </a:lvl1pPr>
            <a:lvl2pPr marL="0" indent="0">
              <a:lnSpc>
                <a:spcPct val="100000"/>
              </a:lnSpc>
              <a:spcBef>
                <a:spcPts val="0"/>
              </a:spcBef>
              <a:spcAft>
                <a:spcPts val="0"/>
              </a:spcAft>
              <a:buFontTx/>
              <a:buNone/>
              <a:tabLst/>
              <a:defRPr sz="1200" b="0" i="0">
                <a:latin typeface="Volvo Novum Medium" panose="020B0503040502060204" pitchFamily="34" charset="77"/>
              </a:defRPr>
            </a:lvl2pPr>
            <a:lvl3pPr marL="0" indent="0">
              <a:lnSpc>
                <a:spcPct val="100000"/>
              </a:lnSpc>
              <a:spcAft>
                <a:spcPts val="0"/>
              </a:spcAft>
              <a:buFontTx/>
              <a:buNone/>
              <a:tabLst/>
              <a:defRPr sz="1200" b="0" i="0">
                <a:latin typeface="Volvo Novum Medium" panose="020B0503040502060204" pitchFamily="34" charset="77"/>
              </a:defRPr>
            </a:lvl3pPr>
            <a:lvl4pPr marL="0" indent="0">
              <a:lnSpc>
                <a:spcPct val="100000"/>
              </a:lnSpc>
              <a:spcAft>
                <a:spcPts val="0"/>
              </a:spcAft>
              <a:buFontTx/>
              <a:buNone/>
              <a:tabLst/>
              <a:defRPr sz="1200" b="0" i="0">
                <a:latin typeface="Volvo Novum Medium" panose="020B0503040502060204" pitchFamily="34" charset="77"/>
              </a:defRPr>
            </a:lvl4pPr>
            <a:lvl5pPr marL="0" indent="0">
              <a:lnSpc>
                <a:spcPct val="100000"/>
              </a:lnSpc>
              <a:spcAft>
                <a:spcPts val="0"/>
              </a:spcAft>
              <a:buFontTx/>
              <a:buNone/>
              <a:tabLst/>
              <a:defRPr sz="1200" b="0" i="0">
                <a:latin typeface="Volvo Novum Medium" panose="020B0503040502060204" pitchFamily="34" charset="77"/>
              </a:defRPr>
            </a:lvl5pPr>
            <a:lvl6pPr marL="0" indent="0">
              <a:lnSpc>
                <a:spcPct val="100000"/>
              </a:lnSpc>
              <a:spcAft>
                <a:spcPts val="0"/>
              </a:spcAft>
              <a:buFontTx/>
              <a:buNone/>
              <a:tabLst/>
              <a:defRPr sz="1200" b="0" i="0">
                <a:latin typeface="Volvo Novum Medium" panose="020B0503040502060204" pitchFamily="34" charset="77"/>
              </a:defRPr>
            </a:lvl6pPr>
            <a:lvl7pPr marL="0" indent="0">
              <a:spcAft>
                <a:spcPts val="0"/>
              </a:spcAft>
              <a:buFontTx/>
              <a:buNone/>
              <a:tabLst/>
              <a:defRPr sz="1200" b="0" i="0">
                <a:latin typeface="Volvo Novum Medium" panose="020B0503040502060204" pitchFamily="34" charset="77"/>
              </a:defRPr>
            </a:lvl7pPr>
            <a:lvl8pPr marL="0" indent="0">
              <a:spcAft>
                <a:spcPts val="0"/>
              </a:spcAft>
              <a:buFontTx/>
              <a:buNone/>
              <a:tabLst/>
              <a:defRPr sz="1200" b="0" i="0">
                <a:latin typeface="Volvo Novum Medium" panose="020B0503040502060204" pitchFamily="34" charset="77"/>
              </a:defRPr>
            </a:lvl8pPr>
            <a:lvl9pPr marL="0" indent="0">
              <a:spcAft>
                <a:spcPts val="0"/>
              </a:spcAft>
              <a:buFontTx/>
              <a:buNone/>
              <a:tabLst/>
              <a:defRPr sz="1200" b="0" i="0">
                <a:latin typeface="Volvo Novum Medium" panose="020B0503040502060204" pitchFamily="34" charset="77"/>
              </a:defRPr>
            </a:lvl9pPr>
          </a:lstStyle>
          <a:p>
            <a:pPr lvl="0"/>
            <a:r>
              <a:rPr lang="zh-CN" altLang="en-US" noProof="0" dirty="0"/>
              <a:t>点击添加子标题</a:t>
            </a:r>
            <a:endParaRPr lang="en-GB" noProof="0" dirty="0"/>
          </a:p>
        </p:txBody>
      </p:sp>
      <p:pic>
        <p:nvPicPr>
          <p:cNvPr id="23" name="Bildobjekt 7">
            <a:extLst>
              <a:ext uri="{FF2B5EF4-FFF2-40B4-BE49-F238E27FC236}">
                <a16:creationId xmlns:a16="http://schemas.microsoft.com/office/drawing/2014/main" id="{AE40AAA5-05DC-44A6-BA26-DEB87D025593}"/>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27" name="Title Placeholder 10">
            <a:extLst>
              <a:ext uri="{FF2B5EF4-FFF2-40B4-BE49-F238E27FC236}">
                <a16:creationId xmlns:a16="http://schemas.microsoft.com/office/drawing/2014/main" id="{D7C4EFBC-D363-4FA9-BD16-2A7A69813A47}"/>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a:lvl1pPr>
          </a:lstStyle>
          <a:p>
            <a:pPr algn="l"/>
            <a:r>
              <a:rPr lang="zh-CN" altLang="en-US"/>
              <a:t>圆形页面 </a:t>
            </a:r>
            <a:r>
              <a:rPr lang="en-US" altLang="zh-CN"/>
              <a:t>- </a:t>
            </a:r>
            <a:r>
              <a:rPr lang="zh-CN" altLang="en-US"/>
              <a:t>点击添加主题</a:t>
            </a:r>
            <a:endParaRPr lang="en-GB" noProof="0" dirty="0"/>
          </a:p>
        </p:txBody>
      </p:sp>
      <p:sp>
        <p:nvSpPr>
          <p:cNvPr id="33" name="Slide Number Placeholder 9">
            <a:extLst>
              <a:ext uri="{FF2B5EF4-FFF2-40B4-BE49-F238E27FC236}">
                <a16:creationId xmlns:a16="http://schemas.microsoft.com/office/drawing/2014/main" id="{F917DDE5-6BA4-46DA-8E4A-0BE6B1D83182}"/>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251440002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活动日程">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9BFD382F-A41A-B34C-BB97-339E7BF79F9B}"/>
              </a:ext>
            </a:extLst>
          </p:cNvPr>
          <p:cNvSpPr>
            <a:spLocks noGrp="1"/>
          </p:cNvSpPr>
          <p:nvPr>
            <p:ph type="body" sz="quarter" idx="24" hasCustomPrompt="1"/>
          </p:nvPr>
        </p:nvSpPr>
        <p:spPr>
          <a:xfrm>
            <a:off x="360363" y="3801161"/>
            <a:ext cx="8389938" cy="1004203"/>
          </a:xfrm>
        </p:spPr>
        <p:txBody>
          <a:bodyPr/>
          <a:lstStyle>
            <a:lvl1pPr>
              <a:defRPr/>
            </a:lvl1pPr>
            <a:lvl2pPr>
              <a:defRPr sz="1000"/>
            </a:lvl2pPr>
            <a:lvl3pPr>
              <a:defRPr/>
            </a:lvl3pPr>
            <a:lvl4pPr>
              <a:defRPr/>
            </a:lvl4pPr>
            <a:lvl5pPr>
              <a:defRPr/>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endParaRPr lang="en-GB" noProof="0" dirty="0"/>
          </a:p>
        </p:txBody>
      </p:sp>
      <p:sp>
        <p:nvSpPr>
          <p:cNvPr id="24" name="Text Placeholder 4">
            <a:extLst>
              <a:ext uri="{FF2B5EF4-FFF2-40B4-BE49-F238E27FC236}">
                <a16:creationId xmlns:a16="http://schemas.microsoft.com/office/drawing/2014/main" id="{D2A8C818-9D87-7544-8ED4-0ECA648E5D44}"/>
              </a:ext>
            </a:extLst>
          </p:cNvPr>
          <p:cNvSpPr>
            <a:spLocks noGrp="1"/>
          </p:cNvSpPr>
          <p:nvPr>
            <p:ph type="body" sz="quarter" idx="53" hasCustomPrompt="1"/>
          </p:nvPr>
        </p:nvSpPr>
        <p:spPr>
          <a:xfrm>
            <a:off x="360363" y="1347788"/>
            <a:ext cx="8390132" cy="282417"/>
          </a:xfrm>
        </p:spPr>
        <p:txBody>
          <a:bodyPr>
            <a:noAutofit/>
          </a:bodyPr>
          <a:lstStyle>
            <a:lvl1pPr marL="9524" indent="0" algn="l">
              <a:spcAft>
                <a:spcPts val="0"/>
              </a:spcAft>
              <a:buFontTx/>
              <a:buNone/>
              <a:tabLst/>
              <a:defRPr lang="en-GB" sz="1400" b="0" i="0" noProof="0" dirty="0" smtClean="0">
                <a:latin typeface="微软雅黑" panose="020B0503020204020204" pitchFamily="34" charset="-122"/>
              </a:defRPr>
            </a:lvl1pPr>
            <a:lvl2pPr marL="9524" indent="0" algn="l">
              <a:spcAft>
                <a:spcPts val="0"/>
              </a:spcAft>
              <a:buFontTx/>
              <a:buNone/>
              <a:tabLst/>
              <a:defRPr lang="en-GB" sz="1200" b="0" i="0" noProof="0" dirty="0" smtClean="0">
                <a:latin typeface="Volvo Novum Medium" panose="020B0503040502060204" pitchFamily="34" charset="77"/>
              </a:defRPr>
            </a:lvl2pPr>
            <a:lvl3pPr marL="9524" indent="0" algn="l">
              <a:spcAft>
                <a:spcPts val="0"/>
              </a:spcAft>
              <a:buFontTx/>
              <a:buNone/>
              <a:tabLst/>
              <a:defRPr lang="en-GB" sz="1200" b="0" i="0" noProof="0" dirty="0" smtClean="0">
                <a:latin typeface="Volvo Novum Medium" panose="020B0503040502060204" pitchFamily="34" charset="77"/>
              </a:defRPr>
            </a:lvl3pPr>
            <a:lvl4pPr marL="9524" indent="0" algn="l">
              <a:spcAft>
                <a:spcPts val="0"/>
              </a:spcAft>
              <a:buFontTx/>
              <a:buNone/>
              <a:tabLst/>
              <a:defRPr lang="en-GB" sz="1200" b="0" i="0" noProof="0" dirty="0" smtClean="0">
                <a:latin typeface="Volvo Novum Medium" panose="020B0503040502060204" pitchFamily="34" charset="77"/>
              </a:defRPr>
            </a:lvl4pPr>
            <a:lvl5pPr marL="9524" indent="0" algn="l">
              <a:spcAft>
                <a:spcPts val="0"/>
              </a:spcAft>
              <a:buFontTx/>
              <a:buNone/>
              <a:tabLst/>
              <a:defRPr lang="en-GB" sz="1200" b="0" i="0" noProof="0" dirty="0" smtClean="0">
                <a:latin typeface="Volvo Novum Medium" panose="020B0503040502060204" pitchFamily="34" charset="77"/>
              </a:defRPr>
            </a:lvl5pPr>
            <a:lvl6pPr marL="9524" indent="0" algn="l">
              <a:spcAft>
                <a:spcPts val="0"/>
              </a:spcAft>
              <a:buFontTx/>
              <a:buNone/>
              <a:tabLst/>
              <a:defRPr lang="en-GB" sz="1200" b="0" i="0" noProof="0" dirty="0" smtClean="0">
                <a:latin typeface="Volvo Novum Medium" panose="020B0503040502060204" pitchFamily="34" charset="77"/>
              </a:defRPr>
            </a:lvl6pPr>
            <a:lvl7pPr marL="7938" indent="0">
              <a:buFontTx/>
              <a:buNone/>
              <a:tabLst/>
              <a:defRPr sz="1200" b="0" i="0">
                <a:latin typeface="Volvo Novum Medium" panose="020B0503040502060204" pitchFamily="34" charset="77"/>
              </a:defRPr>
            </a:lvl7pPr>
            <a:lvl8pPr marL="9524" indent="0" algn="l">
              <a:spcAft>
                <a:spcPts val="0"/>
              </a:spcAft>
              <a:buFontTx/>
              <a:buNone/>
              <a:tabLst/>
              <a:defRPr lang="en-GB" sz="1200" b="0" i="0" noProof="0" dirty="0" smtClean="0">
                <a:latin typeface="Volvo Novum Medium" panose="020B0503040502060204" pitchFamily="34" charset="77"/>
              </a:defRPr>
            </a:lvl8pPr>
            <a:lvl9pPr marL="9524" indent="0" algn="l">
              <a:spcAft>
                <a:spcPts val="0"/>
              </a:spcAft>
              <a:buFontTx/>
              <a:buNone/>
              <a:tabLst/>
              <a:defRPr lang="en-GB" sz="1200" b="0" i="0" noProof="0" dirty="0">
                <a:latin typeface="Volvo Novum Medium" panose="020B0503040502060204" pitchFamily="34" charset="77"/>
              </a:defRPr>
            </a:lvl9pPr>
          </a:lstStyle>
          <a:p>
            <a:pPr lvl="0"/>
            <a:r>
              <a:rPr lang="ja-JP" altLang="en-GB" noProof="0" dirty="0"/>
              <a:t>点击</a:t>
            </a:r>
            <a:r>
              <a:rPr lang="ja-JP" altLang="en-US" noProof="0" dirty="0"/>
              <a:t>添加子标题</a:t>
            </a:r>
            <a:endParaRPr lang="en-GB" noProof="0" dirty="0"/>
          </a:p>
        </p:txBody>
      </p:sp>
      <p:sp>
        <p:nvSpPr>
          <p:cNvPr id="27" name="Text Placeholder 2">
            <a:extLst>
              <a:ext uri="{FF2B5EF4-FFF2-40B4-BE49-F238E27FC236}">
                <a16:creationId xmlns:a16="http://schemas.microsoft.com/office/drawing/2014/main" id="{35B3F9B5-77EB-7047-AA91-EFB02BCF3B1C}"/>
              </a:ext>
            </a:extLst>
          </p:cNvPr>
          <p:cNvSpPr>
            <a:spLocks noGrp="1"/>
          </p:cNvSpPr>
          <p:nvPr>
            <p:ph type="body" sz="quarter" idx="54" hasCustomPrompt="1"/>
          </p:nvPr>
        </p:nvSpPr>
        <p:spPr>
          <a:xfrm>
            <a:off x="360362" y="1744663"/>
            <a:ext cx="1909764" cy="215901"/>
          </a:xfrm>
          <a:solidFill>
            <a:schemeClr val="bg1">
              <a:lumMod val="95000"/>
            </a:schemeClr>
          </a:solidFill>
        </p:spPr>
        <p:txBody>
          <a:bodyPr lIns="108000" tIns="72000" rIns="108000" bIns="72000" anchor="ctr" anchorCtr="0">
            <a:noAutofit/>
          </a:bodyPr>
          <a:lstStyle>
            <a:lvl1pPr marL="7938" indent="0">
              <a:tabLst/>
              <a:defRPr sz="1200" b="1" i="0">
                <a:latin typeface="Volvo Novum Medium" panose="020B0503040502060204" pitchFamily="34" charset="77"/>
              </a:defRPr>
            </a:lvl1pPr>
            <a:lvl2pPr marL="9524" indent="0">
              <a:buFontTx/>
              <a:buNone/>
              <a:tabLst/>
              <a:defRPr sz="1200" b="0" i="0">
                <a:latin typeface="Volvo Novum Medium" panose="020B0503040502060204" pitchFamily="34" charset="77"/>
              </a:defRPr>
            </a:lvl2pPr>
            <a:lvl3pPr marL="9524" indent="0">
              <a:buFontTx/>
              <a:buNone/>
              <a:tabLst/>
              <a:defRPr sz="1200" b="0" i="0">
                <a:latin typeface="Volvo Novum Medium" panose="020B0503040502060204" pitchFamily="34" charset="77"/>
              </a:defRPr>
            </a:lvl3pPr>
            <a:lvl4pPr marL="9524" indent="0">
              <a:buFontTx/>
              <a:buNone/>
              <a:tabLst/>
              <a:defRPr sz="1200" b="0" i="0">
                <a:latin typeface="Volvo Novum Medium" panose="020B0503040502060204" pitchFamily="34" charset="77"/>
              </a:defRPr>
            </a:lvl4pPr>
            <a:lvl5pPr marL="9524" indent="0">
              <a:buFontTx/>
              <a:buNone/>
              <a:tabLst/>
              <a:defRPr sz="1200" b="0" i="0">
                <a:latin typeface="Volvo Novum Medium" panose="020B0503040502060204" pitchFamily="34" charset="77"/>
              </a:defRPr>
            </a:lvl5pPr>
            <a:lvl6pPr marL="9524" indent="0">
              <a:buFontTx/>
              <a:buNone/>
              <a:tabLst/>
              <a:defRPr sz="1200" b="0" i="0">
                <a:latin typeface="Volvo Novum Medium" panose="020B0503040502060204" pitchFamily="34" charset="77"/>
              </a:defRPr>
            </a:lvl6pPr>
            <a:lvl7pPr marL="7938" indent="0">
              <a:buFontTx/>
              <a:buNone/>
              <a:tabLst/>
              <a:defRPr sz="1200" b="0" i="0">
                <a:latin typeface="Volvo Novum Medium" panose="020B0503040502060204" pitchFamily="34" charset="77"/>
              </a:defRPr>
            </a:lvl7pPr>
            <a:lvl8pPr marL="9524" indent="0">
              <a:buFontTx/>
              <a:buNone/>
              <a:tabLst/>
              <a:defRPr sz="1200" b="0" i="0">
                <a:latin typeface="Volvo Novum Medium" panose="020B0503040502060204" pitchFamily="34" charset="77"/>
              </a:defRPr>
            </a:lvl8pPr>
            <a:lvl9pPr marL="9524" indent="0">
              <a:buFontTx/>
              <a:buNone/>
              <a:tabLst/>
              <a:defRPr sz="1200" b="0" i="0">
                <a:latin typeface="Volvo Novum Medium" panose="020B0503040502060204" pitchFamily="34" charset="77"/>
              </a:defRPr>
            </a:lvl9pPr>
          </a:lstStyle>
          <a:p>
            <a:pPr lvl="0"/>
            <a:r>
              <a:rPr lang="zh-CN" altLang="en-US" noProof="0" dirty="0"/>
              <a:t>点击添加内容文字</a:t>
            </a:r>
            <a:endParaRPr lang="en-GB" noProof="0" dirty="0"/>
          </a:p>
        </p:txBody>
      </p:sp>
      <p:sp>
        <p:nvSpPr>
          <p:cNvPr id="31" name="Text Placeholder 2">
            <a:extLst>
              <a:ext uri="{FF2B5EF4-FFF2-40B4-BE49-F238E27FC236}">
                <a16:creationId xmlns:a16="http://schemas.microsoft.com/office/drawing/2014/main" id="{83F71E83-123E-9440-96A0-34D038D66B79}"/>
              </a:ext>
            </a:extLst>
          </p:cNvPr>
          <p:cNvSpPr>
            <a:spLocks noGrp="1"/>
          </p:cNvSpPr>
          <p:nvPr>
            <p:ph type="body" sz="quarter" idx="55" hasCustomPrompt="1"/>
          </p:nvPr>
        </p:nvSpPr>
        <p:spPr>
          <a:xfrm>
            <a:off x="2519362" y="1743911"/>
            <a:ext cx="1909764" cy="216652"/>
          </a:xfrm>
          <a:solidFill>
            <a:schemeClr val="bg1">
              <a:lumMod val="95000"/>
            </a:schemeClr>
          </a:solidFill>
        </p:spPr>
        <p:txBody>
          <a:bodyPr lIns="108000" tIns="72000" rIns="108000" bIns="72000" anchor="ctr" anchorCtr="0">
            <a:noAutofit/>
          </a:bodyPr>
          <a:lstStyle>
            <a:lvl1pPr marL="7938" indent="0">
              <a:tabLst/>
              <a:defRPr sz="1200" b="1" i="0">
                <a:latin typeface="Volvo Novum Medium" panose="020B0503040502060204" pitchFamily="34" charset="77"/>
              </a:defRPr>
            </a:lvl1pPr>
            <a:lvl2pPr marL="9524" indent="0">
              <a:buFontTx/>
              <a:buNone/>
              <a:tabLst/>
              <a:defRPr sz="1200" b="0" i="0">
                <a:latin typeface="Volvo Novum Medium" panose="020B0503040502060204" pitchFamily="34" charset="77"/>
              </a:defRPr>
            </a:lvl2pPr>
            <a:lvl3pPr marL="9524" indent="0">
              <a:buFontTx/>
              <a:buNone/>
              <a:tabLst/>
              <a:defRPr sz="1200" b="0" i="0">
                <a:latin typeface="Volvo Novum Medium" panose="020B0503040502060204" pitchFamily="34" charset="77"/>
              </a:defRPr>
            </a:lvl3pPr>
            <a:lvl4pPr marL="9524" indent="0">
              <a:buFontTx/>
              <a:buNone/>
              <a:tabLst/>
              <a:defRPr sz="1200" b="0" i="0">
                <a:latin typeface="Volvo Novum Medium" panose="020B0503040502060204" pitchFamily="34" charset="77"/>
              </a:defRPr>
            </a:lvl4pPr>
            <a:lvl5pPr marL="9524" indent="0">
              <a:buFontTx/>
              <a:buNone/>
              <a:tabLst/>
              <a:defRPr sz="1200" b="0" i="0">
                <a:latin typeface="Volvo Novum Medium" panose="020B0503040502060204" pitchFamily="34" charset="77"/>
              </a:defRPr>
            </a:lvl5pPr>
            <a:lvl6pPr marL="9524" indent="0">
              <a:buFontTx/>
              <a:buNone/>
              <a:tabLst/>
              <a:defRPr sz="1200" b="0" i="0">
                <a:latin typeface="Volvo Novum Medium" panose="020B0503040502060204" pitchFamily="34" charset="77"/>
              </a:defRPr>
            </a:lvl6pPr>
            <a:lvl7pPr marL="7938" indent="0">
              <a:buFontTx/>
              <a:buNone/>
              <a:tabLst/>
              <a:defRPr sz="1200" b="0" i="0">
                <a:latin typeface="Volvo Novum Medium" panose="020B0503040502060204" pitchFamily="34" charset="77"/>
              </a:defRPr>
            </a:lvl7pPr>
            <a:lvl8pPr marL="9524" indent="0">
              <a:buFontTx/>
              <a:buNone/>
              <a:tabLst/>
              <a:defRPr sz="1200" b="0" i="0">
                <a:latin typeface="Volvo Novum Medium" panose="020B0503040502060204" pitchFamily="34" charset="77"/>
              </a:defRPr>
            </a:lvl8pPr>
            <a:lvl9pPr marL="9524" indent="0">
              <a:buFontTx/>
              <a:buNone/>
              <a:tabLst/>
              <a:defRPr sz="1200" b="0" i="0">
                <a:latin typeface="Volvo Novum Medium" panose="020B0503040502060204" pitchFamily="34" charset="77"/>
              </a:defRPr>
            </a:lvl9pPr>
          </a:lstStyle>
          <a:p>
            <a:pPr lvl="0"/>
            <a:r>
              <a:rPr lang="zh-CN" altLang="en-US" noProof="0"/>
              <a:t>点击添加内容文字</a:t>
            </a:r>
            <a:endParaRPr lang="en-GB" noProof="0" dirty="0"/>
          </a:p>
        </p:txBody>
      </p:sp>
      <p:sp>
        <p:nvSpPr>
          <p:cNvPr id="32" name="Text Placeholder 2">
            <a:extLst>
              <a:ext uri="{FF2B5EF4-FFF2-40B4-BE49-F238E27FC236}">
                <a16:creationId xmlns:a16="http://schemas.microsoft.com/office/drawing/2014/main" id="{9E5D12CF-24F5-C74A-B1A7-A45313D3FD89}"/>
              </a:ext>
            </a:extLst>
          </p:cNvPr>
          <p:cNvSpPr>
            <a:spLocks noGrp="1"/>
          </p:cNvSpPr>
          <p:nvPr>
            <p:ph type="body" sz="quarter" idx="56" hasCustomPrompt="1"/>
          </p:nvPr>
        </p:nvSpPr>
        <p:spPr>
          <a:xfrm>
            <a:off x="4681538" y="1743911"/>
            <a:ext cx="1908175" cy="216652"/>
          </a:xfrm>
          <a:solidFill>
            <a:schemeClr val="bg1">
              <a:lumMod val="95000"/>
            </a:schemeClr>
          </a:solidFill>
        </p:spPr>
        <p:txBody>
          <a:bodyPr lIns="108000" tIns="72000" rIns="108000" bIns="72000" anchor="ctr" anchorCtr="0">
            <a:noAutofit/>
          </a:bodyPr>
          <a:lstStyle>
            <a:lvl1pPr marL="7938" indent="0">
              <a:tabLst/>
              <a:defRPr sz="1200" b="1" i="0">
                <a:latin typeface="Volvo Novum Medium" panose="020B0503040502060204" pitchFamily="34" charset="77"/>
              </a:defRPr>
            </a:lvl1pPr>
            <a:lvl2pPr marL="9524" indent="0">
              <a:buFontTx/>
              <a:buNone/>
              <a:tabLst/>
              <a:defRPr sz="1200" b="0" i="0">
                <a:latin typeface="Volvo Novum Medium" panose="020B0503040502060204" pitchFamily="34" charset="77"/>
              </a:defRPr>
            </a:lvl2pPr>
            <a:lvl3pPr marL="9524" indent="0">
              <a:buFontTx/>
              <a:buNone/>
              <a:tabLst/>
              <a:defRPr sz="1200" b="0" i="0">
                <a:latin typeface="Volvo Novum Medium" panose="020B0503040502060204" pitchFamily="34" charset="77"/>
              </a:defRPr>
            </a:lvl3pPr>
            <a:lvl4pPr marL="9524" indent="0">
              <a:buFontTx/>
              <a:buNone/>
              <a:tabLst/>
              <a:defRPr sz="1200" b="0" i="0">
                <a:latin typeface="Volvo Novum Medium" panose="020B0503040502060204" pitchFamily="34" charset="77"/>
              </a:defRPr>
            </a:lvl4pPr>
            <a:lvl5pPr marL="9524" indent="0">
              <a:buFontTx/>
              <a:buNone/>
              <a:tabLst/>
              <a:defRPr sz="1200" b="0" i="0">
                <a:latin typeface="Volvo Novum Medium" panose="020B0503040502060204" pitchFamily="34" charset="77"/>
              </a:defRPr>
            </a:lvl5pPr>
            <a:lvl6pPr marL="9524" indent="0">
              <a:buFontTx/>
              <a:buNone/>
              <a:tabLst/>
              <a:defRPr sz="1200" b="0" i="0">
                <a:latin typeface="Volvo Novum Medium" panose="020B0503040502060204" pitchFamily="34" charset="77"/>
              </a:defRPr>
            </a:lvl6pPr>
            <a:lvl7pPr marL="7938" indent="0">
              <a:buFontTx/>
              <a:buNone/>
              <a:tabLst/>
              <a:defRPr sz="1200" b="0" i="0">
                <a:latin typeface="Volvo Novum Medium" panose="020B0503040502060204" pitchFamily="34" charset="77"/>
              </a:defRPr>
            </a:lvl7pPr>
            <a:lvl8pPr marL="9524" indent="0">
              <a:buFontTx/>
              <a:buNone/>
              <a:tabLst/>
              <a:defRPr sz="1200" b="0" i="0">
                <a:latin typeface="Volvo Novum Medium" panose="020B0503040502060204" pitchFamily="34" charset="77"/>
              </a:defRPr>
            </a:lvl8pPr>
            <a:lvl9pPr marL="9524" indent="0">
              <a:buFontTx/>
              <a:buNone/>
              <a:tabLst/>
              <a:defRPr sz="1200" b="0" i="0">
                <a:latin typeface="Volvo Novum Medium" panose="020B0503040502060204" pitchFamily="34" charset="77"/>
              </a:defRPr>
            </a:lvl9pPr>
          </a:lstStyle>
          <a:p>
            <a:pPr lvl="0"/>
            <a:r>
              <a:rPr lang="zh-CN" altLang="en-US" noProof="0"/>
              <a:t>点击添加内容文字</a:t>
            </a:r>
            <a:endParaRPr lang="en-GB" noProof="0" dirty="0"/>
          </a:p>
        </p:txBody>
      </p:sp>
      <p:sp>
        <p:nvSpPr>
          <p:cNvPr id="33" name="Text Placeholder 2">
            <a:extLst>
              <a:ext uri="{FF2B5EF4-FFF2-40B4-BE49-F238E27FC236}">
                <a16:creationId xmlns:a16="http://schemas.microsoft.com/office/drawing/2014/main" id="{29EBE9AD-20F9-6043-B225-391EDCAD5595}"/>
              </a:ext>
            </a:extLst>
          </p:cNvPr>
          <p:cNvSpPr>
            <a:spLocks noGrp="1"/>
          </p:cNvSpPr>
          <p:nvPr>
            <p:ph type="body" sz="quarter" idx="57" hasCustomPrompt="1"/>
          </p:nvPr>
        </p:nvSpPr>
        <p:spPr>
          <a:xfrm>
            <a:off x="6846418" y="1743911"/>
            <a:ext cx="1903883" cy="215901"/>
          </a:xfrm>
          <a:solidFill>
            <a:schemeClr val="bg1">
              <a:lumMod val="95000"/>
            </a:schemeClr>
          </a:solidFill>
        </p:spPr>
        <p:txBody>
          <a:bodyPr lIns="108000" tIns="72000" rIns="108000" bIns="72000" anchor="ctr" anchorCtr="0">
            <a:noAutofit/>
          </a:bodyPr>
          <a:lstStyle>
            <a:lvl1pPr marL="7938" indent="0">
              <a:tabLst/>
              <a:defRPr sz="1200" b="1" i="0">
                <a:latin typeface="Volvo Novum Medium" panose="020B0503040502060204" pitchFamily="34" charset="77"/>
              </a:defRPr>
            </a:lvl1pPr>
            <a:lvl2pPr marL="9524" indent="0">
              <a:buFontTx/>
              <a:buNone/>
              <a:tabLst/>
              <a:defRPr sz="1200" b="0" i="0">
                <a:latin typeface="Volvo Novum Medium" panose="020B0503040502060204" pitchFamily="34" charset="77"/>
              </a:defRPr>
            </a:lvl2pPr>
            <a:lvl3pPr marL="9524" indent="0">
              <a:buFontTx/>
              <a:buNone/>
              <a:tabLst/>
              <a:defRPr sz="1200" b="0" i="0">
                <a:latin typeface="Volvo Novum Medium" panose="020B0503040502060204" pitchFamily="34" charset="77"/>
              </a:defRPr>
            </a:lvl3pPr>
            <a:lvl4pPr marL="9524" indent="0">
              <a:buFontTx/>
              <a:buNone/>
              <a:tabLst/>
              <a:defRPr sz="1200" b="0" i="0">
                <a:latin typeface="Volvo Novum Medium" panose="020B0503040502060204" pitchFamily="34" charset="77"/>
              </a:defRPr>
            </a:lvl4pPr>
            <a:lvl5pPr marL="9524" indent="0">
              <a:buFontTx/>
              <a:buNone/>
              <a:tabLst/>
              <a:defRPr sz="1200" b="0" i="0">
                <a:latin typeface="Volvo Novum Medium" panose="020B0503040502060204" pitchFamily="34" charset="77"/>
              </a:defRPr>
            </a:lvl5pPr>
            <a:lvl6pPr marL="9524" indent="0">
              <a:buFontTx/>
              <a:buNone/>
              <a:tabLst/>
              <a:defRPr sz="1200" b="0" i="0">
                <a:latin typeface="Volvo Novum Medium" panose="020B0503040502060204" pitchFamily="34" charset="77"/>
              </a:defRPr>
            </a:lvl6pPr>
            <a:lvl7pPr marL="7938" indent="0">
              <a:buFontTx/>
              <a:buNone/>
              <a:tabLst/>
              <a:defRPr sz="1200" b="0" i="0">
                <a:latin typeface="Volvo Novum Medium" panose="020B0503040502060204" pitchFamily="34" charset="77"/>
              </a:defRPr>
            </a:lvl7pPr>
            <a:lvl8pPr marL="9524" indent="0">
              <a:buFontTx/>
              <a:buNone/>
              <a:tabLst/>
              <a:defRPr sz="1200" b="0" i="0">
                <a:latin typeface="Volvo Novum Medium" panose="020B0503040502060204" pitchFamily="34" charset="77"/>
              </a:defRPr>
            </a:lvl8pPr>
            <a:lvl9pPr marL="9524" indent="0">
              <a:buFontTx/>
              <a:buNone/>
              <a:tabLst/>
              <a:defRPr sz="1200" b="0" i="0">
                <a:latin typeface="Volvo Novum Medium" panose="020B0503040502060204" pitchFamily="34" charset="77"/>
              </a:defRPr>
            </a:lvl9pPr>
          </a:lstStyle>
          <a:p>
            <a:pPr lvl="0"/>
            <a:r>
              <a:rPr lang="zh-CN" altLang="en-US" noProof="0"/>
              <a:t>点击添加内容文字</a:t>
            </a:r>
            <a:endParaRPr lang="en-GB" noProof="0" dirty="0"/>
          </a:p>
        </p:txBody>
      </p:sp>
      <p:sp>
        <p:nvSpPr>
          <p:cNvPr id="26" name="Text Placeholder 2">
            <a:extLst>
              <a:ext uri="{FF2B5EF4-FFF2-40B4-BE49-F238E27FC236}">
                <a16:creationId xmlns:a16="http://schemas.microsoft.com/office/drawing/2014/main" id="{1990BFC4-6957-7947-8D7E-B0A3F4283359}"/>
              </a:ext>
            </a:extLst>
          </p:cNvPr>
          <p:cNvSpPr>
            <a:spLocks noGrp="1"/>
          </p:cNvSpPr>
          <p:nvPr>
            <p:ph type="body" sz="quarter" idx="36" hasCustomPrompt="1"/>
          </p:nvPr>
        </p:nvSpPr>
        <p:spPr>
          <a:xfrm>
            <a:off x="360363" y="1960564"/>
            <a:ext cx="1909762" cy="1620837"/>
          </a:xfrm>
          <a:solidFill>
            <a:schemeClr val="bg1">
              <a:lumMod val="95000"/>
            </a:schemeClr>
          </a:solidFill>
        </p:spPr>
        <p:txBody>
          <a:bodyPr lIns="108000" tIns="72000" rIns="108000" bIns="72000">
            <a:normAutofit/>
          </a:bodyPr>
          <a:lstStyle>
            <a:lvl1pPr>
              <a:defRPr sz="1000"/>
            </a:lvl1pPr>
            <a:lvl2pPr>
              <a:defRPr sz="1000"/>
            </a:lvl2pPr>
            <a:lvl3pPr>
              <a:defRPr sz="800"/>
            </a:lvl3pPr>
            <a:lvl4pPr>
              <a:defRPr/>
            </a:lvl4pPr>
            <a:lvl5pPr>
              <a:defRPr/>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p>
          <a:p>
            <a:pPr lvl="2"/>
            <a:r>
              <a:rPr lang="ja-JP" altLang="en-GB" noProof="0"/>
              <a:t>第二项</a:t>
            </a:r>
            <a:r>
              <a:rPr lang="ja-JP" altLang="en-US" noProof="0"/>
              <a:t>要点</a:t>
            </a:r>
            <a:endParaRPr lang="en-GB" noProof="0" dirty="0"/>
          </a:p>
        </p:txBody>
      </p:sp>
      <p:sp>
        <p:nvSpPr>
          <p:cNvPr id="44" name="Text Placeholder 2">
            <a:extLst>
              <a:ext uri="{FF2B5EF4-FFF2-40B4-BE49-F238E27FC236}">
                <a16:creationId xmlns:a16="http://schemas.microsoft.com/office/drawing/2014/main" id="{2B2518BB-6916-BA44-88AA-6EDC09A9BB1C}"/>
              </a:ext>
            </a:extLst>
          </p:cNvPr>
          <p:cNvSpPr>
            <a:spLocks noGrp="1"/>
          </p:cNvSpPr>
          <p:nvPr>
            <p:ph type="body" sz="quarter" idx="50" hasCustomPrompt="1"/>
          </p:nvPr>
        </p:nvSpPr>
        <p:spPr>
          <a:xfrm>
            <a:off x="2520950" y="1959813"/>
            <a:ext cx="1908176" cy="1620836"/>
          </a:xfrm>
          <a:solidFill>
            <a:schemeClr val="bg1">
              <a:lumMod val="95000"/>
            </a:schemeClr>
          </a:solidFill>
        </p:spPr>
        <p:txBody>
          <a:bodyPr lIns="108000" tIns="72000" rIns="108000" bIns="72000">
            <a:normAutofit/>
          </a:bodyPr>
          <a:lstStyle>
            <a:lvl1pPr>
              <a:defRPr sz="1000"/>
            </a:lvl1pPr>
            <a:lvl2pPr>
              <a:defRPr sz="1000"/>
            </a:lvl2pPr>
            <a:lvl3pPr>
              <a:defRPr sz="800"/>
            </a:lvl3pPr>
            <a:lvl4pPr>
              <a:defRPr/>
            </a:lvl4pPr>
            <a:lvl5pPr>
              <a:defRPr/>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p>
          <a:p>
            <a:pPr lvl="2"/>
            <a:r>
              <a:rPr lang="ja-JP" altLang="en-GB" noProof="0"/>
              <a:t>第二项</a:t>
            </a:r>
            <a:r>
              <a:rPr lang="ja-JP" altLang="en-US" noProof="0"/>
              <a:t>要点</a:t>
            </a:r>
            <a:endParaRPr lang="en-GB" noProof="0" dirty="0"/>
          </a:p>
        </p:txBody>
      </p:sp>
      <p:sp>
        <p:nvSpPr>
          <p:cNvPr id="45" name="Text Placeholder 2">
            <a:extLst>
              <a:ext uri="{FF2B5EF4-FFF2-40B4-BE49-F238E27FC236}">
                <a16:creationId xmlns:a16="http://schemas.microsoft.com/office/drawing/2014/main" id="{D6B19F0B-224A-C74A-9817-B665A0CD30C4}"/>
              </a:ext>
            </a:extLst>
          </p:cNvPr>
          <p:cNvSpPr>
            <a:spLocks noGrp="1"/>
          </p:cNvSpPr>
          <p:nvPr>
            <p:ph type="body" sz="quarter" idx="51" hasCustomPrompt="1"/>
          </p:nvPr>
        </p:nvSpPr>
        <p:spPr>
          <a:xfrm>
            <a:off x="4681600" y="1959813"/>
            <a:ext cx="1908113" cy="1620836"/>
          </a:xfrm>
          <a:solidFill>
            <a:schemeClr val="bg1">
              <a:lumMod val="95000"/>
            </a:schemeClr>
          </a:solidFill>
        </p:spPr>
        <p:txBody>
          <a:bodyPr lIns="108000" tIns="72000" rIns="108000" bIns="72000">
            <a:normAutofit/>
          </a:bodyPr>
          <a:lstStyle>
            <a:lvl1pPr>
              <a:defRPr sz="1000"/>
            </a:lvl1pPr>
            <a:lvl2pPr>
              <a:defRPr sz="1000"/>
            </a:lvl2pPr>
            <a:lvl3pPr>
              <a:defRPr sz="800"/>
            </a:lvl3pPr>
            <a:lvl4pPr>
              <a:defRPr/>
            </a:lvl4pPr>
            <a:lvl5pPr>
              <a:defRPr/>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p>
          <a:p>
            <a:pPr lvl="2"/>
            <a:r>
              <a:rPr lang="ja-JP" altLang="en-GB" noProof="0"/>
              <a:t>第二项</a:t>
            </a:r>
            <a:r>
              <a:rPr lang="ja-JP" altLang="en-US" noProof="0"/>
              <a:t>要点</a:t>
            </a:r>
            <a:endParaRPr lang="en-GB" noProof="0" dirty="0"/>
          </a:p>
        </p:txBody>
      </p:sp>
      <p:sp>
        <p:nvSpPr>
          <p:cNvPr id="46" name="Text Placeholder 2">
            <a:extLst>
              <a:ext uri="{FF2B5EF4-FFF2-40B4-BE49-F238E27FC236}">
                <a16:creationId xmlns:a16="http://schemas.microsoft.com/office/drawing/2014/main" id="{8A6381F8-56A2-F84B-820B-E8A168D07B42}"/>
              </a:ext>
            </a:extLst>
          </p:cNvPr>
          <p:cNvSpPr>
            <a:spLocks noGrp="1"/>
          </p:cNvSpPr>
          <p:nvPr>
            <p:ph type="body" sz="quarter" idx="52" hasCustomPrompt="1"/>
          </p:nvPr>
        </p:nvSpPr>
        <p:spPr>
          <a:xfrm>
            <a:off x="6842126" y="1960564"/>
            <a:ext cx="1908175" cy="1620836"/>
          </a:xfrm>
          <a:solidFill>
            <a:schemeClr val="bg1">
              <a:lumMod val="95000"/>
            </a:schemeClr>
          </a:solidFill>
        </p:spPr>
        <p:txBody>
          <a:bodyPr lIns="108000" tIns="72000" rIns="108000" bIns="72000">
            <a:normAutofit/>
          </a:bodyPr>
          <a:lstStyle>
            <a:lvl1pPr>
              <a:defRPr sz="1000"/>
            </a:lvl1pPr>
            <a:lvl2pPr>
              <a:defRPr sz="1000"/>
            </a:lvl2pPr>
            <a:lvl3pPr>
              <a:defRPr sz="800"/>
            </a:lvl3pPr>
            <a:lvl4pPr>
              <a:defRPr/>
            </a:lvl4pPr>
            <a:lvl5pPr>
              <a:defRPr/>
            </a:lvl5pPr>
            <a:lvl6pPr>
              <a:defRPr/>
            </a:lvl6pPr>
            <a:lvl7pPr>
              <a:defRPr/>
            </a:lvl7pPr>
            <a:lvl8pPr>
              <a:defRPr/>
            </a:lvl8pPr>
            <a:lvl9pPr>
              <a:defRPr/>
            </a:lvl9pPr>
          </a:lstStyle>
          <a:p>
            <a:pPr lvl="0"/>
            <a:r>
              <a:rPr lang="ja-JP" altLang="en-GB" noProof="0"/>
              <a:t>点击</a:t>
            </a:r>
            <a:r>
              <a:rPr lang="ja-JP" altLang="en-US" noProof="0"/>
              <a:t>添加内容文字</a:t>
            </a:r>
            <a:endParaRPr lang="en-GB" noProof="0" dirty="0"/>
          </a:p>
          <a:p>
            <a:pPr lvl="1"/>
            <a:r>
              <a:rPr lang="ja-JP" altLang="en-GB" noProof="0"/>
              <a:t>第一</a:t>
            </a:r>
            <a:r>
              <a:rPr lang="ja-JP" altLang="en-US" noProof="0"/>
              <a:t>项要点</a:t>
            </a:r>
          </a:p>
          <a:p>
            <a:pPr lvl="2"/>
            <a:r>
              <a:rPr lang="ja-JP" altLang="en-GB" noProof="0"/>
              <a:t>第二项</a:t>
            </a:r>
            <a:r>
              <a:rPr lang="ja-JP" altLang="en-US" noProof="0"/>
              <a:t>要点</a:t>
            </a:r>
            <a:endParaRPr lang="en-GB" noProof="0" dirty="0"/>
          </a:p>
        </p:txBody>
      </p:sp>
      <p:pic>
        <p:nvPicPr>
          <p:cNvPr id="18" name="Bildobjekt 7">
            <a:extLst>
              <a:ext uri="{FF2B5EF4-FFF2-40B4-BE49-F238E27FC236}">
                <a16:creationId xmlns:a16="http://schemas.microsoft.com/office/drawing/2014/main" id="{72CD1028-1FD9-4064-8C9B-2077B3AC4C4D}"/>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7" name="Title Placeholder 10">
            <a:extLst>
              <a:ext uri="{FF2B5EF4-FFF2-40B4-BE49-F238E27FC236}">
                <a16:creationId xmlns:a16="http://schemas.microsoft.com/office/drawing/2014/main" id="{5C6CBD6B-0C17-4A06-8D6F-6F3CB3CCD37D}"/>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a:lvl1pPr>
          </a:lstStyle>
          <a:p>
            <a:pPr algn="l"/>
            <a:r>
              <a:rPr lang="zh-CN" altLang="en-US" dirty="0"/>
              <a:t>活动日程页面 </a:t>
            </a:r>
            <a:r>
              <a:rPr lang="en-US" altLang="zh-CN" dirty="0"/>
              <a:t>- </a:t>
            </a:r>
            <a:r>
              <a:rPr lang="zh-CN" altLang="en-US" dirty="0"/>
              <a:t>点击添加主题</a:t>
            </a:r>
            <a:endParaRPr lang="en-GB" noProof="0" dirty="0"/>
          </a:p>
        </p:txBody>
      </p:sp>
      <p:sp>
        <p:nvSpPr>
          <p:cNvPr id="28" name="Slide Number Placeholder 9">
            <a:extLst>
              <a:ext uri="{FF2B5EF4-FFF2-40B4-BE49-F238E27FC236}">
                <a16:creationId xmlns:a16="http://schemas.microsoft.com/office/drawing/2014/main" id="{95DFED75-E487-46D1-8828-B603EB5976B0}"/>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17670339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时间线">
    <p:spTree>
      <p:nvGrpSpPr>
        <p:cNvPr id="1" name=""/>
        <p:cNvGrpSpPr/>
        <p:nvPr/>
      </p:nvGrpSpPr>
      <p:grpSpPr>
        <a:xfrm>
          <a:off x="0" y="0"/>
          <a:ext cx="0" cy="0"/>
          <a:chOff x="0" y="0"/>
          <a:chExt cx="0" cy="0"/>
        </a:xfrm>
      </p:grpSpPr>
      <p:cxnSp>
        <p:nvCxnSpPr>
          <p:cNvPr id="27" name="Rak 5">
            <a:extLst>
              <a:ext uri="{FF2B5EF4-FFF2-40B4-BE49-F238E27FC236}">
                <a16:creationId xmlns:a16="http://schemas.microsoft.com/office/drawing/2014/main" id="{E19B146C-0941-3647-AD74-C44D26855374}"/>
              </a:ext>
            </a:extLst>
          </p:cNvPr>
          <p:cNvCxnSpPr>
            <a:cxnSpLocks/>
          </p:cNvCxnSpPr>
          <p:nvPr userDrawn="1"/>
        </p:nvCxnSpPr>
        <p:spPr>
          <a:xfrm>
            <a:off x="2991327"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Rak 5">
            <a:extLst>
              <a:ext uri="{FF2B5EF4-FFF2-40B4-BE49-F238E27FC236}">
                <a16:creationId xmlns:a16="http://schemas.microsoft.com/office/drawing/2014/main" id="{E21D9437-0F21-9F40-88A5-CEAD6335C22E}"/>
              </a:ext>
            </a:extLst>
          </p:cNvPr>
          <p:cNvCxnSpPr>
            <a:cxnSpLocks/>
          </p:cNvCxnSpPr>
          <p:nvPr userDrawn="1"/>
        </p:nvCxnSpPr>
        <p:spPr>
          <a:xfrm>
            <a:off x="3471221"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Rak 5">
            <a:extLst>
              <a:ext uri="{FF2B5EF4-FFF2-40B4-BE49-F238E27FC236}">
                <a16:creationId xmlns:a16="http://schemas.microsoft.com/office/drawing/2014/main" id="{C6296EE9-6D79-5041-8FFB-F6BF5AE68B43}"/>
              </a:ext>
            </a:extLst>
          </p:cNvPr>
          <p:cNvCxnSpPr>
            <a:cxnSpLocks/>
          </p:cNvCxnSpPr>
          <p:nvPr userDrawn="1"/>
        </p:nvCxnSpPr>
        <p:spPr>
          <a:xfrm>
            <a:off x="3951115"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Rak 5">
            <a:extLst>
              <a:ext uri="{FF2B5EF4-FFF2-40B4-BE49-F238E27FC236}">
                <a16:creationId xmlns:a16="http://schemas.microsoft.com/office/drawing/2014/main" id="{20DBCA33-B290-364E-97A6-F5E21BF9EB53}"/>
              </a:ext>
            </a:extLst>
          </p:cNvPr>
          <p:cNvCxnSpPr>
            <a:cxnSpLocks/>
          </p:cNvCxnSpPr>
          <p:nvPr userDrawn="1"/>
        </p:nvCxnSpPr>
        <p:spPr>
          <a:xfrm>
            <a:off x="4431009"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Rak 5">
            <a:extLst>
              <a:ext uri="{FF2B5EF4-FFF2-40B4-BE49-F238E27FC236}">
                <a16:creationId xmlns:a16="http://schemas.microsoft.com/office/drawing/2014/main" id="{1BEC6A49-6F23-7E43-9BD1-8D1C00FBDDA3}"/>
              </a:ext>
            </a:extLst>
          </p:cNvPr>
          <p:cNvCxnSpPr>
            <a:cxnSpLocks/>
          </p:cNvCxnSpPr>
          <p:nvPr userDrawn="1"/>
        </p:nvCxnSpPr>
        <p:spPr>
          <a:xfrm>
            <a:off x="4910903"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Rak 5">
            <a:extLst>
              <a:ext uri="{FF2B5EF4-FFF2-40B4-BE49-F238E27FC236}">
                <a16:creationId xmlns:a16="http://schemas.microsoft.com/office/drawing/2014/main" id="{8460CCF8-F179-144C-A211-519F49BF42F6}"/>
              </a:ext>
            </a:extLst>
          </p:cNvPr>
          <p:cNvCxnSpPr>
            <a:cxnSpLocks/>
          </p:cNvCxnSpPr>
          <p:nvPr userDrawn="1"/>
        </p:nvCxnSpPr>
        <p:spPr>
          <a:xfrm>
            <a:off x="5390797"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Rak 5">
            <a:extLst>
              <a:ext uri="{FF2B5EF4-FFF2-40B4-BE49-F238E27FC236}">
                <a16:creationId xmlns:a16="http://schemas.microsoft.com/office/drawing/2014/main" id="{A1C5FCF5-51B0-BD4D-B1DB-6FDD2867FA10}"/>
              </a:ext>
            </a:extLst>
          </p:cNvPr>
          <p:cNvCxnSpPr>
            <a:cxnSpLocks/>
          </p:cNvCxnSpPr>
          <p:nvPr userDrawn="1"/>
        </p:nvCxnSpPr>
        <p:spPr>
          <a:xfrm>
            <a:off x="5870691"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Rak 5">
            <a:extLst>
              <a:ext uri="{FF2B5EF4-FFF2-40B4-BE49-F238E27FC236}">
                <a16:creationId xmlns:a16="http://schemas.microsoft.com/office/drawing/2014/main" id="{755B33C8-5C72-264E-8D09-2F7113EE6CDD}"/>
              </a:ext>
            </a:extLst>
          </p:cNvPr>
          <p:cNvCxnSpPr>
            <a:cxnSpLocks/>
          </p:cNvCxnSpPr>
          <p:nvPr userDrawn="1"/>
        </p:nvCxnSpPr>
        <p:spPr>
          <a:xfrm>
            <a:off x="6350585"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Rak 5">
            <a:extLst>
              <a:ext uri="{FF2B5EF4-FFF2-40B4-BE49-F238E27FC236}">
                <a16:creationId xmlns:a16="http://schemas.microsoft.com/office/drawing/2014/main" id="{531236E0-6B36-484D-9D8A-842EF464BE68}"/>
              </a:ext>
            </a:extLst>
          </p:cNvPr>
          <p:cNvCxnSpPr>
            <a:cxnSpLocks/>
          </p:cNvCxnSpPr>
          <p:nvPr userDrawn="1"/>
        </p:nvCxnSpPr>
        <p:spPr>
          <a:xfrm>
            <a:off x="6830479"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Rak 5">
            <a:extLst>
              <a:ext uri="{FF2B5EF4-FFF2-40B4-BE49-F238E27FC236}">
                <a16:creationId xmlns:a16="http://schemas.microsoft.com/office/drawing/2014/main" id="{5EFD583F-7B66-5847-B632-E6971FB6467B}"/>
              </a:ext>
            </a:extLst>
          </p:cNvPr>
          <p:cNvCxnSpPr>
            <a:cxnSpLocks/>
          </p:cNvCxnSpPr>
          <p:nvPr userDrawn="1"/>
        </p:nvCxnSpPr>
        <p:spPr>
          <a:xfrm>
            <a:off x="7310373"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Rak 5">
            <a:extLst>
              <a:ext uri="{FF2B5EF4-FFF2-40B4-BE49-F238E27FC236}">
                <a16:creationId xmlns:a16="http://schemas.microsoft.com/office/drawing/2014/main" id="{2B6FC392-3B05-094A-AAF7-AFEF0BE4F1F6}"/>
              </a:ext>
            </a:extLst>
          </p:cNvPr>
          <p:cNvCxnSpPr>
            <a:cxnSpLocks/>
          </p:cNvCxnSpPr>
          <p:nvPr userDrawn="1"/>
        </p:nvCxnSpPr>
        <p:spPr>
          <a:xfrm>
            <a:off x="7790267"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Rak 5">
            <a:extLst>
              <a:ext uri="{FF2B5EF4-FFF2-40B4-BE49-F238E27FC236}">
                <a16:creationId xmlns:a16="http://schemas.microsoft.com/office/drawing/2014/main" id="{E5B85A63-DA07-8841-86C0-489087524226}"/>
              </a:ext>
            </a:extLst>
          </p:cNvPr>
          <p:cNvCxnSpPr>
            <a:cxnSpLocks/>
          </p:cNvCxnSpPr>
          <p:nvPr userDrawn="1"/>
        </p:nvCxnSpPr>
        <p:spPr>
          <a:xfrm>
            <a:off x="8270161"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7" name="Rak 5">
            <a:extLst>
              <a:ext uri="{FF2B5EF4-FFF2-40B4-BE49-F238E27FC236}">
                <a16:creationId xmlns:a16="http://schemas.microsoft.com/office/drawing/2014/main" id="{7B958941-D087-0449-8004-2CDAF913A2EF}"/>
              </a:ext>
            </a:extLst>
          </p:cNvPr>
          <p:cNvCxnSpPr>
            <a:cxnSpLocks/>
          </p:cNvCxnSpPr>
          <p:nvPr userDrawn="1"/>
        </p:nvCxnSpPr>
        <p:spPr>
          <a:xfrm>
            <a:off x="8750051" y="1726120"/>
            <a:ext cx="0" cy="3079241"/>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4AE1E9E-CD17-BC41-93BF-8BF55491FE5A}"/>
              </a:ext>
            </a:extLst>
          </p:cNvPr>
          <p:cNvCxnSpPr>
            <a:cxnSpLocks/>
          </p:cNvCxnSpPr>
          <p:nvPr userDrawn="1"/>
        </p:nvCxnSpPr>
        <p:spPr>
          <a:xfrm>
            <a:off x="360363" y="1636440"/>
            <a:ext cx="8464938" cy="0"/>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1" name="Text Placeholder 25">
            <a:extLst>
              <a:ext uri="{FF2B5EF4-FFF2-40B4-BE49-F238E27FC236}">
                <a16:creationId xmlns:a16="http://schemas.microsoft.com/office/drawing/2014/main" id="{2ABE6EFD-E1FD-634F-83BE-A92F412D92E9}"/>
              </a:ext>
            </a:extLst>
          </p:cNvPr>
          <p:cNvSpPr>
            <a:spLocks noGrp="1"/>
          </p:cNvSpPr>
          <p:nvPr userDrawn="1">
            <p:ph type="body" sz="quarter" idx="30" hasCustomPrompt="1"/>
          </p:nvPr>
        </p:nvSpPr>
        <p:spPr>
          <a:xfrm>
            <a:off x="2991328" y="2152513"/>
            <a:ext cx="2364830" cy="216000"/>
          </a:xfrm>
          <a:prstGeom prst="rect">
            <a:avLst/>
          </a:prstGeom>
          <a:solidFill>
            <a:schemeClr val="accent1"/>
          </a:solidFill>
        </p:spPr>
        <p:txBody>
          <a:bodyPr anchor="ctr" anchorCtr="0">
            <a:noAutofit/>
          </a:bodyPr>
          <a:lstStyle>
            <a:lvl1pPr algn="ctr">
              <a:defRPr sz="600" b="0" i="0">
                <a:solidFill>
                  <a:schemeClr val="bg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33" name="Text Placeholder 25">
            <a:extLst>
              <a:ext uri="{FF2B5EF4-FFF2-40B4-BE49-F238E27FC236}">
                <a16:creationId xmlns:a16="http://schemas.microsoft.com/office/drawing/2014/main" id="{A52D22D8-6F70-DE4A-8D85-761A1B01B20B}"/>
              </a:ext>
            </a:extLst>
          </p:cNvPr>
          <p:cNvSpPr>
            <a:spLocks noGrp="1"/>
          </p:cNvSpPr>
          <p:nvPr userDrawn="1">
            <p:ph type="body" sz="quarter" idx="32" hasCustomPrompt="1"/>
          </p:nvPr>
        </p:nvSpPr>
        <p:spPr>
          <a:xfrm>
            <a:off x="2991327" y="2560464"/>
            <a:ext cx="1117501" cy="216000"/>
          </a:xfrm>
          <a:prstGeom prst="rect">
            <a:avLst/>
          </a:prstGeom>
          <a:solidFill>
            <a:schemeClr val="accent3"/>
          </a:solidFill>
        </p:spPr>
        <p:txBody>
          <a:bodyPr anchor="ctr" anchorCtr="0">
            <a:noAutofit/>
          </a:bodyPr>
          <a:lstStyle>
            <a:lvl1pPr algn="ctr">
              <a:defRPr sz="600" b="0" i="0">
                <a:solidFill>
                  <a:schemeClr val="bg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26" name="Text Placeholder 25">
            <a:extLst>
              <a:ext uri="{FF2B5EF4-FFF2-40B4-BE49-F238E27FC236}">
                <a16:creationId xmlns:a16="http://schemas.microsoft.com/office/drawing/2014/main" id="{5E58CB74-6ABE-BD4E-813C-80D2DE9AB8BA}"/>
              </a:ext>
            </a:extLst>
          </p:cNvPr>
          <p:cNvSpPr>
            <a:spLocks noGrp="1"/>
          </p:cNvSpPr>
          <p:nvPr userDrawn="1">
            <p:ph type="body" sz="quarter" idx="27" hasCustomPrompt="1"/>
          </p:nvPr>
        </p:nvSpPr>
        <p:spPr>
          <a:xfrm>
            <a:off x="360363" y="1744452"/>
            <a:ext cx="2160588" cy="216111"/>
          </a:xfrm>
        </p:spPr>
        <p:txBody>
          <a:bodyPr anchor="b" anchorCtr="0">
            <a:noAutofit/>
          </a:bodyPr>
          <a:lstStyle>
            <a:lvl1pPr marL="0" indent="0">
              <a:spcAft>
                <a:spcPts val="0"/>
              </a:spcAft>
              <a:buFontTx/>
              <a:buNone/>
              <a:tabLst/>
              <a:defRPr sz="1200"/>
            </a:lvl1pPr>
            <a:lvl2pPr marL="0" indent="0">
              <a:spcAft>
                <a:spcPts val="0"/>
              </a:spcAft>
              <a:buFontTx/>
              <a:buNone/>
              <a:tabLst/>
              <a:defRPr sz="1200"/>
            </a:lvl2pPr>
            <a:lvl3pPr marL="0" indent="0">
              <a:spcAft>
                <a:spcPts val="0"/>
              </a:spcAft>
              <a:buFontTx/>
              <a:buNone/>
              <a:tabLst/>
              <a:defRPr sz="1200"/>
            </a:lvl3pPr>
            <a:lvl4pPr marL="0" indent="0">
              <a:spcAft>
                <a:spcPts val="0"/>
              </a:spcAft>
              <a:buFontTx/>
              <a:buNone/>
              <a:tabLst/>
              <a:defRPr sz="1200"/>
            </a:lvl4pPr>
            <a:lvl5pPr marL="0" indent="0">
              <a:spcAft>
                <a:spcPts val="0"/>
              </a:spcAft>
              <a:buFontTx/>
              <a:buNone/>
              <a:tabLst/>
              <a:defRPr sz="1200"/>
            </a:lvl5pPr>
            <a:lvl6pPr marL="0" indent="0">
              <a:spcAft>
                <a:spcPts val="0"/>
              </a:spcAft>
              <a:buFontTx/>
              <a:buNone/>
              <a:tabLst/>
              <a:defRPr sz="1200"/>
            </a:lvl6pPr>
            <a:lvl7pPr marL="0" indent="0">
              <a:spcAft>
                <a:spcPts val="0"/>
              </a:spcAft>
              <a:buFontTx/>
              <a:buNone/>
              <a:tabLst/>
              <a:defRPr sz="1200"/>
            </a:lvl7pPr>
            <a:lvl8pPr marL="0" indent="0">
              <a:spcAft>
                <a:spcPts val="0"/>
              </a:spcAft>
              <a:buFontTx/>
              <a:buNone/>
              <a:tabLst/>
              <a:defRPr sz="1200"/>
            </a:lvl8pPr>
            <a:lvl9pPr marL="0" indent="0">
              <a:spcAft>
                <a:spcPts val="0"/>
              </a:spcAft>
              <a:buFontTx/>
              <a:buNone/>
              <a:tabLst/>
              <a:defRPr sz="1200"/>
            </a:lvl9pPr>
          </a:lstStyle>
          <a:p>
            <a:pPr lvl="0"/>
            <a:r>
              <a:rPr lang="ja-JP" altLang="en-GB" noProof="0"/>
              <a:t>点击</a:t>
            </a:r>
            <a:r>
              <a:rPr lang="ja-JP" altLang="en-US" noProof="0"/>
              <a:t>添加活动</a:t>
            </a:r>
            <a:endParaRPr lang="en-GB" noProof="0" dirty="0"/>
          </a:p>
        </p:txBody>
      </p:sp>
      <p:sp>
        <p:nvSpPr>
          <p:cNvPr id="50" name="Text Placeholder 25">
            <a:extLst>
              <a:ext uri="{FF2B5EF4-FFF2-40B4-BE49-F238E27FC236}">
                <a16:creationId xmlns:a16="http://schemas.microsoft.com/office/drawing/2014/main" id="{3AF002C6-2A1E-5B42-9927-65D478FF2340}"/>
              </a:ext>
            </a:extLst>
          </p:cNvPr>
          <p:cNvSpPr>
            <a:spLocks noGrp="1"/>
          </p:cNvSpPr>
          <p:nvPr userDrawn="1">
            <p:ph type="body" sz="quarter" idx="35" hasCustomPrompt="1"/>
          </p:nvPr>
        </p:nvSpPr>
        <p:spPr>
          <a:xfrm>
            <a:off x="360363" y="1347789"/>
            <a:ext cx="2160588" cy="209727"/>
          </a:xfrm>
        </p:spPr>
        <p:txBody>
          <a:bodyPr>
            <a:noAutofit/>
          </a:bodyPr>
          <a:lstStyle>
            <a:lvl1pPr marL="0" indent="0">
              <a:spcAft>
                <a:spcPts val="0"/>
              </a:spcAft>
              <a:buFontTx/>
              <a:buNone/>
              <a:tabLst/>
              <a:defRPr sz="1200"/>
            </a:lvl1pPr>
            <a:lvl2pPr marL="0" indent="0">
              <a:spcAft>
                <a:spcPts val="0"/>
              </a:spcAft>
              <a:buFontTx/>
              <a:buNone/>
              <a:tabLst/>
              <a:defRPr sz="1200"/>
            </a:lvl2pPr>
            <a:lvl3pPr marL="0" indent="0">
              <a:spcAft>
                <a:spcPts val="0"/>
              </a:spcAft>
              <a:buFontTx/>
              <a:buNone/>
              <a:tabLst/>
              <a:defRPr sz="1200"/>
            </a:lvl3pPr>
            <a:lvl4pPr marL="0" indent="0">
              <a:spcAft>
                <a:spcPts val="0"/>
              </a:spcAft>
              <a:buFontTx/>
              <a:buNone/>
              <a:tabLst/>
              <a:defRPr sz="1200"/>
            </a:lvl4pPr>
            <a:lvl5pPr marL="0" indent="0">
              <a:spcAft>
                <a:spcPts val="0"/>
              </a:spcAft>
              <a:buFontTx/>
              <a:buNone/>
              <a:tabLst/>
              <a:defRPr sz="1200"/>
            </a:lvl5pPr>
            <a:lvl6pPr marL="0" indent="0">
              <a:spcAft>
                <a:spcPts val="0"/>
              </a:spcAft>
              <a:buFontTx/>
              <a:buNone/>
              <a:tabLst/>
              <a:defRPr sz="1200"/>
            </a:lvl6pPr>
            <a:lvl7pPr marL="0" indent="0">
              <a:spcAft>
                <a:spcPts val="0"/>
              </a:spcAft>
              <a:buFontTx/>
              <a:buNone/>
              <a:tabLst/>
              <a:defRPr sz="1200"/>
            </a:lvl7pPr>
            <a:lvl8pPr marL="0" indent="0">
              <a:spcAft>
                <a:spcPts val="0"/>
              </a:spcAft>
              <a:buFontTx/>
              <a:buNone/>
              <a:tabLst/>
              <a:defRPr sz="1200"/>
            </a:lvl8pPr>
            <a:lvl9pPr marL="0" indent="0">
              <a:spcAft>
                <a:spcPts val="0"/>
              </a:spcAft>
              <a:buFontTx/>
              <a:buNone/>
              <a:tabLst/>
              <a:defRPr sz="1200"/>
            </a:lvl9pPr>
          </a:lstStyle>
          <a:p>
            <a:pPr lvl="0"/>
            <a:r>
              <a:rPr lang="ja-JP" altLang="en-GB" noProof="0"/>
              <a:t>点击</a:t>
            </a:r>
            <a:r>
              <a:rPr lang="ja-JP" altLang="en-US" noProof="0"/>
              <a:t>添加内容文字</a:t>
            </a:r>
            <a:endParaRPr lang="en-GB" noProof="0" dirty="0"/>
          </a:p>
        </p:txBody>
      </p:sp>
      <p:sp>
        <p:nvSpPr>
          <p:cNvPr id="49" name="Text Placeholder 25">
            <a:extLst>
              <a:ext uri="{FF2B5EF4-FFF2-40B4-BE49-F238E27FC236}">
                <a16:creationId xmlns:a16="http://schemas.microsoft.com/office/drawing/2014/main" id="{29E0FB2C-939A-9444-8FDA-6766A768C531}"/>
              </a:ext>
            </a:extLst>
          </p:cNvPr>
          <p:cNvSpPr>
            <a:spLocks noGrp="1"/>
          </p:cNvSpPr>
          <p:nvPr userDrawn="1">
            <p:ph type="body" sz="quarter" idx="36" hasCustomPrompt="1"/>
          </p:nvPr>
        </p:nvSpPr>
        <p:spPr>
          <a:xfrm>
            <a:off x="2991327" y="1744452"/>
            <a:ext cx="849667" cy="216000"/>
          </a:xfrm>
          <a:prstGeom prst="rect">
            <a:avLst/>
          </a:prstGeom>
          <a:solidFill>
            <a:schemeClr val="bg2"/>
          </a:solidFill>
        </p:spPr>
        <p:txBody>
          <a:bodyPr anchor="ctr" anchorCtr="0">
            <a:noAutofit/>
          </a:bodyPr>
          <a:lstStyle>
            <a:lvl1pPr algn="ctr">
              <a:defRPr sz="600" b="0" i="0">
                <a:solidFill>
                  <a:schemeClr val="tx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52" name="Text Placeholder 25">
            <a:extLst>
              <a:ext uri="{FF2B5EF4-FFF2-40B4-BE49-F238E27FC236}">
                <a16:creationId xmlns:a16="http://schemas.microsoft.com/office/drawing/2014/main" id="{94EA6E12-1324-544D-BAFB-D0D12470AD45}"/>
              </a:ext>
            </a:extLst>
          </p:cNvPr>
          <p:cNvSpPr>
            <a:spLocks noGrp="1"/>
          </p:cNvSpPr>
          <p:nvPr userDrawn="1">
            <p:ph type="body" sz="quarter" idx="37" hasCustomPrompt="1"/>
          </p:nvPr>
        </p:nvSpPr>
        <p:spPr>
          <a:xfrm>
            <a:off x="3957705" y="1744452"/>
            <a:ext cx="759898" cy="216000"/>
          </a:xfrm>
          <a:prstGeom prst="homePlate">
            <a:avLst/>
          </a:prstGeom>
          <a:solidFill>
            <a:schemeClr val="bg2">
              <a:lumMod val="60000"/>
              <a:lumOff val="40000"/>
            </a:schemeClr>
          </a:solidFill>
        </p:spPr>
        <p:txBody>
          <a:bodyPr anchor="ctr" anchorCtr="0">
            <a:noAutofit/>
          </a:bodyPr>
          <a:lstStyle>
            <a:lvl1pPr algn="ctr">
              <a:defRPr sz="600" b="0" i="0">
                <a:solidFill>
                  <a:schemeClr val="tx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57" name="Text Placeholder 25">
            <a:extLst>
              <a:ext uri="{FF2B5EF4-FFF2-40B4-BE49-F238E27FC236}">
                <a16:creationId xmlns:a16="http://schemas.microsoft.com/office/drawing/2014/main" id="{D146E394-A2C9-9045-B58E-47957D2D10E0}"/>
              </a:ext>
            </a:extLst>
          </p:cNvPr>
          <p:cNvSpPr>
            <a:spLocks noGrp="1"/>
          </p:cNvSpPr>
          <p:nvPr userDrawn="1">
            <p:ph type="body" sz="quarter" idx="40" hasCustomPrompt="1"/>
          </p:nvPr>
        </p:nvSpPr>
        <p:spPr>
          <a:xfrm>
            <a:off x="2991326" y="2968414"/>
            <a:ext cx="1519798" cy="216000"/>
          </a:xfrm>
          <a:prstGeom prst="rect">
            <a:avLst/>
          </a:prstGeom>
          <a:solidFill>
            <a:schemeClr val="accent5"/>
          </a:solidFill>
        </p:spPr>
        <p:txBody>
          <a:bodyPr anchor="ctr" anchorCtr="0">
            <a:noAutofit/>
          </a:bodyPr>
          <a:lstStyle>
            <a:lvl1pPr algn="ctr">
              <a:defRPr sz="600" b="0" i="0">
                <a:solidFill>
                  <a:schemeClr val="bg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59" name="Text Placeholder 25">
            <a:extLst>
              <a:ext uri="{FF2B5EF4-FFF2-40B4-BE49-F238E27FC236}">
                <a16:creationId xmlns:a16="http://schemas.microsoft.com/office/drawing/2014/main" id="{A66D508A-4A19-4046-A7A7-12E1D1AF8A4E}"/>
              </a:ext>
            </a:extLst>
          </p:cNvPr>
          <p:cNvSpPr>
            <a:spLocks noGrp="1"/>
          </p:cNvSpPr>
          <p:nvPr userDrawn="1">
            <p:ph type="body" sz="quarter" idx="42" hasCustomPrompt="1"/>
          </p:nvPr>
        </p:nvSpPr>
        <p:spPr>
          <a:xfrm>
            <a:off x="4206947" y="2560464"/>
            <a:ext cx="2394216" cy="216000"/>
          </a:xfrm>
          <a:prstGeom prst="homePlate">
            <a:avLst/>
          </a:prstGeom>
          <a:solidFill>
            <a:schemeClr val="accent3">
              <a:lumMod val="40000"/>
              <a:lumOff val="60000"/>
            </a:schemeClr>
          </a:solidFill>
        </p:spPr>
        <p:txBody>
          <a:bodyPr anchor="ctr" anchorCtr="0">
            <a:noAutofit/>
          </a:bodyPr>
          <a:lstStyle>
            <a:lvl1pPr algn="ctr">
              <a:defRPr sz="600" b="0" i="0">
                <a:solidFill>
                  <a:schemeClr val="tx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62" name="Text Placeholder 25">
            <a:extLst>
              <a:ext uri="{FF2B5EF4-FFF2-40B4-BE49-F238E27FC236}">
                <a16:creationId xmlns:a16="http://schemas.microsoft.com/office/drawing/2014/main" id="{3703D7F0-B758-F749-80F0-777A111A715E}"/>
              </a:ext>
            </a:extLst>
          </p:cNvPr>
          <p:cNvSpPr>
            <a:spLocks noGrp="1"/>
          </p:cNvSpPr>
          <p:nvPr userDrawn="1">
            <p:ph type="body" sz="quarter" idx="47" hasCustomPrompt="1"/>
          </p:nvPr>
        </p:nvSpPr>
        <p:spPr>
          <a:xfrm>
            <a:off x="360363" y="2152513"/>
            <a:ext cx="2160588" cy="216000"/>
          </a:xfrm>
        </p:spPr>
        <p:txBody>
          <a:bodyPr anchor="b" anchorCtr="0">
            <a:noAutofit/>
          </a:bodyPr>
          <a:lstStyle>
            <a:lvl1pPr marL="0" indent="0">
              <a:spcAft>
                <a:spcPts val="0"/>
              </a:spcAft>
              <a:buFontTx/>
              <a:buNone/>
              <a:tabLst/>
              <a:defRPr sz="1200"/>
            </a:lvl1pPr>
            <a:lvl2pPr marL="0" indent="0">
              <a:spcAft>
                <a:spcPts val="0"/>
              </a:spcAft>
              <a:buFontTx/>
              <a:buNone/>
              <a:tabLst/>
              <a:defRPr sz="1200"/>
            </a:lvl2pPr>
            <a:lvl3pPr marL="0" indent="0">
              <a:spcAft>
                <a:spcPts val="0"/>
              </a:spcAft>
              <a:buFontTx/>
              <a:buNone/>
              <a:tabLst/>
              <a:defRPr sz="1200"/>
            </a:lvl3pPr>
            <a:lvl4pPr marL="0" indent="0">
              <a:spcAft>
                <a:spcPts val="0"/>
              </a:spcAft>
              <a:buFontTx/>
              <a:buNone/>
              <a:tabLst/>
              <a:defRPr sz="1200"/>
            </a:lvl4pPr>
            <a:lvl5pPr marL="0" indent="0">
              <a:spcAft>
                <a:spcPts val="0"/>
              </a:spcAft>
              <a:buFontTx/>
              <a:buNone/>
              <a:tabLst/>
              <a:defRPr sz="1200"/>
            </a:lvl5pPr>
            <a:lvl6pPr marL="0" indent="0">
              <a:spcAft>
                <a:spcPts val="0"/>
              </a:spcAft>
              <a:buFontTx/>
              <a:buNone/>
              <a:tabLst/>
              <a:defRPr sz="1200"/>
            </a:lvl6pPr>
            <a:lvl7pPr marL="0" indent="0">
              <a:spcAft>
                <a:spcPts val="0"/>
              </a:spcAft>
              <a:buFontTx/>
              <a:buNone/>
              <a:tabLst/>
              <a:defRPr sz="1200"/>
            </a:lvl7pPr>
            <a:lvl8pPr marL="0" indent="0">
              <a:spcAft>
                <a:spcPts val="0"/>
              </a:spcAft>
              <a:buFontTx/>
              <a:buNone/>
              <a:tabLst/>
              <a:defRPr sz="1200"/>
            </a:lvl8pPr>
            <a:lvl9pPr marL="0" indent="0">
              <a:spcAft>
                <a:spcPts val="0"/>
              </a:spcAft>
              <a:buFontTx/>
              <a:buNone/>
              <a:tabLst/>
              <a:defRPr sz="1200"/>
            </a:lvl9pPr>
          </a:lstStyle>
          <a:p>
            <a:pPr lvl="0"/>
            <a:r>
              <a:rPr lang="ja-JP" altLang="en-GB" noProof="0"/>
              <a:t>点击</a:t>
            </a:r>
            <a:r>
              <a:rPr lang="ja-JP" altLang="en-US" noProof="0"/>
              <a:t>添加活动</a:t>
            </a:r>
            <a:endParaRPr lang="en-GB" noProof="0" dirty="0"/>
          </a:p>
        </p:txBody>
      </p:sp>
      <p:sp>
        <p:nvSpPr>
          <p:cNvPr id="63" name="Text Placeholder 25">
            <a:extLst>
              <a:ext uri="{FF2B5EF4-FFF2-40B4-BE49-F238E27FC236}">
                <a16:creationId xmlns:a16="http://schemas.microsoft.com/office/drawing/2014/main" id="{8F5968CC-ED7D-FE48-8C57-E0249E2B4495}"/>
              </a:ext>
            </a:extLst>
          </p:cNvPr>
          <p:cNvSpPr>
            <a:spLocks noGrp="1"/>
          </p:cNvSpPr>
          <p:nvPr userDrawn="1">
            <p:ph type="body" sz="quarter" idx="48" hasCustomPrompt="1"/>
          </p:nvPr>
        </p:nvSpPr>
        <p:spPr>
          <a:xfrm>
            <a:off x="360363" y="2560464"/>
            <a:ext cx="2160588" cy="216000"/>
          </a:xfrm>
        </p:spPr>
        <p:txBody>
          <a:bodyPr anchor="b" anchorCtr="0">
            <a:noAutofit/>
          </a:bodyPr>
          <a:lstStyle>
            <a:lvl1pPr marL="0" indent="0">
              <a:spcAft>
                <a:spcPts val="0"/>
              </a:spcAft>
              <a:buFontTx/>
              <a:buNone/>
              <a:tabLst/>
              <a:defRPr sz="1200"/>
            </a:lvl1pPr>
            <a:lvl2pPr marL="0" indent="0">
              <a:spcAft>
                <a:spcPts val="0"/>
              </a:spcAft>
              <a:buFontTx/>
              <a:buNone/>
              <a:tabLst/>
              <a:defRPr sz="1200"/>
            </a:lvl2pPr>
            <a:lvl3pPr marL="0" indent="0">
              <a:spcAft>
                <a:spcPts val="0"/>
              </a:spcAft>
              <a:buFontTx/>
              <a:buNone/>
              <a:tabLst/>
              <a:defRPr sz="1200"/>
            </a:lvl3pPr>
            <a:lvl4pPr marL="0" indent="0">
              <a:spcAft>
                <a:spcPts val="0"/>
              </a:spcAft>
              <a:buFontTx/>
              <a:buNone/>
              <a:tabLst/>
              <a:defRPr sz="1200"/>
            </a:lvl4pPr>
            <a:lvl5pPr marL="0" indent="0">
              <a:spcAft>
                <a:spcPts val="0"/>
              </a:spcAft>
              <a:buFontTx/>
              <a:buNone/>
              <a:tabLst/>
              <a:defRPr sz="1200"/>
            </a:lvl5pPr>
            <a:lvl6pPr marL="0" indent="0">
              <a:spcAft>
                <a:spcPts val="0"/>
              </a:spcAft>
              <a:buFontTx/>
              <a:buNone/>
              <a:tabLst/>
              <a:defRPr sz="1200"/>
            </a:lvl6pPr>
            <a:lvl7pPr marL="0" indent="0">
              <a:spcAft>
                <a:spcPts val="0"/>
              </a:spcAft>
              <a:buFontTx/>
              <a:buNone/>
              <a:tabLst/>
              <a:defRPr sz="1200"/>
            </a:lvl7pPr>
            <a:lvl8pPr marL="0" indent="0">
              <a:spcAft>
                <a:spcPts val="0"/>
              </a:spcAft>
              <a:buFontTx/>
              <a:buNone/>
              <a:tabLst/>
              <a:defRPr sz="1200"/>
            </a:lvl8pPr>
            <a:lvl9pPr marL="0" indent="0">
              <a:spcAft>
                <a:spcPts val="0"/>
              </a:spcAft>
              <a:buFontTx/>
              <a:buNone/>
              <a:tabLst/>
              <a:defRPr sz="1200"/>
            </a:lvl9pPr>
          </a:lstStyle>
          <a:p>
            <a:pPr lvl="0"/>
            <a:r>
              <a:rPr lang="ja-JP" altLang="en-GB" noProof="0"/>
              <a:t>点击</a:t>
            </a:r>
            <a:r>
              <a:rPr lang="ja-JP" altLang="en-US" noProof="0"/>
              <a:t>添加活动</a:t>
            </a:r>
            <a:endParaRPr lang="en-GB" noProof="0" dirty="0"/>
          </a:p>
        </p:txBody>
      </p:sp>
      <p:sp>
        <p:nvSpPr>
          <p:cNvPr id="65" name="Text Placeholder 25">
            <a:extLst>
              <a:ext uri="{FF2B5EF4-FFF2-40B4-BE49-F238E27FC236}">
                <a16:creationId xmlns:a16="http://schemas.microsoft.com/office/drawing/2014/main" id="{145A0303-11FB-7C47-A2E7-C2EAFA129C87}"/>
              </a:ext>
            </a:extLst>
          </p:cNvPr>
          <p:cNvSpPr>
            <a:spLocks noGrp="1"/>
          </p:cNvSpPr>
          <p:nvPr userDrawn="1">
            <p:ph type="body" sz="quarter" idx="49" hasCustomPrompt="1"/>
          </p:nvPr>
        </p:nvSpPr>
        <p:spPr>
          <a:xfrm>
            <a:off x="360363" y="2968414"/>
            <a:ext cx="2160588" cy="216000"/>
          </a:xfrm>
        </p:spPr>
        <p:txBody>
          <a:bodyPr anchor="b" anchorCtr="0">
            <a:noAutofit/>
          </a:bodyPr>
          <a:lstStyle>
            <a:lvl1pPr marL="0" indent="0">
              <a:spcAft>
                <a:spcPts val="0"/>
              </a:spcAft>
              <a:buFontTx/>
              <a:buNone/>
              <a:tabLst/>
              <a:defRPr sz="1200"/>
            </a:lvl1pPr>
            <a:lvl2pPr marL="0" indent="0">
              <a:spcAft>
                <a:spcPts val="0"/>
              </a:spcAft>
              <a:buFontTx/>
              <a:buNone/>
              <a:tabLst/>
              <a:defRPr sz="1200"/>
            </a:lvl2pPr>
            <a:lvl3pPr marL="0" indent="0">
              <a:spcAft>
                <a:spcPts val="0"/>
              </a:spcAft>
              <a:buFontTx/>
              <a:buNone/>
              <a:tabLst/>
              <a:defRPr sz="1200"/>
            </a:lvl3pPr>
            <a:lvl4pPr marL="0" indent="0">
              <a:spcAft>
                <a:spcPts val="0"/>
              </a:spcAft>
              <a:buFontTx/>
              <a:buNone/>
              <a:tabLst/>
              <a:defRPr sz="1200"/>
            </a:lvl4pPr>
            <a:lvl5pPr marL="0" indent="0">
              <a:spcAft>
                <a:spcPts val="0"/>
              </a:spcAft>
              <a:buFontTx/>
              <a:buNone/>
              <a:tabLst/>
              <a:defRPr sz="1200"/>
            </a:lvl5pPr>
            <a:lvl6pPr marL="0" indent="0">
              <a:spcAft>
                <a:spcPts val="0"/>
              </a:spcAft>
              <a:buFontTx/>
              <a:buNone/>
              <a:tabLst/>
              <a:defRPr sz="1200"/>
            </a:lvl6pPr>
            <a:lvl7pPr marL="0" indent="0">
              <a:spcAft>
                <a:spcPts val="0"/>
              </a:spcAft>
              <a:buFontTx/>
              <a:buNone/>
              <a:tabLst/>
              <a:defRPr sz="1200"/>
            </a:lvl7pPr>
            <a:lvl8pPr marL="0" indent="0">
              <a:spcAft>
                <a:spcPts val="0"/>
              </a:spcAft>
              <a:buFontTx/>
              <a:buNone/>
              <a:tabLst/>
              <a:defRPr sz="1200"/>
            </a:lvl8pPr>
            <a:lvl9pPr marL="0" indent="0">
              <a:spcAft>
                <a:spcPts val="0"/>
              </a:spcAft>
              <a:buFontTx/>
              <a:buNone/>
              <a:tabLst/>
              <a:defRPr sz="1200"/>
            </a:lvl9pPr>
          </a:lstStyle>
          <a:p>
            <a:pPr lvl="0"/>
            <a:r>
              <a:rPr lang="ja-JP" altLang="en-GB" noProof="0"/>
              <a:t>点击</a:t>
            </a:r>
            <a:r>
              <a:rPr lang="ja-JP" altLang="en-US" noProof="0"/>
              <a:t>添加活动</a:t>
            </a:r>
            <a:endParaRPr lang="en-GB" noProof="0" dirty="0"/>
          </a:p>
        </p:txBody>
      </p:sp>
      <p:sp>
        <p:nvSpPr>
          <p:cNvPr id="68" name="Text Placeholder 25">
            <a:extLst>
              <a:ext uri="{FF2B5EF4-FFF2-40B4-BE49-F238E27FC236}">
                <a16:creationId xmlns:a16="http://schemas.microsoft.com/office/drawing/2014/main" id="{7B546369-5196-B945-BFF8-7CD4717AD759}"/>
              </a:ext>
            </a:extLst>
          </p:cNvPr>
          <p:cNvSpPr>
            <a:spLocks noGrp="1"/>
          </p:cNvSpPr>
          <p:nvPr userDrawn="1">
            <p:ph type="body" sz="quarter" idx="52" hasCustomPrompt="1"/>
          </p:nvPr>
        </p:nvSpPr>
        <p:spPr>
          <a:xfrm>
            <a:off x="2989264"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1</a:t>
            </a:r>
            <a:r>
              <a:rPr lang="zh-CN" altLang="en-US" noProof="0"/>
              <a:t>月</a:t>
            </a:r>
            <a:endParaRPr lang="en-GB" noProof="0" dirty="0"/>
          </a:p>
        </p:txBody>
      </p:sp>
      <p:sp>
        <p:nvSpPr>
          <p:cNvPr id="69" name="Text Placeholder 25">
            <a:extLst>
              <a:ext uri="{FF2B5EF4-FFF2-40B4-BE49-F238E27FC236}">
                <a16:creationId xmlns:a16="http://schemas.microsoft.com/office/drawing/2014/main" id="{F74F8244-3E33-DC4A-9FB7-961745C6068C}"/>
              </a:ext>
            </a:extLst>
          </p:cNvPr>
          <p:cNvSpPr>
            <a:spLocks noGrp="1"/>
          </p:cNvSpPr>
          <p:nvPr userDrawn="1">
            <p:ph type="body" sz="quarter" idx="53" hasCustomPrompt="1"/>
          </p:nvPr>
        </p:nvSpPr>
        <p:spPr>
          <a:xfrm>
            <a:off x="3469484"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2</a:t>
            </a:r>
            <a:r>
              <a:rPr lang="ja-JP" altLang="en-US" noProof="0"/>
              <a:t>月</a:t>
            </a:r>
            <a:endParaRPr lang="en-GB" noProof="0" dirty="0"/>
          </a:p>
        </p:txBody>
      </p:sp>
      <p:sp>
        <p:nvSpPr>
          <p:cNvPr id="70" name="Text Placeholder 25">
            <a:extLst>
              <a:ext uri="{FF2B5EF4-FFF2-40B4-BE49-F238E27FC236}">
                <a16:creationId xmlns:a16="http://schemas.microsoft.com/office/drawing/2014/main" id="{ECEE0316-150F-3E48-B0FA-DFA2F365DF01}"/>
              </a:ext>
            </a:extLst>
          </p:cNvPr>
          <p:cNvSpPr>
            <a:spLocks noGrp="1"/>
          </p:cNvSpPr>
          <p:nvPr userDrawn="1">
            <p:ph type="body" sz="quarter" idx="54" hasCustomPrompt="1"/>
          </p:nvPr>
        </p:nvSpPr>
        <p:spPr>
          <a:xfrm>
            <a:off x="3949705"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3</a:t>
            </a:r>
            <a:r>
              <a:rPr lang="ja-JP" altLang="en-US" noProof="0"/>
              <a:t>月</a:t>
            </a:r>
            <a:endParaRPr lang="en-GB" noProof="0" dirty="0"/>
          </a:p>
        </p:txBody>
      </p:sp>
      <p:sp>
        <p:nvSpPr>
          <p:cNvPr id="71" name="Text Placeholder 25">
            <a:extLst>
              <a:ext uri="{FF2B5EF4-FFF2-40B4-BE49-F238E27FC236}">
                <a16:creationId xmlns:a16="http://schemas.microsoft.com/office/drawing/2014/main" id="{2630CB25-1DE5-614F-ACA0-6505D2FD952B}"/>
              </a:ext>
            </a:extLst>
          </p:cNvPr>
          <p:cNvSpPr>
            <a:spLocks noGrp="1"/>
          </p:cNvSpPr>
          <p:nvPr userDrawn="1">
            <p:ph type="body" sz="quarter" idx="55" hasCustomPrompt="1"/>
          </p:nvPr>
        </p:nvSpPr>
        <p:spPr>
          <a:xfrm>
            <a:off x="4429927"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4</a:t>
            </a:r>
            <a:r>
              <a:rPr lang="ja-JP" altLang="en-US" noProof="0"/>
              <a:t>月</a:t>
            </a:r>
            <a:endParaRPr lang="en-GB" noProof="0" dirty="0"/>
          </a:p>
        </p:txBody>
      </p:sp>
      <p:sp>
        <p:nvSpPr>
          <p:cNvPr id="72" name="Text Placeholder 25">
            <a:extLst>
              <a:ext uri="{FF2B5EF4-FFF2-40B4-BE49-F238E27FC236}">
                <a16:creationId xmlns:a16="http://schemas.microsoft.com/office/drawing/2014/main" id="{07321FDE-6CDB-2D49-9942-D687AA96D9D4}"/>
              </a:ext>
            </a:extLst>
          </p:cNvPr>
          <p:cNvSpPr>
            <a:spLocks noGrp="1"/>
          </p:cNvSpPr>
          <p:nvPr userDrawn="1">
            <p:ph type="body" sz="quarter" idx="56" hasCustomPrompt="1"/>
          </p:nvPr>
        </p:nvSpPr>
        <p:spPr>
          <a:xfrm>
            <a:off x="4910147"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5</a:t>
            </a:r>
            <a:r>
              <a:rPr lang="ja-JP" altLang="en-US" noProof="0"/>
              <a:t>月</a:t>
            </a:r>
            <a:endParaRPr lang="en-GB" noProof="0" dirty="0"/>
          </a:p>
        </p:txBody>
      </p:sp>
      <p:sp>
        <p:nvSpPr>
          <p:cNvPr id="73" name="Text Placeholder 25">
            <a:extLst>
              <a:ext uri="{FF2B5EF4-FFF2-40B4-BE49-F238E27FC236}">
                <a16:creationId xmlns:a16="http://schemas.microsoft.com/office/drawing/2014/main" id="{40888CF1-ECFB-1646-8898-040AA1CF8E4C}"/>
              </a:ext>
            </a:extLst>
          </p:cNvPr>
          <p:cNvSpPr>
            <a:spLocks noGrp="1"/>
          </p:cNvSpPr>
          <p:nvPr userDrawn="1">
            <p:ph type="body" sz="quarter" idx="57" hasCustomPrompt="1"/>
          </p:nvPr>
        </p:nvSpPr>
        <p:spPr>
          <a:xfrm>
            <a:off x="5390368"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6</a:t>
            </a:r>
            <a:r>
              <a:rPr lang="ja-JP" altLang="en-US" noProof="0"/>
              <a:t>月</a:t>
            </a:r>
            <a:endParaRPr lang="en-GB" noProof="0" dirty="0"/>
          </a:p>
        </p:txBody>
      </p:sp>
      <p:sp>
        <p:nvSpPr>
          <p:cNvPr id="74" name="Text Placeholder 25">
            <a:extLst>
              <a:ext uri="{FF2B5EF4-FFF2-40B4-BE49-F238E27FC236}">
                <a16:creationId xmlns:a16="http://schemas.microsoft.com/office/drawing/2014/main" id="{D563044C-B607-1E49-B5FD-7A1480612F15}"/>
              </a:ext>
            </a:extLst>
          </p:cNvPr>
          <p:cNvSpPr>
            <a:spLocks noGrp="1"/>
          </p:cNvSpPr>
          <p:nvPr userDrawn="1">
            <p:ph type="body" sz="quarter" idx="58" hasCustomPrompt="1"/>
          </p:nvPr>
        </p:nvSpPr>
        <p:spPr>
          <a:xfrm>
            <a:off x="5870590"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7</a:t>
            </a:r>
            <a:r>
              <a:rPr lang="ja-JP" altLang="en-US" noProof="0"/>
              <a:t>月</a:t>
            </a:r>
            <a:endParaRPr lang="en-GB" noProof="0" dirty="0"/>
          </a:p>
        </p:txBody>
      </p:sp>
      <p:sp>
        <p:nvSpPr>
          <p:cNvPr id="77" name="Text Placeholder 25">
            <a:extLst>
              <a:ext uri="{FF2B5EF4-FFF2-40B4-BE49-F238E27FC236}">
                <a16:creationId xmlns:a16="http://schemas.microsoft.com/office/drawing/2014/main" id="{FE3488D1-470F-B64E-BF70-E7BE00105D6C}"/>
              </a:ext>
            </a:extLst>
          </p:cNvPr>
          <p:cNvSpPr>
            <a:spLocks noGrp="1"/>
          </p:cNvSpPr>
          <p:nvPr userDrawn="1">
            <p:ph type="body" sz="quarter" idx="59" hasCustomPrompt="1"/>
          </p:nvPr>
        </p:nvSpPr>
        <p:spPr>
          <a:xfrm>
            <a:off x="6350810"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8</a:t>
            </a:r>
            <a:r>
              <a:rPr lang="ja-JP" altLang="en-US" noProof="0"/>
              <a:t>月</a:t>
            </a:r>
            <a:endParaRPr lang="en-GB" noProof="0" dirty="0"/>
          </a:p>
        </p:txBody>
      </p:sp>
      <p:sp>
        <p:nvSpPr>
          <p:cNvPr id="78" name="Text Placeholder 25">
            <a:extLst>
              <a:ext uri="{FF2B5EF4-FFF2-40B4-BE49-F238E27FC236}">
                <a16:creationId xmlns:a16="http://schemas.microsoft.com/office/drawing/2014/main" id="{550A5E8B-E120-5040-8528-928FFC5AAB3D}"/>
              </a:ext>
            </a:extLst>
          </p:cNvPr>
          <p:cNvSpPr>
            <a:spLocks noGrp="1"/>
          </p:cNvSpPr>
          <p:nvPr userDrawn="1">
            <p:ph type="body" sz="quarter" idx="60" hasCustomPrompt="1"/>
          </p:nvPr>
        </p:nvSpPr>
        <p:spPr>
          <a:xfrm>
            <a:off x="6831031"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9</a:t>
            </a:r>
            <a:r>
              <a:rPr lang="ja-JP" altLang="en-US" noProof="0"/>
              <a:t>月</a:t>
            </a:r>
            <a:endParaRPr lang="en-GB" noProof="0" dirty="0"/>
          </a:p>
        </p:txBody>
      </p:sp>
      <p:sp>
        <p:nvSpPr>
          <p:cNvPr id="79" name="Text Placeholder 25">
            <a:extLst>
              <a:ext uri="{FF2B5EF4-FFF2-40B4-BE49-F238E27FC236}">
                <a16:creationId xmlns:a16="http://schemas.microsoft.com/office/drawing/2014/main" id="{E5ACD1BE-76BC-5949-86F3-5572E3462B9B}"/>
              </a:ext>
            </a:extLst>
          </p:cNvPr>
          <p:cNvSpPr>
            <a:spLocks noGrp="1"/>
          </p:cNvSpPr>
          <p:nvPr userDrawn="1">
            <p:ph type="body" sz="quarter" idx="61" hasCustomPrompt="1"/>
          </p:nvPr>
        </p:nvSpPr>
        <p:spPr>
          <a:xfrm>
            <a:off x="7311253"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10</a:t>
            </a:r>
            <a:r>
              <a:rPr lang="ja-JP" altLang="en-US" noProof="0"/>
              <a:t>月</a:t>
            </a:r>
            <a:endParaRPr lang="en-GB" noProof="0" dirty="0"/>
          </a:p>
        </p:txBody>
      </p:sp>
      <p:sp>
        <p:nvSpPr>
          <p:cNvPr id="80" name="Text Placeholder 25">
            <a:extLst>
              <a:ext uri="{FF2B5EF4-FFF2-40B4-BE49-F238E27FC236}">
                <a16:creationId xmlns:a16="http://schemas.microsoft.com/office/drawing/2014/main" id="{5962A4C2-D11C-B048-8DE2-D5D022D42BF4}"/>
              </a:ext>
            </a:extLst>
          </p:cNvPr>
          <p:cNvSpPr>
            <a:spLocks noGrp="1"/>
          </p:cNvSpPr>
          <p:nvPr userDrawn="1">
            <p:ph type="body" sz="quarter" idx="62" hasCustomPrompt="1"/>
          </p:nvPr>
        </p:nvSpPr>
        <p:spPr>
          <a:xfrm>
            <a:off x="7791473"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11</a:t>
            </a:r>
            <a:r>
              <a:rPr lang="ja-JP" altLang="en-US" noProof="0"/>
              <a:t>月</a:t>
            </a:r>
            <a:endParaRPr lang="en-GB" noProof="0" dirty="0"/>
          </a:p>
        </p:txBody>
      </p:sp>
      <p:sp>
        <p:nvSpPr>
          <p:cNvPr id="81" name="Text Placeholder 25">
            <a:extLst>
              <a:ext uri="{FF2B5EF4-FFF2-40B4-BE49-F238E27FC236}">
                <a16:creationId xmlns:a16="http://schemas.microsoft.com/office/drawing/2014/main" id="{8E488326-5113-8F4E-9E25-8EFB1BE1C394}"/>
              </a:ext>
            </a:extLst>
          </p:cNvPr>
          <p:cNvSpPr>
            <a:spLocks noGrp="1"/>
          </p:cNvSpPr>
          <p:nvPr userDrawn="1">
            <p:ph type="body" sz="quarter" idx="63" hasCustomPrompt="1"/>
          </p:nvPr>
        </p:nvSpPr>
        <p:spPr>
          <a:xfrm>
            <a:off x="8271694" y="1347789"/>
            <a:ext cx="478800" cy="189515"/>
          </a:xfrm>
        </p:spPr>
        <p:txBody>
          <a:bodyPr>
            <a:noAutofit/>
          </a:bodyPr>
          <a:lstStyle>
            <a:lvl1pPr marL="0" indent="0" algn="ctr">
              <a:spcAft>
                <a:spcPts val="0"/>
              </a:spcAft>
              <a:buFontTx/>
              <a:buNone/>
              <a:tabLst/>
              <a:defRPr sz="1200"/>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en-US" altLang="zh-CN" noProof="0"/>
              <a:t>12</a:t>
            </a:r>
            <a:r>
              <a:rPr lang="ja-JP" altLang="en-US" noProof="0"/>
              <a:t>月</a:t>
            </a:r>
            <a:endParaRPr lang="en-GB" noProof="0" dirty="0"/>
          </a:p>
        </p:txBody>
      </p:sp>
      <p:pic>
        <p:nvPicPr>
          <p:cNvPr id="53" name="Bildobjekt 7">
            <a:extLst>
              <a:ext uri="{FF2B5EF4-FFF2-40B4-BE49-F238E27FC236}">
                <a16:creationId xmlns:a16="http://schemas.microsoft.com/office/drawing/2014/main" id="{A3751E47-4048-4085-9D34-26FAC9A84ECA}"/>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56" name="Text Placeholder 25">
            <a:extLst>
              <a:ext uri="{FF2B5EF4-FFF2-40B4-BE49-F238E27FC236}">
                <a16:creationId xmlns:a16="http://schemas.microsoft.com/office/drawing/2014/main" id="{ABCB861D-3698-49AE-8ACD-41171F7FF030}"/>
              </a:ext>
            </a:extLst>
          </p:cNvPr>
          <p:cNvSpPr>
            <a:spLocks noGrp="1"/>
          </p:cNvSpPr>
          <p:nvPr userDrawn="1">
            <p:ph type="body" sz="quarter" idx="64" hasCustomPrompt="1"/>
          </p:nvPr>
        </p:nvSpPr>
        <p:spPr>
          <a:xfrm>
            <a:off x="5458910" y="2152513"/>
            <a:ext cx="849668" cy="216000"/>
          </a:xfrm>
          <a:prstGeom prst="homePlate">
            <a:avLst/>
          </a:prstGeom>
          <a:solidFill>
            <a:schemeClr val="accent2"/>
          </a:solidFill>
        </p:spPr>
        <p:txBody>
          <a:bodyPr anchor="ctr" anchorCtr="0">
            <a:noAutofit/>
          </a:bodyPr>
          <a:lstStyle>
            <a:lvl1pPr algn="ctr">
              <a:defRPr sz="600" b="0" i="0">
                <a:solidFill>
                  <a:schemeClr val="tx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75" name="Text Placeholder 25">
            <a:extLst>
              <a:ext uri="{FF2B5EF4-FFF2-40B4-BE49-F238E27FC236}">
                <a16:creationId xmlns:a16="http://schemas.microsoft.com/office/drawing/2014/main" id="{54ABA743-F9AD-4E3D-871B-0F25C0100414}"/>
              </a:ext>
            </a:extLst>
          </p:cNvPr>
          <p:cNvSpPr>
            <a:spLocks noGrp="1"/>
          </p:cNvSpPr>
          <p:nvPr userDrawn="1">
            <p:ph type="body" sz="quarter" idx="65" hasCustomPrompt="1"/>
          </p:nvPr>
        </p:nvSpPr>
        <p:spPr>
          <a:xfrm>
            <a:off x="4619068" y="2968414"/>
            <a:ext cx="839843" cy="216000"/>
          </a:xfrm>
          <a:prstGeom prst="homePlate">
            <a:avLst/>
          </a:prstGeom>
          <a:solidFill>
            <a:schemeClr val="accent6"/>
          </a:solidFill>
        </p:spPr>
        <p:txBody>
          <a:bodyPr anchor="ctr" anchorCtr="0">
            <a:noAutofit/>
          </a:bodyPr>
          <a:lstStyle>
            <a:lvl1pPr algn="ctr">
              <a:defRPr sz="600" b="0" i="0">
                <a:solidFill>
                  <a:schemeClr val="bg1"/>
                </a:solidFill>
                <a:latin typeface="微软雅黑" panose="020B0503020204020204" pitchFamily="34" charset="-122"/>
              </a:defRPr>
            </a:lvl1pPr>
          </a:lstStyle>
          <a:p>
            <a:pPr lvl="0"/>
            <a:r>
              <a:rPr lang="ja-JP" altLang="en-GB" noProof="0" dirty="0"/>
              <a:t>点击</a:t>
            </a:r>
            <a:r>
              <a:rPr lang="ja-JP" altLang="en-US" noProof="0" dirty="0"/>
              <a:t>调整颜色与长度</a:t>
            </a:r>
            <a:endParaRPr lang="en-GB" noProof="0" dirty="0"/>
          </a:p>
        </p:txBody>
      </p:sp>
      <p:sp>
        <p:nvSpPr>
          <p:cNvPr id="51" name="Title Placeholder 10">
            <a:extLst>
              <a:ext uri="{FF2B5EF4-FFF2-40B4-BE49-F238E27FC236}">
                <a16:creationId xmlns:a16="http://schemas.microsoft.com/office/drawing/2014/main" id="{2CED1D50-07B8-4F6F-AC3B-A45E7753F17A}"/>
              </a:ext>
            </a:extLst>
          </p:cNvPr>
          <p:cNvSpPr>
            <a:spLocks noGrp="1"/>
          </p:cNvSpPr>
          <p:nvPr userDrawn="1">
            <p:ph type="title" hasCustomPrompt="1"/>
          </p:nvPr>
        </p:nvSpPr>
        <p:spPr>
          <a:xfrm>
            <a:off x="360364" y="808348"/>
            <a:ext cx="8390131" cy="323540"/>
          </a:xfrm>
          <a:prstGeom prst="rect">
            <a:avLst/>
          </a:prstGeom>
        </p:spPr>
        <p:txBody>
          <a:bodyPr vert="horz" lIns="0" tIns="0" rIns="0" bIns="0" rtlCol="0" anchor="b" anchorCtr="0">
            <a:noAutofit/>
          </a:bodyPr>
          <a:lstStyle>
            <a:lvl1pPr algn="l">
              <a:defRPr/>
            </a:lvl1pPr>
          </a:lstStyle>
          <a:p>
            <a:pPr algn="l"/>
            <a:r>
              <a:rPr lang="zh-CN" altLang="en-US"/>
              <a:t>时间线页面 </a:t>
            </a:r>
            <a:r>
              <a:rPr lang="en-US" altLang="zh-CN"/>
              <a:t>- </a:t>
            </a:r>
            <a:r>
              <a:rPr lang="zh-CN" altLang="en-US"/>
              <a:t>点击添加主题</a:t>
            </a:r>
            <a:endParaRPr lang="en-GB" noProof="0" dirty="0"/>
          </a:p>
        </p:txBody>
      </p:sp>
      <p:sp>
        <p:nvSpPr>
          <p:cNvPr id="66" name="Slide Number Placeholder 9">
            <a:extLst>
              <a:ext uri="{FF2B5EF4-FFF2-40B4-BE49-F238E27FC236}">
                <a16:creationId xmlns:a16="http://schemas.microsoft.com/office/drawing/2014/main" id="{0AA6B309-0005-4B1E-8C80-23FC9B41C062}"/>
              </a:ext>
            </a:extLst>
          </p:cNvPr>
          <p:cNvSpPr>
            <a:spLocks noGrp="1"/>
          </p:cNvSpPr>
          <p:nvPr userDrawn="1">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384630977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结束">
    <p:spTree>
      <p:nvGrpSpPr>
        <p:cNvPr id="1" name=""/>
        <p:cNvGrpSpPr/>
        <p:nvPr/>
      </p:nvGrpSpPr>
      <p:grpSpPr>
        <a:xfrm>
          <a:off x="0" y="0"/>
          <a:ext cx="0" cy="0"/>
          <a:chOff x="0" y="0"/>
          <a:chExt cx="0" cy="0"/>
        </a:xfrm>
      </p:grpSpPr>
      <p:pic>
        <p:nvPicPr>
          <p:cNvPr id="7" name="Bildobjekt 8">
            <a:extLst>
              <a:ext uri="{FF2B5EF4-FFF2-40B4-BE49-F238E27FC236}">
                <a16:creationId xmlns:a16="http://schemas.microsoft.com/office/drawing/2014/main" id="{145704C9-1A49-C847-A20C-F5E0DFDEA7E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077403" y="1976261"/>
            <a:ext cx="992368" cy="992364"/>
          </a:xfrm>
          <a:prstGeom prst="rect">
            <a:avLst/>
          </a:prstGeom>
        </p:spPr>
      </p:pic>
      <p:sp>
        <p:nvSpPr>
          <p:cNvPr id="5" name="Text Placeholder 3">
            <a:extLst>
              <a:ext uri="{FF2B5EF4-FFF2-40B4-BE49-F238E27FC236}">
                <a16:creationId xmlns:a16="http://schemas.microsoft.com/office/drawing/2014/main" id="{827D48FC-B2F0-F949-B048-DCB0A0ADEC9F}"/>
              </a:ext>
            </a:extLst>
          </p:cNvPr>
          <p:cNvSpPr>
            <a:spLocks noGrp="1"/>
          </p:cNvSpPr>
          <p:nvPr>
            <p:ph type="body" sz="quarter" idx="11" hasCustomPrompt="1"/>
          </p:nvPr>
        </p:nvSpPr>
        <p:spPr>
          <a:xfrm>
            <a:off x="360363" y="3797300"/>
            <a:ext cx="8389937" cy="395288"/>
          </a:xfrm>
        </p:spPr>
        <p:txBody>
          <a:bodyPr anchor="t" anchorCtr="0">
            <a:noAutofit/>
          </a:bodyPr>
          <a:lstStyle>
            <a:lvl1pPr marL="0" indent="0" algn="ctr">
              <a:spcAft>
                <a:spcPts val="0"/>
              </a:spcAft>
              <a:buFontTx/>
              <a:buNone/>
              <a:defRPr sz="2400" b="0" i="0">
                <a:latin typeface="微软雅黑" panose="020B0503020204020204" pitchFamily="34" charset="-122"/>
              </a:defRPr>
            </a:lvl1pPr>
            <a:lvl2pPr marL="0" indent="0" algn="ctr">
              <a:spcAft>
                <a:spcPts val="0"/>
              </a:spcAft>
              <a:buFontTx/>
              <a:buNone/>
              <a:defRPr sz="2400" b="0" i="0"/>
            </a:lvl2pPr>
            <a:lvl3pPr marL="0" indent="0" algn="ctr">
              <a:spcAft>
                <a:spcPts val="0"/>
              </a:spcAft>
              <a:buFontTx/>
              <a:buNone/>
              <a:defRPr sz="2400" b="0" i="0"/>
            </a:lvl3pPr>
            <a:lvl4pPr marL="0" indent="0" algn="ctr">
              <a:spcAft>
                <a:spcPts val="0"/>
              </a:spcAft>
              <a:buFontTx/>
              <a:buNone/>
              <a:defRPr sz="2400" b="0" i="0"/>
            </a:lvl4pPr>
            <a:lvl5pPr marL="0" indent="0" algn="ctr">
              <a:spcAft>
                <a:spcPts val="0"/>
              </a:spcAft>
              <a:buFontTx/>
              <a:buNone/>
              <a:defRPr sz="2400" b="0" i="0"/>
            </a:lvl5pPr>
            <a:lvl6pPr marL="0" indent="0" algn="ctr">
              <a:spcAft>
                <a:spcPts val="0"/>
              </a:spcAft>
              <a:buFontTx/>
              <a:buNone/>
              <a:defRPr sz="2400" b="0" i="0"/>
            </a:lvl6pPr>
            <a:lvl7pPr marL="0" indent="0" algn="ctr">
              <a:spcAft>
                <a:spcPts val="0"/>
              </a:spcAft>
              <a:buFontTx/>
              <a:buNone/>
              <a:tabLst/>
              <a:defRPr sz="2400" b="0" i="0">
                <a:latin typeface="Volvo Novum Light" panose="020B0303040502060204" pitchFamily="34" charset="77"/>
              </a:defRPr>
            </a:lvl7pPr>
            <a:lvl8pPr marL="0" indent="0" algn="ctr">
              <a:spcAft>
                <a:spcPts val="0"/>
              </a:spcAft>
              <a:buFontTx/>
              <a:buNone/>
              <a:defRPr sz="2400" b="0" i="0"/>
            </a:lvl8pPr>
            <a:lvl9pPr marL="0" indent="0" algn="ctr">
              <a:spcAft>
                <a:spcPts val="0"/>
              </a:spcAft>
              <a:buFontTx/>
              <a:buNone/>
              <a:defRPr sz="2400" b="0" i="0"/>
            </a:lvl9pPr>
          </a:lstStyle>
          <a:p>
            <a:pPr lvl="0"/>
            <a:r>
              <a:rPr lang="ja-JP" altLang="en-GB" noProof="0" dirty="0"/>
              <a:t>点击</a:t>
            </a:r>
            <a:r>
              <a:rPr lang="ja-JP" altLang="en-US" noProof="0" dirty="0"/>
              <a:t>添加</a:t>
            </a:r>
            <a:r>
              <a:rPr lang="zh-CN" altLang="en-US" noProof="0" dirty="0"/>
              <a:t> </a:t>
            </a:r>
            <a:r>
              <a:rPr lang="ja-JP" altLang="en-US" noProof="0" dirty="0"/>
              <a:t>谢谢</a:t>
            </a:r>
            <a:endParaRPr lang="en-GB" noProof="0" dirty="0"/>
          </a:p>
        </p:txBody>
      </p:sp>
    </p:spTree>
    <p:extLst>
      <p:ext uri="{BB962C8B-B14F-4D97-AF65-F5344CB8AC3E}">
        <p14:creationId xmlns:p14="http://schemas.microsoft.com/office/powerpoint/2010/main" val="404744379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sp>
        <p:nvSpPr>
          <p:cNvPr id="5" name="Text Placeholder 3">
            <a:extLst>
              <a:ext uri="{FF2B5EF4-FFF2-40B4-BE49-F238E27FC236}">
                <a16:creationId xmlns:a16="http://schemas.microsoft.com/office/drawing/2014/main" id="{827D48FC-B2F0-F949-B048-DCB0A0ADEC9F}"/>
              </a:ext>
            </a:extLst>
          </p:cNvPr>
          <p:cNvSpPr>
            <a:spLocks noGrp="1"/>
          </p:cNvSpPr>
          <p:nvPr>
            <p:ph type="body" sz="quarter" idx="11" hasCustomPrompt="1"/>
          </p:nvPr>
        </p:nvSpPr>
        <p:spPr>
          <a:xfrm>
            <a:off x="360364" y="3797300"/>
            <a:ext cx="8389937" cy="395288"/>
          </a:xfrm>
        </p:spPr>
        <p:txBody>
          <a:bodyPr anchor="t" anchorCtr="0">
            <a:noAutofit/>
          </a:bodyPr>
          <a:lstStyle>
            <a:lvl1pPr marL="0" indent="0" algn="ctr">
              <a:spcAft>
                <a:spcPts val="0"/>
              </a:spcAft>
              <a:buFontTx/>
              <a:buNone/>
              <a:defRPr sz="2161" b="0" i="0">
                <a:latin typeface="微软雅黑" panose="020B0503020204020204" pitchFamily="34" charset="-122"/>
              </a:defRPr>
            </a:lvl1pPr>
            <a:lvl2pPr marL="0" indent="0" algn="ctr">
              <a:spcAft>
                <a:spcPts val="0"/>
              </a:spcAft>
              <a:buFontTx/>
              <a:buNone/>
              <a:defRPr sz="2400" b="0" i="0"/>
            </a:lvl2pPr>
            <a:lvl3pPr marL="0" indent="0" algn="ctr">
              <a:spcAft>
                <a:spcPts val="0"/>
              </a:spcAft>
              <a:buFontTx/>
              <a:buNone/>
              <a:defRPr sz="2400" b="0" i="0"/>
            </a:lvl3pPr>
            <a:lvl4pPr marL="0" indent="0" algn="ctr">
              <a:spcAft>
                <a:spcPts val="0"/>
              </a:spcAft>
              <a:buFontTx/>
              <a:buNone/>
              <a:defRPr sz="2400" b="0" i="0"/>
            </a:lvl4pPr>
            <a:lvl5pPr marL="0" indent="0" algn="ctr">
              <a:spcAft>
                <a:spcPts val="0"/>
              </a:spcAft>
              <a:buFontTx/>
              <a:buNone/>
              <a:defRPr sz="2400" b="0" i="0"/>
            </a:lvl5pPr>
            <a:lvl6pPr marL="0" indent="0" algn="ctr">
              <a:spcAft>
                <a:spcPts val="0"/>
              </a:spcAft>
              <a:buFontTx/>
              <a:buNone/>
              <a:defRPr sz="2400" b="0" i="0"/>
            </a:lvl6pPr>
            <a:lvl7pPr marL="0" indent="0" algn="ctr">
              <a:spcAft>
                <a:spcPts val="0"/>
              </a:spcAft>
              <a:buFontTx/>
              <a:buNone/>
              <a:tabLst/>
              <a:defRPr sz="2400" b="0" i="0">
                <a:latin typeface="Volvo Novum Light" panose="020B0303040502060204" pitchFamily="34" charset="77"/>
              </a:defRPr>
            </a:lvl7pPr>
            <a:lvl8pPr marL="0" indent="0" algn="ctr">
              <a:spcAft>
                <a:spcPts val="0"/>
              </a:spcAft>
              <a:buFontTx/>
              <a:buNone/>
              <a:defRPr sz="2400" b="0" i="0"/>
            </a:lvl8pPr>
            <a:lvl9pPr marL="0" indent="0" algn="ctr">
              <a:spcAft>
                <a:spcPts val="0"/>
              </a:spcAft>
              <a:buFontTx/>
              <a:buNone/>
              <a:defRPr sz="2400" b="0" i="0"/>
            </a:lvl9pPr>
          </a:lstStyle>
          <a:p>
            <a:pPr lvl="0"/>
            <a:r>
              <a:rPr lang="zh-CN" altLang="en-US" noProof="0" dirty="0"/>
              <a:t>点击添加 谢谢</a:t>
            </a:r>
            <a:endParaRPr lang="en-GB" noProof="0" dirty="0"/>
          </a:p>
        </p:txBody>
      </p:sp>
      <p:pic>
        <p:nvPicPr>
          <p:cNvPr id="4" name="Bildobjekt 7">
            <a:extLst>
              <a:ext uri="{FF2B5EF4-FFF2-40B4-BE49-F238E27FC236}">
                <a16:creationId xmlns:a16="http://schemas.microsoft.com/office/drawing/2014/main" id="{E6775E4B-FCC4-8F44-BCDC-EC4C310D00CE}"/>
              </a:ext>
            </a:extLst>
          </p:cNvPr>
          <p:cNvPicPr>
            <a:picLocks noChangeAspect="1"/>
          </p:cNvPicPr>
          <p:nvPr userDrawn="1"/>
        </p:nvPicPr>
        <p:blipFill>
          <a:blip r:embed="rId2"/>
          <a:stretch>
            <a:fillRect/>
          </a:stretch>
        </p:blipFill>
        <p:spPr>
          <a:xfrm>
            <a:off x="3811923" y="2245493"/>
            <a:ext cx="1523329" cy="142628"/>
          </a:xfrm>
          <a:prstGeom prst="rect">
            <a:avLst/>
          </a:prstGeom>
          <a:noFill/>
        </p:spPr>
      </p:pic>
    </p:spTree>
    <p:extLst>
      <p:ext uri="{BB962C8B-B14F-4D97-AF65-F5344CB8AC3E}">
        <p14:creationId xmlns:p14="http://schemas.microsoft.com/office/powerpoint/2010/main" val="40596160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空白">
    <p:spTree>
      <p:nvGrpSpPr>
        <p:cNvPr id="1" name=""/>
        <p:cNvGrpSpPr/>
        <p:nvPr/>
      </p:nvGrpSpPr>
      <p:grpSpPr>
        <a:xfrm>
          <a:off x="0" y="0"/>
          <a:ext cx="0" cy="0"/>
          <a:chOff x="0" y="0"/>
          <a:chExt cx="0" cy="0"/>
        </a:xfrm>
      </p:grpSpPr>
      <p:pic>
        <p:nvPicPr>
          <p:cNvPr id="5" name="Bildobjekt 7">
            <a:extLst>
              <a:ext uri="{FF2B5EF4-FFF2-40B4-BE49-F238E27FC236}">
                <a16:creationId xmlns:a16="http://schemas.microsoft.com/office/drawing/2014/main" id="{0ABDB830-8EA8-4DB2-B41C-D9E4C0F02FF0}"/>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8" name="Slide Number Placeholder 9">
            <a:extLst>
              <a:ext uri="{FF2B5EF4-FFF2-40B4-BE49-F238E27FC236}">
                <a16:creationId xmlns:a16="http://schemas.microsoft.com/office/drawing/2014/main" id="{AE0DEBE6-2543-4064-847C-6DBD8F3C81F3}"/>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5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9279848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wo parts with text">
    <p:spTree>
      <p:nvGrpSpPr>
        <p:cNvPr id="1" name=""/>
        <p:cNvGrpSpPr/>
        <p:nvPr/>
      </p:nvGrpSpPr>
      <p:grpSpPr>
        <a:xfrm>
          <a:off x="0" y="0"/>
          <a:ext cx="0" cy="0"/>
          <a:chOff x="0" y="0"/>
          <a:chExt cx="0" cy="0"/>
        </a:xfrm>
      </p:grpSpPr>
      <p:sp>
        <p:nvSpPr>
          <p:cNvPr id="9" name="Content Placeholder 2"/>
          <p:cNvSpPr>
            <a:spLocks noGrp="1"/>
          </p:cNvSpPr>
          <p:nvPr>
            <p:ph sz="half" idx="1" hasCustomPrompt="1"/>
          </p:nvPr>
        </p:nvSpPr>
        <p:spPr>
          <a:xfrm>
            <a:off x="453758" y="1322328"/>
            <a:ext cx="3921761" cy="3111360"/>
          </a:xfrm>
        </p:spPr>
        <p:txBody>
          <a:bodyPr>
            <a:normAutofit/>
          </a:bodyPr>
          <a:lstStyle>
            <a:lvl1pPr marL="308713" marR="0" indent="-308713" algn="l" defTabSz="622398" rtl="0" eaLnBrk="1" fontAlgn="auto" latinLnBrk="0" hangingPunct="1">
              <a:lnSpc>
                <a:spcPct val="90000"/>
              </a:lnSpc>
              <a:spcBef>
                <a:spcPts val="680"/>
              </a:spcBef>
              <a:spcAft>
                <a:spcPts val="0"/>
              </a:spcAft>
              <a:buClrTx/>
              <a:buSzTx/>
              <a:buFont typeface="Arial" panose="020B0604020202020204" pitchFamily="34" charset="0"/>
              <a:buChar char="•"/>
              <a:tabLst/>
              <a:defRPr sz="1260" i="0"/>
            </a:lvl1pPr>
            <a:lvl2pPr marL="568459" indent="-257261">
              <a:buFont typeface="Arial" panose="020B0604020202020204" pitchFamily="34" charset="0"/>
              <a:buChar char="•"/>
              <a:defRPr sz="1260"/>
            </a:lvl2pPr>
            <a:lvl3pPr marL="879659" indent="-257261">
              <a:buFont typeface="Arial" panose="020B0604020202020204" pitchFamily="34" charset="0"/>
              <a:buChar char="•"/>
              <a:defRPr sz="1260"/>
            </a:lvl3pPr>
            <a:lvl4pPr marL="1087953" indent="-154356">
              <a:buFont typeface="Arial" panose="020B0604020202020204" pitchFamily="34" charset="0"/>
              <a:buChar char="•"/>
              <a:defRPr sz="1260"/>
            </a:lvl4pPr>
            <a:lvl5pPr marL="1399152" indent="-154356">
              <a:buFont typeface="Arial" panose="020B0604020202020204" pitchFamily="34" charset="0"/>
              <a:buChar char="•"/>
              <a:defRPr sz="1260"/>
            </a:lvl5pPr>
          </a:lstStyle>
          <a:p>
            <a:pPr marL="155599" marR="0" lvl="0" indent="-155599" algn="l" defTabSz="622398" rtl="0" eaLnBrk="1" fontAlgn="auto" latinLnBrk="0" hangingPunct="1">
              <a:lnSpc>
                <a:spcPct val="90000"/>
              </a:lnSpc>
              <a:spcBef>
                <a:spcPts val="680"/>
              </a:spcBef>
              <a:spcAft>
                <a:spcPts val="0"/>
              </a:spcAft>
              <a:buClrTx/>
              <a:buSzTx/>
              <a:tabLst/>
              <a:defRPr/>
            </a:pPr>
            <a:r>
              <a:rPr lang="en-US" dirty="0"/>
              <a:t>Click here to add bullet list or to insert previously copie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Slide Number Placeholder 5"/>
          <p:cNvSpPr>
            <a:spLocks noGrp="1"/>
          </p:cNvSpPr>
          <p:nvPr>
            <p:ph type="sldNum" sz="quarter" idx="4"/>
          </p:nvPr>
        </p:nvSpPr>
        <p:spPr>
          <a:xfrm>
            <a:off x="7380042" y="4825361"/>
            <a:ext cx="1296450" cy="122508"/>
          </a:xfrm>
          <a:prstGeom prst="rect">
            <a:avLst/>
          </a:prstGeom>
        </p:spPr>
        <p:txBody>
          <a:bodyPr vert="horz" wrap="none" lIns="0" tIns="0" rIns="0" bIns="0" rtlCol="0" anchor="t"/>
          <a:lstStyle>
            <a:lvl1pPr algn="r">
              <a:defRPr sz="816">
                <a:solidFill>
                  <a:schemeClr val="tx1"/>
                </a:solidFill>
              </a:defRPr>
            </a:lvl1pPr>
          </a:lstStyle>
          <a:p>
            <a:fld id="{6F67B5D9-DB62-4DEA-AF3E-B11D0AE898D7}" type="slidenum">
              <a:rPr lang="sv-SE" smtClean="0"/>
              <a:pPr/>
              <a:t>‹#›</a:t>
            </a:fld>
            <a:endParaRPr lang="sv-SE"/>
          </a:p>
        </p:txBody>
      </p:sp>
      <p:cxnSp>
        <p:nvCxnSpPr>
          <p:cNvPr id="17" name="Rak 16"/>
          <p:cNvCxnSpPr/>
          <p:nvPr userDrawn="1"/>
        </p:nvCxnSpPr>
        <p:spPr>
          <a:xfrm>
            <a:off x="453758" y="1175818"/>
            <a:ext cx="8222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Rak 17"/>
          <p:cNvCxnSpPr/>
          <p:nvPr userDrawn="1"/>
        </p:nvCxnSpPr>
        <p:spPr>
          <a:xfrm>
            <a:off x="453758" y="4761714"/>
            <a:ext cx="8222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9" name="Bildobjekt 1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7990" y="324100"/>
            <a:ext cx="648225" cy="648200"/>
          </a:xfrm>
          <a:prstGeom prst="rect">
            <a:avLst/>
          </a:prstGeom>
        </p:spPr>
      </p:pic>
      <p:sp>
        <p:nvSpPr>
          <p:cNvPr id="3" name="Platshållare för text 2"/>
          <p:cNvSpPr>
            <a:spLocks noGrp="1"/>
          </p:cNvSpPr>
          <p:nvPr>
            <p:ph type="body" sz="quarter" idx="12" hasCustomPrompt="1"/>
          </p:nvPr>
        </p:nvSpPr>
        <p:spPr>
          <a:xfrm>
            <a:off x="4504983" y="1322328"/>
            <a:ext cx="3921761" cy="3111360"/>
          </a:xfrm>
        </p:spPr>
        <p:txBody>
          <a:bodyPr>
            <a:normAutofit/>
          </a:bodyPr>
          <a:lstStyle>
            <a:lvl1pPr marL="308713" indent="-308713">
              <a:buFont typeface="Arial" panose="020B0604020202020204" pitchFamily="34" charset="0"/>
              <a:buChar char="•"/>
              <a:defRPr sz="1260"/>
            </a:lvl1pPr>
            <a:lvl2pPr marL="568459" indent="-257261">
              <a:buFont typeface="Arial" panose="020B0604020202020204" pitchFamily="34" charset="0"/>
              <a:buChar char="•"/>
              <a:defRPr sz="1260"/>
            </a:lvl2pPr>
            <a:lvl3pPr marL="879659" indent="-257261">
              <a:buFont typeface="Arial" panose="020B0604020202020204" pitchFamily="34" charset="0"/>
              <a:buChar char="•"/>
              <a:defRPr sz="1260"/>
            </a:lvl3pPr>
            <a:lvl4pPr marL="1087953" indent="-154356">
              <a:buFont typeface="Arial" panose="020B0604020202020204" pitchFamily="34" charset="0"/>
              <a:buChar char="•"/>
              <a:defRPr sz="1260"/>
            </a:lvl4pPr>
            <a:lvl5pPr marL="1399152" indent="-154356">
              <a:buFont typeface="Arial" panose="020B0604020202020204" pitchFamily="34" charset="0"/>
              <a:buChar char="•"/>
              <a:defRPr sz="1260"/>
            </a:lvl5pPr>
          </a:lstStyle>
          <a:p>
            <a:pPr lvl="0"/>
            <a:r>
              <a:rPr lang="en-US" dirty="0"/>
              <a:t>Click here to add bullet list or to insert previously copie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Placeholder 1"/>
          <p:cNvSpPr>
            <a:spLocks noGrp="1"/>
          </p:cNvSpPr>
          <p:nvPr>
            <p:ph type="title" hasCustomPrompt="1"/>
          </p:nvPr>
        </p:nvSpPr>
        <p:spPr>
          <a:xfrm>
            <a:off x="453757" y="427046"/>
            <a:ext cx="7250397" cy="583380"/>
          </a:xfrm>
          <a:prstGeom prst="rect">
            <a:avLst/>
          </a:prstGeom>
        </p:spPr>
        <p:txBody>
          <a:bodyPr vert="horz" wrap="none" lIns="0" tIns="0" rIns="0" bIns="0" rtlCol="0" anchor="b">
            <a:noAutofit/>
          </a:bodyPr>
          <a:lstStyle>
            <a:lvl1pPr>
              <a:defRPr sz="3601" baseline="0">
                <a:latin typeface="微软雅黑" panose="020B0503020204020204" pitchFamily="34" charset="-122"/>
                <a:ea typeface="微软雅黑" panose="020B0503020204020204" pitchFamily="34" charset="-122"/>
              </a:defRPr>
            </a:lvl1pPr>
          </a:lstStyle>
          <a:p>
            <a:r>
              <a:rPr lang="sv-SE" dirty="0" err="1"/>
              <a:t>Add</a:t>
            </a:r>
            <a:r>
              <a:rPr lang="sv-SE" dirty="0"/>
              <a:t> </a:t>
            </a:r>
            <a:r>
              <a:rPr lang="sv-SE" dirty="0" err="1"/>
              <a:t>Title</a:t>
            </a:r>
            <a:r>
              <a:rPr lang="sv-SE" dirty="0"/>
              <a:t>, </a:t>
            </a:r>
            <a:r>
              <a:rPr lang="sv-SE" dirty="0" err="1"/>
              <a:t>slide</a:t>
            </a:r>
            <a:r>
              <a:rPr lang="sv-SE" dirty="0"/>
              <a:t> </a:t>
            </a:r>
            <a:r>
              <a:rPr lang="sv-SE" dirty="0" err="1"/>
              <a:t>with</a:t>
            </a:r>
            <a:r>
              <a:rPr lang="sv-SE" dirty="0"/>
              <a:t> </a:t>
            </a:r>
            <a:r>
              <a:rPr lang="sv-SE" dirty="0" err="1"/>
              <a:t>two</a:t>
            </a:r>
            <a:r>
              <a:rPr lang="sv-SE" dirty="0"/>
              <a:t> parts </a:t>
            </a:r>
            <a:r>
              <a:rPr lang="sv-SE" dirty="0" err="1"/>
              <a:t>of</a:t>
            </a:r>
            <a:r>
              <a:rPr lang="sv-SE" dirty="0"/>
              <a:t> text</a:t>
            </a:r>
            <a:endParaRPr lang="en-US" dirty="0"/>
          </a:p>
        </p:txBody>
      </p:sp>
    </p:spTree>
    <p:extLst>
      <p:ext uri="{BB962C8B-B14F-4D97-AF65-F5344CB8AC3E}">
        <p14:creationId xmlns:p14="http://schemas.microsoft.com/office/powerpoint/2010/main" val="1250332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标题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39E2AA3-CB1E-40B2-AEE0-A53BBF549231}"/>
              </a:ext>
            </a:extLst>
          </p:cNvPr>
          <p:cNvSpPr>
            <a:spLocks noGrp="1"/>
          </p:cNvSpPr>
          <p:nvPr>
            <p:ph type="pic" sz="quarter" idx="16" hasCustomPrompt="1"/>
          </p:nvPr>
        </p:nvSpPr>
        <p:spPr>
          <a:xfrm>
            <a:off x="1" y="0"/>
            <a:ext cx="9147175" cy="5145088"/>
          </a:xfrm>
          <a:solidFill>
            <a:schemeClr val="bg1">
              <a:lumMod val="85000"/>
            </a:schemeClr>
          </a:solidFill>
        </p:spPr>
        <p:txBody>
          <a:bodyPr lIns="2016000" tIns="180000" rIns="0" anchor="ctr" anchorCtr="1">
            <a:normAutofit/>
          </a:bodyPr>
          <a:lstStyle>
            <a:lvl1pPr>
              <a:defRPr sz="1000" i="1">
                <a:solidFill>
                  <a:schemeClr val="tx1">
                    <a:lumMod val="50000"/>
                    <a:lumOff val="50000"/>
                  </a:schemeClr>
                </a:solidFill>
              </a:defRPr>
            </a:lvl1pPr>
          </a:lstStyle>
          <a:p>
            <a:r>
              <a:rPr lang="sv-SE" dirty="0"/>
              <a:t>&lt;&lt; </a:t>
            </a:r>
            <a:r>
              <a:rPr lang="ja-JP" altLang="sv-SE" dirty="0"/>
              <a:t>点击</a:t>
            </a:r>
            <a:r>
              <a:rPr lang="ja-JP" altLang="en-US" dirty="0"/>
              <a:t>添加深色背景图片</a:t>
            </a:r>
            <a:endParaRPr lang="en-US" dirty="0"/>
          </a:p>
        </p:txBody>
      </p:sp>
      <p:sp>
        <p:nvSpPr>
          <p:cNvPr id="16" name="Title 1">
            <a:extLst>
              <a:ext uri="{FF2B5EF4-FFF2-40B4-BE49-F238E27FC236}">
                <a16:creationId xmlns:a16="http://schemas.microsoft.com/office/drawing/2014/main" id="{FD345CC0-82DA-7048-839A-198E806AE622}"/>
              </a:ext>
            </a:extLst>
          </p:cNvPr>
          <p:cNvSpPr>
            <a:spLocks noGrp="1"/>
          </p:cNvSpPr>
          <p:nvPr>
            <p:ph type="ctrTitle" hasCustomPrompt="1"/>
          </p:nvPr>
        </p:nvSpPr>
        <p:spPr>
          <a:xfrm>
            <a:off x="360363" y="1348409"/>
            <a:ext cx="8389938" cy="504056"/>
          </a:xfrm>
          <a:prstGeom prst="rect">
            <a:avLst/>
          </a:prstGeom>
        </p:spPr>
        <p:txBody>
          <a:bodyPr lIns="0" anchor="t" anchorCtr="0">
            <a:noAutofit/>
          </a:bodyPr>
          <a:lstStyle>
            <a:lvl1pPr algn="ctr">
              <a:lnSpc>
                <a:spcPts val="3800"/>
              </a:lnSpc>
              <a:defRPr sz="3200" b="1" spc="50" baseline="0">
                <a:solidFill>
                  <a:schemeClr val="bg1"/>
                </a:solidFill>
                <a:latin typeface="微软雅黑" panose="020B0503020204020204" pitchFamily="34" charset="-122"/>
              </a:defRPr>
            </a:lvl1pPr>
            <a:lvl2pPr algn="ctr">
              <a:defRPr sz="3300">
                <a:latin typeface="Volvo Novum" panose="02000606020000020004" pitchFamily="2" charset="0"/>
              </a:defRPr>
            </a:lvl2pPr>
          </a:lstStyle>
          <a:p>
            <a:pPr lvl="0"/>
            <a:r>
              <a:rPr lang="ja-JP" altLang="en-GB" noProof="0" dirty="0"/>
              <a:t>点击</a:t>
            </a:r>
            <a:r>
              <a:rPr lang="ja-JP" altLang="en-US" noProof="0" dirty="0"/>
              <a:t>添加演示文档标题</a:t>
            </a:r>
            <a:endParaRPr lang="en-GB" noProof="0" dirty="0"/>
          </a:p>
        </p:txBody>
      </p:sp>
      <p:sp>
        <p:nvSpPr>
          <p:cNvPr id="7" name="Text Placeholder 2">
            <a:extLst>
              <a:ext uri="{FF2B5EF4-FFF2-40B4-BE49-F238E27FC236}">
                <a16:creationId xmlns:a16="http://schemas.microsoft.com/office/drawing/2014/main" id="{E81C2980-6720-467B-A58D-ADD7C7E48A77}"/>
              </a:ext>
            </a:extLst>
          </p:cNvPr>
          <p:cNvSpPr>
            <a:spLocks noGrp="1"/>
          </p:cNvSpPr>
          <p:nvPr>
            <p:ph type="body" sz="quarter" idx="14" hasCustomPrompt="1"/>
          </p:nvPr>
        </p:nvSpPr>
        <p:spPr>
          <a:xfrm>
            <a:off x="3545055" y="447399"/>
            <a:ext cx="2070435" cy="331515"/>
          </a:xfrm>
        </p:spPr>
        <p:txBody>
          <a:bodyPr>
            <a:noAutofit/>
          </a:bodyPr>
          <a:lstStyle>
            <a:lvl1pPr algn="ctr">
              <a:spcAft>
                <a:spcPts val="0"/>
              </a:spcAft>
              <a:defRPr sz="1000" b="0" i="1">
                <a:solidFill>
                  <a:schemeClr val="tx1">
                    <a:lumMod val="50000"/>
                    <a:lumOff val="50000"/>
                  </a:schemeClr>
                </a:solidFill>
                <a:latin typeface="微软雅黑" panose="020B0503020204020204" pitchFamily="34" charset="-122"/>
              </a:defRPr>
            </a:lvl1pPr>
            <a:lvl2pPr algn="ctr">
              <a:defRPr sz="1000" b="0" i="1">
                <a:solidFill>
                  <a:schemeClr val="bg2"/>
                </a:solidFill>
                <a:latin typeface="Volvo Novum Light" panose="020B0303040502060204" pitchFamily="34" charset="77"/>
              </a:defRPr>
            </a:lvl2pPr>
            <a:lvl3pPr algn="ctr">
              <a:defRPr sz="1000" b="0" i="1">
                <a:solidFill>
                  <a:schemeClr val="bg2"/>
                </a:solidFill>
                <a:latin typeface="Volvo Novum Light" panose="020B0303040502060204" pitchFamily="34" charset="77"/>
              </a:defRPr>
            </a:lvl3pPr>
            <a:lvl4pPr algn="ctr">
              <a:defRPr sz="1000" b="0" i="1">
                <a:solidFill>
                  <a:schemeClr val="bg2"/>
                </a:solidFill>
                <a:latin typeface="Volvo Novum Light" panose="020B0303040502060204" pitchFamily="34" charset="77"/>
              </a:defRPr>
            </a:lvl4pPr>
            <a:lvl5pPr algn="ctr">
              <a:defRPr sz="1000" b="0" i="1">
                <a:solidFill>
                  <a:schemeClr val="bg2"/>
                </a:solidFill>
                <a:latin typeface="Volvo Novum Light" panose="020B0303040502060204" pitchFamily="34" charset="77"/>
              </a:defRPr>
            </a:lvl5pPr>
          </a:lstStyle>
          <a:p>
            <a:pPr lvl="0"/>
            <a:r>
              <a:rPr lang="ja-JP" altLang="en-GB" dirty="0"/>
              <a:t>请注意</a:t>
            </a:r>
            <a:r>
              <a:rPr lang="zh-CN" altLang="en-US" dirty="0"/>
              <a:t>：</a:t>
            </a:r>
            <a:r>
              <a:rPr lang="en-US" altLang="zh-CN" dirty="0"/>
              <a:t>Logo</a:t>
            </a:r>
            <a:r>
              <a:rPr lang="ja-JP" altLang="en-US" dirty="0"/>
              <a:t>必须在每页上都可见</a:t>
            </a:r>
            <a:r>
              <a:rPr lang="zh-CN" altLang="en-US" dirty="0"/>
              <a:t>；</a:t>
            </a:r>
            <a:r>
              <a:rPr lang="ja-JP" altLang="en-US" dirty="0"/>
              <a:t>每个演示文档只应有一张标题页面</a:t>
            </a:r>
            <a:r>
              <a:rPr lang="zh-CN" altLang="en-US" dirty="0"/>
              <a:t>。</a:t>
            </a:r>
            <a:endParaRPr lang="en-GB" dirty="0"/>
          </a:p>
        </p:txBody>
      </p:sp>
      <p:sp>
        <p:nvSpPr>
          <p:cNvPr id="8" name="Text Placeholder 3">
            <a:extLst>
              <a:ext uri="{FF2B5EF4-FFF2-40B4-BE49-F238E27FC236}">
                <a16:creationId xmlns:a16="http://schemas.microsoft.com/office/drawing/2014/main" id="{43A38195-82B8-4C83-9B43-4A71EC21A1C3}"/>
              </a:ext>
            </a:extLst>
          </p:cNvPr>
          <p:cNvSpPr>
            <a:spLocks noGrp="1"/>
          </p:cNvSpPr>
          <p:nvPr>
            <p:ph type="body" sz="quarter" idx="15" hasCustomPrompt="1"/>
          </p:nvPr>
        </p:nvSpPr>
        <p:spPr>
          <a:xfrm>
            <a:off x="360363" y="4408488"/>
            <a:ext cx="8389938" cy="174664"/>
          </a:xfrm>
        </p:spPr>
        <p:txBody>
          <a:bodyPr anchor="b" anchorCtr="0">
            <a:noAutofit/>
          </a:bodyPr>
          <a:lstStyle>
            <a:lvl1pPr marL="0" indent="0" algn="ctr">
              <a:spcAft>
                <a:spcPts val="0"/>
              </a:spcAft>
              <a:buFontTx/>
              <a:buNone/>
              <a:tabLst/>
              <a:defRPr sz="1200">
                <a:solidFill>
                  <a:schemeClr val="bg1"/>
                </a:solidFill>
              </a:defRPr>
            </a:lvl1pPr>
            <a:lvl2pPr marL="0" indent="0" algn="ctr">
              <a:spcAft>
                <a:spcPts val="0"/>
              </a:spcAft>
              <a:buFontTx/>
              <a:buNone/>
              <a:tabLst/>
              <a:defRPr sz="1200"/>
            </a:lvl2pPr>
            <a:lvl3pPr marL="0" indent="0" algn="ctr">
              <a:spcAft>
                <a:spcPts val="0"/>
              </a:spcAft>
              <a:buFontTx/>
              <a:buNone/>
              <a:tabLst/>
              <a:defRPr sz="1200"/>
            </a:lvl3pPr>
            <a:lvl4pPr marL="0" indent="0" algn="ctr">
              <a:spcAft>
                <a:spcPts val="0"/>
              </a:spcAft>
              <a:buFontTx/>
              <a:buNone/>
              <a:tabLst/>
              <a:defRPr sz="1200"/>
            </a:lvl4pPr>
            <a:lvl5pPr marL="0" indent="0" algn="ctr">
              <a:spcAft>
                <a:spcPts val="0"/>
              </a:spcAft>
              <a:buFontTx/>
              <a:buNone/>
              <a:tabLst/>
              <a:defRPr sz="1200"/>
            </a:lvl5pPr>
            <a:lvl6pPr marL="0" indent="0" algn="ctr">
              <a:spcAft>
                <a:spcPts val="0"/>
              </a:spcAft>
              <a:buFontTx/>
              <a:buNone/>
              <a:tabLst/>
              <a:defRPr sz="1200"/>
            </a:lvl6pPr>
            <a:lvl7pPr marL="0" indent="0" algn="ctr">
              <a:spcAft>
                <a:spcPts val="0"/>
              </a:spcAft>
              <a:buFontTx/>
              <a:buNone/>
              <a:tabLst/>
              <a:defRPr sz="1200"/>
            </a:lvl7pPr>
            <a:lvl8pPr marL="0" indent="0" algn="ctr">
              <a:spcAft>
                <a:spcPts val="0"/>
              </a:spcAft>
              <a:buFontTx/>
              <a:buNone/>
              <a:tabLst/>
              <a:defRPr sz="1200"/>
            </a:lvl8pPr>
            <a:lvl9pPr marL="0" indent="0" algn="ctr">
              <a:spcAft>
                <a:spcPts val="0"/>
              </a:spcAft>
              <a:buFontTx/>
              <a:buNone/>
              <a:tabLst/>
              <a:defRPr sz="1200"/>
            </a:lvl9pPr>
          </a:lstStyle>
          <a:p>
            <a:pPr lvl="0"/>
            <a:r>
              <a:rPr lang="ja-JP" altLang="en-GB" noProof="0" dirty="0"/>
              <a:t>点击</a:t>
            </a:r>
            <a:r>
              <a:rPr lang="ja-JP" altLang="en-US" noProof="0" dirty="0"/>
              <a:t>添加演讲者姓名</a:t>
            </a:r>
            <a:r>
              <a:rPr lang="zh-CN" altLang="en-US" noProof="0" dirty="0"/>
              <a:t>，</a:t>
            </a:r>
            <a:r>
              <a:rPr lang="ja-JP" altLang="en-US" noProof="0" dirty="0"/>
              <a:t>安全级别</a:t>
            </a:r>
            <a:r>
              <a:rPr lang="en-GB" noProof="0" dirty="0"/>
              <a:t>: </a:t>
            </a:r>
            <a:r>
              <a:rPr lang="ja-JP" altLang="en-GB" noProof="0" dirty="0"/>
              <a:t>私有</a:t>
            </a:r>
            <a:r>
              <a:rPr lang="en-GB" noProof="0" dirty="0"/>
              <a:t>, </a:t>
            </a:r>
            <a:r>
              <a:rPr lang="ja-JP" altLang="en-GB" noProof="0" dirty="0"/>
              <a:t>机密或</a:t>
            </a:r>
            <a:r>
              <a:rPr lang="ja-JP" altLang="en-US" noProof="0" dirty="0"/>
              <a:t>公开</a:t>
            </a:r>
            <a:endParaRPr lang="en-GB" noProof="0" dirty="0"/>
          </a:p>
        </p:txBody>
      </p:sp>
      <p:pic>
        <p:nvPicPr>
          <p:cNvPr id="10" name="Bildobjekt 2">
            <a:extLst>
              <a:ext uri="{FF2B5EF4-FFF2-40B4-BE49-F238E27FC236}">
                <a16:creationId xmlns:a16="http://schemas.microsoft.com/office/drawing/2014/main" id="{A115B01A-43D9-435C-89E5-8028F3D8AD91}"/>
              </a:ext>
            </a:extLst>
          </p:cNvPr>
          <p:cNvPicPr>
            <a:picLocks noChangeAspect="1"/>
          </p:cNvPicPr>
          <p:nvPr userDrawn="1"/>
        </p:nvPicPr>
        <p:blipFill>
          <a:blip r:embed="rId2"/>
          <a:stretch>
            <a:fillRect/>
          </a:stretch>
        </p:blipFill>
        <p:spPr>
          <a:xfrm>
            <a:off x="4123588" y="216483"/>
            <a:ext cx="900000" cy="75848"/>
          </a:xfrm>
          <a:prstGeom prst="rect">
            <a:avLst/>
          </a:prstGeom>
          <a:noFill/>
        </p:spPr>
      </p:pic>
    </p:spTree>
    <p:extLst>
      <p:ext uri="{BB962C8B-B14F-4D97-AF65-F5344CB8AC3E}">
        <p14:creationId xmlns:p14="http://schemas.microsoft.com/office/powerpoint/2010/main" val="16879650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wo parts txt+picture">
    <p:spTree>
      <p:nvGrpSpPr>
        <p:cNvPr id="1" name=""/>
        <p:cNvGrpSpPr/>
        <p:nvPr/>
      </p:nvGrpSpPr>
      <p:grpSpPr>
        <a:xfrm>
          <a:off x="0" y="0"/>
          <a:ext cx="0" cy="0"/>
          <a:chOff x="0" y="0"/>
          <a:chExt cx="0" cy="0"/>
        </a:xfrm>
      </p:grpSpPr>
      <p:sp>
        <p:nvSpPr>
          <p:cNvPr id="9" name="Content Placeholder 2"/>
          <p:cNvSpPr>
            <a:spLocks noGrp="1"/>
          </p:cNvSpPr>
          <p:nvPr>
            <p:ph sz="half" idx="1" hasCustomPrompt="1"/>
          </p:nvPr>
        </p:nvSpPr>
        <p:spPr>
          <a:xfrm>
            <a:off x="453758" y="1322002"/>
            <a:ext cx="4051406" cy="3176180"/>
          </a:xfrm>
        </p:spPr>
        <p:txBody>
          <a:bodyPr>
            <a:normAutofit/>
          </a:bodyPr>
          <a:lstStyle>
            <a:lvl1pPr>
              <a:defRPr sz="1260" i="0"/>
            </a:lvl1pPr>
            <a:lvl2pPr>
              <a:defRPr sz="1260"/>
            </a:lvl2pPr>
            <a:lvl3pPr>
              <a:defRPr sz="1260"/>
            </a:lvl3pPr>
            <a:lvl4pPr>
              <a:defRPr sz="1260"/>
            </a:lvl4pPr>
            <a:lvl5pPr>
              <a:defRPr sz="1260"/>
            </a:lvl5pPr>
          </a:lstStyle>
          <a:p>
            <a:pPr lvl="0"/>
            <a:r>
              <a:rPr lang="en-US" dirty="0"/>
              <a:t>Click here to add bullet list or click corresponding icon to insert media or click to insert previously copied objects o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latshållare för innehåll 4"/>
          <p:cNvSpPr>
            <a:spLocks noGrp="1"/>
          </p:cNvSpPr>
          <p:nvPr>
            <p:ph sz="quarter" idx="12" hasCustomPrompt="1"/>
          </p:nvPr>
        </p:nvSpPr>
        <p:spPr>
          <a:xfrm>
            <a:off x="4634809" y="1327472"/>
            <a:ext cx="4051406" cy="3177091"/>
          </a:xfrm>
        </p:spPr>
        <p:txBody>
          <a:bodyPr>
            <a:normAutofit/>
          </a:bodyPr>
          <a:lstStyle>
            <a:lvl1pPr marL="0" marR="0" indent="0" algn="l" defTabSz="622398" rtl="0" eaLnBrk="1" fontAlgn="auto" latinLnBrk="0" hangingPunct="1">
              <a:lnSpc>
                <a:spcPct val="90000"/>
              </a:lnSpc>
              <a:spcBef>
                <a:spcPts val="680"/>
              </a:spcBef>
              <a:spcAft>
                <a:spcPts val="0"/>
              </a:spcAft>
              <a:buClrTx/>
              <a:buSzTx/>
              <a:buFont typeface="Arial" panose="020B0604020202020204" pitchFamily="34" charset="0"/>
              <a:buNone/>
              <a:tabLst/>
              <a:defRPr sz="1260" i="1" baseline="0"/>
            </a:lvl1pPr>
          </a:lstStyle>
          <a:p>
            <a:pPr marL="0" marR="0" lvl="0" indent="0" algn="l" defTabSz="622398" rtl="0" eaLnBrk="1" fontAlgn="auto" latinLnBrk="0" hangingPunct="1">
              <a:lnSpc>
                <a:spcPct val="90000"/>
              </a:lnSpc>
              <a:spcBef>
                <a:spcPts val="680"/>
              </a:spcBef>
              <a:spcAft>
                <a:spcPts val="0"/>
              </a:spcAft>
              <a:buClrTx/>
              <a:buSzTx/>
              <a:buFont typeface="Arial" panose="020B0604020202020204" pitchFamily="34" charset="0"/>
              <a:buNone/>
              <a:tabLst/>
              <a:defRPr/>
            </a:pPr>
            <a:r>
              <a:rPr lang="en-US" dirty="0"/>
              <a:t>Click corresponding icon to insert media or click here to insert previously copied objects.</a:t>
            </a:r>
          </a:p>
          <a:p>
            <a:pPr lvl="0"/>
            <a:endParaRPr lang="en-GB" noProof="0" dirty="0"/>
          </a:p>
        </p:txBody>
      </p:sp>
      <p:sp>
        <p:nvSpPr>
          <p:cNvPr id="21" name="Title Placeholder 1"/>
          <p:cNvSpPr>
            <a:spLocks noGrp="1"/>
          </p:cNvSpPr>
          <p:nvPr>
            <p:ph type="title" hasCustomPrompt="1"/>
          </p:nvPr>
        </p:nvSpPr>
        <p:spPr>
          <a:xfrm>
            <a:off x="453757" y="427046"/>
            <a:ext cx="7250397" cy="583380"/>
          </a:xfrm>
          <a:prstGeom prst="rect">
            <a:avLst/>
          </a:prstGeom>
        </p:spPr>
        <p:txBody>
          <a:bodyPr vert="horz" wrap="none" lIns="0" tIns="0" rIns="0" bIns="0" rtlCol="0" anchor="b">
            <a:noAutofit/>
          </a:bodyPr>
          <a:lstStyle>
            <a:lvl1pPr>
              <a:defRPr sz="3601" baseline="0">
                <a:latin typeface="微软雅黑" panose="020B0503020204020204" pitchFamily="34" charset="-122"/>
                <a:ea typeface="微软雅黑" panose="020B0503020204020204" pitchFamily="34" charset="-122"/>
              </a:defRPr>
            </a:lvl1pPr>
          </a:lstStyle>
          <a:p>
            <a:r>
              <a:rPr lang="sv-SE" dirty="0" err="1"/>
              <a:t>Add</a:t>
            </a:r>
            <a:r>
              <a:rPr lang="sv-SE" dirty="0"/>
              <a:t> </a:t>
            </a:r>
            <a:r>
              <a:rPr lang="sv-SE" dirty="0" err="1"/>
              <a:t>Title</a:t>
            </a:r>
            <a:r>
              <a:rPr lang="sv-SE" dirty="0"/>
              <a:t>, </a:t>
            </a:r>
            <a:r>
              <a:rPr lang="sv-SE" dirty="0" err="1"/>
              <a:t>slide</a:t>
            </a:r>
            <a:r>
              <a:rPr lang="sv-SE" dirty="0"/>
              <a:t> </a:t>
            </a:r>
            <a:r>
              <a:rPr lang="sv-SE" dirty="0" err="1"/>
              <a:t>with</a:t>
            </a:r>
            <a:r>
              <a:rPr lang="sv-SE" dirty="0"/>
              <a:t> text + media</a:t>
            </a:r>
            <a:endParaRPr lang="en-US" dirty="0"/>
          </a:p>
        </p:txBody>
      </p:sp>
      <p:pic>
        <p:nvPicPr>
          <p:cNvPr id="13" name="Bildobjekt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7990" y="324100"/>
            <a:ext cx="648225" cy="648200"/>
          </a:xfrm>
          <a:prstGeom prst="rect">
            <a:avLst/>
          </a:prstGeom>
        </p:spPr>
      </p:pic>
      <p:cxnSp>
        <p:nvCxnSpPr>
          <p:cNvPr id="14" name="Rak 13"/>
          <p:cNvCxnSpPr/>
          <p:nvPr userDrawn="1"/>
        </p:nvCxnSpPr>
        <p:spPr>
          <a:xfrm>
            <a:off x="453758" y="1175818"/>
            <a:ext cx="8222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p:cNvCxnSpPr/>
          <p:nvPr userDrawn="1"/>
        </p:nvCxnSpPr>
        <p:spPr>
          <a:xfrm>
            <a:off x="453758" y="4761714"/>
            <a:ext cx="82011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5"/>
          <p:cNvSpPr>
            <a:spLocks noGrp="1"/>
          </p:cNvSpPr>
          <p:nvPr>
            <p:ph type="sldNum" sz="quarter" idx="4"/>
          </p:nvPr>
        </p:nvSpPr>
        <p:spPr>
          <a:xfrm>
            <a:off x="7380042" y="4825361"/>
            <a:ext cx="1296450" cy="122508"/>
          </a:xfrm>
          <a:prstGeom prst="rect">
            <a:avLst/>
          </a:prstGeom>
        </p:spPr>
        <p:txBody>
          <a:bodyPr vert="horz" wrap="none" lIns="0" tIns="0" rIns="0" bIns="0" rtlCol="0" anchor="t"/>
          <a:lstStyle>
            <a:lvl1pPr algn="r">
              <a:defRPr sz="700">
                <a:solidFill>
                  <a:schemeClr val="tx1"/>
                </a:solidFill>
              </a:defRPr>
            </a:lvl1pPr>
          </a:lstStyle>
          <a:p>
            <a:fld id="{6F67B5D9-DB62-4DEA-AF3E-B11D0AE898D7}" type="slidenum">
              <a:rPr lang="sv-SE" smtClean="0"/>
              <a:pPr/>
              <a:t>‹#›</a:t>
            </a:fld>
            <a:endParaRPr lang="sv-SE"/>
          </a:p>
        </p:txBody>
      </p:sp>
    </p:spTree>
    <p:extLst>
      <p:ext uri="{BB962C8B-B14F-4D97-AF65-F5344CB8AC3E}">
        <p14:creationId xmlns:p14="http://schemas.microsoft.com/office/powerpoint/2010/main" val="429369513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Two parts txt+picture">
    <p:spTree>
      <p:nvGrpSpPr>
        <p:cNvPr id="1" name=""/>
        <p:cNvGrpSpPr/>
        <p:nvPr/>
      </p:nvGrpSpPr>
      <p:grpSpPr>
        <a:xfrm>
          <a:off x="0" y="0"/>
          <a:ext cx="0" cy="0"/>
          <a:chOff x="0" y="0"/>
          <a:chExt cx="0" cy="0"/>
        </a:xfrm>
      </p:grpSpPr>
      <p:sp>
        <p:nvSpPr>
          <p:cNvPr id="9" name="Content Placeholder 2"/>
          <p:cNvSpPr>
            <a:spLocks noGrp="1"/>
          </p:cNvSpPr>
          <p:nvPr>
            <p:ph sz="half" idx="1" hasCustomPrompt="1"/>
          </p:nvPr>
        </p:nvSpPr>
        <p:spPr>
          <a:xfrm>
            <a:off x="453758" y="1322002"/>
            <a:ext cx="4051406" cy="3176180"/>
          </a:xfrm>
        </p:spPr>
        <p:txBody>
          <a:bodyPr>
            <a:normAutofit/>
          </a:bodyPr>
          <a:lstStyle>
            <a:lvl1pPr>
              <a:defRPr sz="1260" i="0"/>
            </a:lvl1pPr>
            <a:lvl2pPr>
              <a:defRPr sz="1260"/>
            </a:lvl2pPr>
            <a:lvl3pPr>
              <a:defRPr sz="1260"/>
            </a:lvl3pPr>
            <a:lvl4pPr>
              <a:defRPr sz="1260"/>
            </a:lvl4pPr>
            <a:lvl5pPr>
              <a:defRPr sz="1260"/>
            </a:lvl5pPr>
          </a:lstStyle>
          <a:p>
            <a:pPr lvl="0"/>
            <a:r>
              <a:rPr lang="en-US" dirty="0"/>
              <a:t>Click here to add bullet list or click corresponding icon to insert media or click to insert previously copied objects o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latshållare för innehåll 4"/>
          <p:cNvSpPr>
            <a:spLocks noGrp="1"/>
          </p:cNvSpPr>
          <p:nvPr>
            <p:ph sz="quarter" idx="12" hasCustomPrompt="1"/>
          </p:nvPr>
        </p:nvSpPr>
        <p:spPr>
          <a:xfrm>
            <a:off x="4634809" y="1327472"/>
            <a:ext cx="4051406" cy="3177091"/>
          </a:xfrm>
        </p:spPr>
        <p:txBody>
          <a:bodyPr>
            <a:normAutofit/>
          </a:bodyPr>
          <a:lstStyle>
            <a:lvl1pPr marL="0" marR="0" indent="0" algn="l" defTabSz="622398" rtl="0" eaLnBrk="1" fontAlgn="auto" latinLnBrk="0" hangingPunct="1">
              <a:lnSpc>
                <a:spcPct val="90000"/>
              </a:lnSpc>
              <a:spcBef>
                <a:spcPts val="680"/>
              </a:spcBef>
              <a:spcAft>
                <a:spcPts val="0"/>
              </a:spcAft>
              <a:buClrTx/>
              <a:buSzTx/>
              <a:buFont typeface="Arial" panose="020B0604020202020204" pitchFamily="34" charset="0"/>
              <a:buNone/>
              <a:tabLst/>
              <a:defRPr sz="1260" i="1" baseline="0"/>
            </a:lvl1pPr>
          </a:lstStyle>
          <a:p>
            <a:pPr marL="0" marR="0" lvl="0" indent="0" algn="l" defTabSz="622398" rtl="0" eaLnBrk="1" fontAlgn="auto" latinLnBrk="0" hangingPunct="1">
              <a:lnSpc>
                <a:spcPct val="90000"/>
              </a:lnSpc>
              <a:spcBef>
                <a:spcPts val="680"/>
              </a:spcBef>
              <a:spcAft>
                <a:spcPts val="0"/>
              </a:spcAft>
              <a:buClrTx/>
              <a:buSzTx/>
              <a:buFont typeface="Arial" panose="020B0604020202020204" pitchFamily="34" charset="0"/>
              <a:buNone/>
              <a:tabLst/>
              <a:defRPr/>
            </a:pPr>
            <a:r>
              <a:rPr lang="en-US" dirty="0"/>
              <a:t>Click corresponding icon to insert media or click here to insert previously copied objects.</a:t>
            </a:r>
          </a:p>
          <a:p>
            <a:pPr lvl="0"/>
            <a:endParaRPr lang="en-GB" noProof="0" dirty="0"/>
          </a:p>
        </p:txBody>
      </p:sp>
      <p:sp>
        <p:nvSpPr>
          <p:cNvPr id="21" name="Title Placeholder 1"/>
          <p:cNvSpPr>
            <a:spLocks noGrp="1"/>
          </p:cNvSpPr>
          <p:nvPr>
            <p:ph type="title" hasCustomPrompt="1"/>
          </p:nvPr>
        </p:nvSpPr>
        <p:spPr>
          <a:xfrm>
            <a:off x="453757" y="427046"/>
            <a:ext cx="7250397" cy="583380"/>
          </a:xfrm>
          <a:prstGeom prst="rect">
            <a:avLst/>
          </a:prstGeom>
        </p:spPr>
        <p:txBody>
          <a:bodyPr vert="horz" wrap="none" lIns="0" tIns="0" rIns="0" bIns="0" rtlCol="0" anchor="b">
            <a:noAutofit/>
          </a:bodyPr>
          <a:lstStyle>
            <a:lvl1pPr>
              <a:defRPr sz="3601" baseline="0">
                <a:latin typeface="微软雅黑" panose="020B0503020204020204" pitchFamily="34" charset="-122"/>
                <a:ea typeface="微软雅黑" panose="020B0503020204020204" pitchFamily="34" charset="-122"/>
              </a:defRPr>
            </a:lvl1pPr>
          </a:lstStyle>
          <a:p>
            <a:r>
              <a:rPr lang="sv-SE" dirty="0" err="1"/>
              <a:t>Add</a:t>
            </a:r>
            <a:r>
              <a:rPr lang="sv-SE" dirty="0"/>
              <a:t> </a:t>
            </a:r>
            <a:r>
              <a:rPr lang="sv-SE" dirty="0" err="1"/>
              <a:t>Title</a:t>
            </a:r>
            <a:r>
              <a:rPr lang="sv-SE" dirty="0"/>
              <a:t>, </a:t>
            </a:r>
            <a:r>
              <a:rPr lang="sv-SE" dirty="0" err="1"/>
              <a:t>slide</a:t>
            </a:r>
            <a:r>
              <a:rPr lang="sv-SE" dirty="0"/>
              <a:t> </a:t>
            </a:r>
            <a:r>
              <a:rPr lang="sv-SE" dirty="0" err="1"/>
              <a:t>with</a:t>
            </a:r>
            <a:r>
              <a:rPr lang="sv-SE" dirty="0"/>
              <a:t> text + media</a:t>
            </a:r>
            <a:endParaRPr lang="en-US" dirty="0"/>
          </a:p>
        </p:txBody>
      </p:sp>
      <p:pic>
        <p:nvPicPr>
          <p:cNvPr id="13" name="Bildobjekt 1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7990" y="324100"/>
            <a:ext cx="648225" cy="648200"/>
          </a:xfrm>
          <a:prstGeom prst="rect">
            <a:avLst/>
          </a:prstGeom>
        </p:spPr>
      </p:pic>
      <p:cxnSp>
        <p:nvCxnSpPr>
          <p:cNvPr id="14" name="Rak 13"/>
          <p:cNvCxnSpPr/>
          <p:nvPr userDrawn="1"/>
        </p:nvCxnSpPr>
        <p:spPr>
          <a:xfrm>
            <a:off x="453758" y="1175818"/>
            <a:ext cx="8222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Rak 19"/>
          <p:cNvCxnSpPr/>
          <p:nvPr userDrawn="1"/>
        </p:nvCxnSpPr>
        <p:spPr>
          <a:xfrm>
            <a:off x="453758" y="4761714"/>
            <a:ext cx="82011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Slide Number Placeholder 5"/>
          <p:cNvSpPr>
            <a:spLocks noGrp="1"/>
          </p:cNvSpPr>
          <p:nvPr>
            <p:ph type="sldNum" sz="quarter" idx="4"/>
          </p:nvPr>
        </p:nvSpPr>
        <p:spPr>
          <a:xfrm>
            <a:off x="7380042" y="4825361"/>
            <a:ext cx="1296450" cy="122508"/>
          </a:xfrm>
          <a:prstGeom prst="rect">
            <a:avLst/>
          </a:prstGeom>
        </p:spPr>
        <p:txBody>
          <a:bodyPr vert="horz" wrap="none" lIns="0" tIns="0" rIns="0" bIns="0" rtlCol="0" anchor="t"/>
          <a:lstStyle>
            <a:lvl1pPr algn="r">
              <a:defRPr sz="700">
                <a:solidFill>
                  <a:schemeClr val="tx1"/>
                </a:solidFill>
              </a:defRPr>
            </a:lvl1pPr>
          </a:lstStyle>
          <a:p>
            <a:fld id="{6F67B5D9-DB62-4DEA-AF3E-B11D0AE898D7}" type="slidenum">
              <a:rPr lang="sv-SE" smtClean="0"/>
              <a:pPr/>
              <a:t>‹#›</a:t>
            </a:fld>
            <a:endParaRPr lang="sv-SE" dirty="0"/>
          </a:p>
        </p:txBody>
      </p:sp>
    </p:spTree>
    <p:extLst>
      <p:ext uri="{BB962C8B-B14F-4D97-AF65-F5344CB8AC3E}">
        <p14:creationId xmlns:p14="http://schemas.microsoft.com/office/powerpoint/2010/main" val="1539626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slide without image">
    <p:spTree>
      <p:nvGrpSpPr>
        <p:cNvPr id="1" name=""/>
        <p:cNvGrpSpPr/>
        <p:nvPr/>
      </p:nvGrpSpPr>
      <p:grpSpPr>
        <a:xfrm>
          <a:off x="0" y="0"/>
          <a:ext cx="0" cy="0"/>
          <a:chOff x="0" y="0"/>
          <a:chExt cx="0" cy="0"/>
        </a:xfrm>
      </p:grpSpPr>
      <p:sp>
        <p:nvSpPr>
          <p:cNvPr id="8" name="Rubrik 1"/>
          <p:cNvSpPr>
            <a:spLocks noGrp="1"/>
          </p:cNvSpPr>
          <p:nvPr>
            <p:ph type="title" hasCustomPrompt="1"/>
          </p:nvPr>
        </p:nvSpPr>
        <p:spPr>
          <a:xfrm>
            <a:off x="453758" y="1198557"/>
            <a:ext cx="3841402" cy="2629194"/>
          </a:xfrm>
          <a:prstGeom prst="rect">
            <a:avLst/>
          </a:prstGeom>
        </p:spPr>
        <p:txBody>
          <a:bodyPr wrap="square"/>
          <a:lstStyle>
            <a:lvl1pPr>
              <a:defRPr sz="3601">
                <a:latin typeface="微软雅黑" panose="020B0503020204020204" pitchFamily="34" charset="-122"/>
                <a:ea typeface="微软雅黑" panose="020B0503020204020204" pitchFamily="34" charset="-122"/>
              </a:defRPr>
            </a:lvl1pPr>
          </a:lstStyle>
          <a:p>
            <a:r>
              <a:rPr lang="en-GB" noProof="0" dirty="0"/>
              <a:t>Presentation Title</a:t>
            </a:r>
          </a:p>
        </p:txBody>
      </p:sp>
      <p:pic>
        <p:nvPicPr>
          <p:cNvPr id="4" name="Bildobjekt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7990" y="324100"/>
            <a:ext cx="648225" cy="648200"/>
          </a:xfrm>
          <a:prstGeom prst="rect">
            <a:avLst/>
          </a:prstGeom>
        </p:spPr>
      </p:pic>
      <p:sp>
        <p:nvSpPr>
          <p:cNvPr id="10" name="Slide Number Placeholder 5"/>
          <p:cNvSpPr>
            <a:spLocks noGrp="1"/>
          </p:cNvSpPr>
          <p:nvPr>
            <p:ph type="sldNum" sz="quarter" idx="4"/>
          </p:nvPr>
        </p:nvSpPr>
        <p:spPr>
          <a:xfrm>
            <a:off x="7380042" y="4825361"/>
            <a:ext cx="1296450" cy="122508"/>
          </a:xfrm>
          <a:prstGeom prst="rect">
            <a:avLst/>
          </a:prstGeom>
        </p:spPr>
        <p:txBody>
          <a:bodyPr vert="horz" wrap="none" lIns="0" tIns="0" rIns="0" bIns="0" rtlCol="0" anchor="t"/>
          <a:lstStyle>
            <a:lvl1pPr algn="r">
              <a:defRPr sz="700">
                <a:solidFill>
                  <a:schemeClr val="tx1"/>
                </a:solidFill>
              </a:defRPr>
            </a:lvl1pPr>
          </a:lstStyle>
          <a:p>
            <a:fld id="{6F67B5D9-DB62-4DEA-AF3E-B11D0AE898D7}" type="slidenum">
              <a:rPr lang="sv-SE" smtClean="0"/>
              <a:pPr/>
              <a:t>‹#›</a:t>
            </a:fld>
            <a:endParaRPr lang="sv-SE"/>
          </a:p>
        </p:txBody>
      </p:sp>
    </p:spTree>
    <p:extLst>
      <p:ext uri="{BB962C8B-B14F-4D97-AF65-F5344CB8AC3E}">
        <p14:creationId xmlns:p14="http://schemas.microsoft.com/office/powerpoint/2010/main" val="19821867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with one placeholder">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453758" y="1323084"/>
            <a:ext cx="8222734" cy="3111360"/>
          </a:xfrm>
        </p:spPr>
        <p:txBody>
          <a:bodyPr>
            <a:normAutofit/>
          </a:bodyPr>
          <a:lstStyle>
            <a:lvl1pPr>
              <a:defRPr sz="1440" i="0" baseline="0"/>
            </a:lvl1pPr>
            <a:lvl2pPr>
              <a:defRPr sz="1440"/>
            </a:lvl2pPr>
            <a:lvl3pPr>
              <a:defRPr sz="1440"/>
            </a:lvl3pPr>
            <a:lvl4pPr>
              <a:defRPr sz="1440"/>
            </a:lvl4pPr>
            <a:lvl5pPr>
              <a:defRPr sz="1440"/>
            </a:lvl5pPr>
          </a:lstStyle>
          <a:p>
            <a:pPr lvl="0"/>
            <a:r>
              <a:rPr lang="en-US" dirty="0"/>
              <a:t>Click corresponding icon to insert media or click here to add bullet list or to insert previously copied objects or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Placeholder 1"/>
          <p:cNvSpPr>
            <a:spLocks noGrp="1"/>
          </p:cNvSpPr>
          <p:nvPr>
            <p:ph type="title" hasCustomPrompt="1"/>
          </p:nvPr>
        </p:nvSpPr>
        <p:spPr>
          <a:xfrm>
            <a:off x="453757" y="427046"/>
            <a:ext cx="7250397" cy="583380"/>
          </a:xfrm>
          <a:prstGeom prst="rect">
            <a:avLst/>
          </a:prstGeom>
        </p:spPr>
        <p:txBody>
          <a:bodyPr vert="horz" wrap="none" lIns="0" tIns="0" rIns="0" bIns="0" rtlCol="0" anchor="b">
            <a:noAutofit/>
          </a:bodyPr>
          <a:lstStyle>
            <a:lvl1pPr>
              <a:defRPr sz="3601">
                <a:latin typeface="微软雅黑" panose="020B0503020204020204" pitchFamily="34" charset="-122"/>
                <a:ea typeface="微软雅黑" panose="020B0503020204020204" pitchFamily="34" charset="-122"/>
              </a:defRPr>
            </a:lvl1pPr>
          </a:lstStyle>
          <a:p>
            <a:r>
              <a:rPr lang="en-GB" noProof="0" dirty="0"/>
              <a:t>add title, one row</a:t>
            </a:r>
          </a:p>
        </p:txBody>
      </p:sp>
      <p:pic>
        <p:nvPicPr>
          <p:cNvPr id="11" name="Bildobjekt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37990" y="324100"/>
            <a:ext cx="648225" cy="648200"/>
          </a:xfrm>
          <a:prstGeom prst="rect">
            <a:avLst/>
          </a:prstGeom>
        </p:spPr>
      </p:pic>
      <p:cxnSp>
        <p:nvCxnSpPr>
          <p:cNvPr id="12" name="Rak 11"/>
          <p:cNvCxnSpPr/>
          <p:nvPr userDrawn="1"/>
        </p:nvCxnSpPr>
        <p:spPr>
          <a:xfrm>
            <a:off x="453758" y="1175818"/>
            <a:ext cx="822273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0" name="Slide Number Placeholder 5"/>
          <p:cNvSpPr>
            <a:spLocks noGrp="1"/>
          </p:cNvSpPr>
          <p:nvPr>
            <p:ph type="sldNum" sz="quarter" idx="4"/>
          </p:nvPr>
        </p:nvSpPr>
        <p:spPr>
          <a:xfrm>
            <a:off x="7380042" y="4825361"/>
            <a:ext cx="1296450" cy="122508"/>
          </a:xfrm>
          <a:prstGeom prst="rect">
            <a:avLst/>
          </a:prstGeom>
        </p:spPr>
        <p:txBody>
          <a:bodyPr vert="horz" wrap="none" lIns="0" tIns="0" rIns="0" bIns="0" rtlCol="0" anchor="t"/>
          <a:lstStyle>
            <a:lvl1pPr algn="r">
              <a:defRPr sz="700">
                <a:solidFill>
                  <a:schemeClr val="tx1"/>
                </a:solidFill>
              </a:defRPr>
            </a:lvl1pPr>
          </a:lstStyle>
          <a:p>
            <a:fld id="{6F67B5D9-DB62-4DEA-AF3E-B11D0AE898D7}" type="slidenum">
              <a:rPr lang="sv-SE" smtClean="0"/>
              <a:pPr/>
              <a:t>‹#›</a:t>
            </a:fld>
            <a:endParaRPr lang="sv-SE"/>
          </a:p>
        </p:txBody>
      </p:sp>
    </p:spTree>
    <p:extLst>
      <p:ext uri="{BB962C8B-B14F-4D97-AF65-F5344CB8AC3E}">
        <p14:creationId xmlns:p14="http://schemas.microsoft.com/office/powerpoint/2010/main" val="28987814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录">
    <p:spTree>
      <p:nvGrpSpPr>
        <p:cNvPr id="1" name=""/>
        <p:cNvGrpSpPr/>
        <p:nvPr/>
      </p:nvGrpSpPr>
      <p:grpSpPr>
        <a:xfrm>
          <a:off x="0" y="0"/>
          <a:ext cx="0" cy="0"/>
          <a:chOff x="0" y="0"/>
          <a:chExt cx="0" cy="0"/>
        </a:xfrm>
      </p:grpSpPr>
      <p:sp>
        <p:nvSpPr>
          <p:cNvPr id="17" name="Text Placeholder 13">
            <a:extLst>
              <a:ext uri="{FF2B5EF4-FFF2-40B4-BE49-F238E27FC236}">
                <a16:creationId xmlns:a16="http://schemas.microsoft.com/office/drawing/2014/main" id="{92F19429-57EE-C840-A4AA-A3ADD15C9F09}"/>
              </a:ext>
            </a:extLst>
          </p:cNvPr>
          <p:cNvSpPr>
            <a:spLocks noGrp="1"/>
          </p:cNvSpPr>
          <p:nvPr>
            <p:ph type="body" sz="quarter" idx="36" hasCustomPrompt="1"/>
          </p:nvPr>
        </p:nvSpPr>
        <p:spPr>
          <a:xfrm>
            <a:off x="360364" y="1347788"/>
            <a:ext cx="8389936" cy="3457575"/>
          </a:xfrm>
        </p:spPr>
        <p:txBody>
          <a:bodyPr anchor="t" anchorCtr="0">
            <a:normAutofit/>
          </a:bodyPr>
          <a:lstStyle>
            <a:lvl1pPr marL="228592" indent="-228592" algn="l">
              <a:lnSpc>
                <a:spcPct val="120000"/>
              </a:lnSpc>
              <a:spcAft>
                <a:spcPts val="0"/>
              </a:spcAft>
              <a:buSzPct val="100000"/>
              <a:buFont typeface="+mj-lt"/>
              <a:buAutoNum type="arabicPeriod"/>
              <a:tabLst/>
              <a:defRPr sz="1400"/>
            </a:lvl1pPr>
            <a:lvl2pPr marL="241291" indent="123820" algn="l">
              <a:lnSpc>
                <a:spcPct val="120000"/>
              </a:lnSpc>
              <a:spcAft>
                <a:spcPts val="0"/>
              </a:spcAft>
              <a:buSzPct val="100000"/>
              <a:buFont typeface="Volvo Novum Light" panose="020B0604020202020204" pitchFamily="34" charset="0"/>
              <a:buChar char="•"/>
              <a:tabLst/>
              <a:defRPr sz="1200"/>
            </a:lvl2pPr>
            <a:lvl3pPr marL="368287" indent="120646" algn="l">
              <a:lnSpc>
                <a:spcPct val="120000"/>
              </a:lnSpc>
              <a:spcAft>
                <a:spcPts val="0"/>
              </a:spcAft>
              <a:buSzPct val="100000"/>
              <a:buFont typeface="Volvo Novum Light" panose="020B0604020202020204" pitchFamily="34" charset="0"/>
              <a:buChar char="•"/>
              <a:tabLst/>
              <a:defRPr sz="1100"/>
            </a:lvl3pPr>
            <a:lvl4pPr marL="488932" indent="123820" algn="l">
              <a:lnSpc>
                <a:spcPct val="120000"/>
              </a:lnSpc>
              <a:spcAft>
                <a:spcPts val="0"/>
              </a:spcAft>
              <a:buSzPct val="100000"/>
              <a:buFont typeface="Volvo Novum Light" panose="020B0604020202020204" pitchFamily="34" charset="0"/>
              <a:buChar char="•"/>
              <a:tabLst/>
              <a:defRPr sz="1000"/>
            </a:lvl4pPr>
            <a:lvl5pPr marL="623865" indent="109534" algn="l">
              <a:lnSpc>
                <a:spcPct val="120000"/>
              </a:lnSpc>
              <a:spcAft>
                <a:spcPts val="0"/>
              </a:spcAft>
              <a:buSzPct val="100000"/>
              <a:buFont typeface="Volvo Novum Light" panose="020B0604020202020204" pitchFamily="34" charset="0"/>
              <a:buChar char="•"/>
              <a:tabLst/>
              <a:defRPr sz="900"/>
            </a:lvl5pPr>
            <a:lvl6pPr marL="742923" indent="104772" algn="l">
              <a:lnSpc>
                <a:spcPct val="120000"/>
              </a:lnSpc>
              <a:spcAft>
                <a:spcPts val="0"/>
              </a:spcAft>
              <a:buSzPct val="100000"/>
              <a:buFont typeface="Volvo Novum Light" panose="020B0604020202020204" pitchFamily="34" charset="0"/>
              <a:buChar char="•"/>
              <a:tabLst/>
              <a:defRPr sz="800"/>
            </a:lvl6pPr>
            <a:lvl7pPr marL="741573" indent="104396">
              <a:lnSpc>
                <a:spcPct val="120000"/>
              </a:lnSpc>
              <a:spcBef>
                <a:spcPts val="0"/>
              </a:spcBef>
              <a:spcAft>
                <a:spcPts val="0"/>
              </a:spcAft>
              <a:tabLst/>
              <a:defRPr sz="800" b="0" i="0">
                <a:latin typeface="微软雅黑" panose="020B0503020204020204" pitchFamily="34" charset="-122"/>
                <a:ea typeface="微软雅黑" panose="020B0503020204020204" pitchFamily="34" charset="-122"/>
              </a:defRPr>
            </a:lvl7pPr>
            <a:lvl8pPr marL="741573" indent="104396">
              <a:lnSpc>
                <a:spcPct val="150000"/>
              </a:lnSpc>
              <a:spcBef>
                <a:spcPts val="0"/>
              </a:spcBef>
              <a:spcAft>
                <a:spcPts val="0"/>
              </a:spcAft>
              <a:tabLst/>
              <a:defRPr sz="800" b="0" i="0">
                <a:latin typeface="Volvo Novum Light" panose="020B0303040502060204" pitchFamily="34" charset="77"/>
              </a:defRPr>
            </a:lvl8pPr>
            <a:lvl9pPr marL="741573" indent="104396">
              <a:lnSpc>
                <a:spcPct val="150000"/>
              </a:lnSpc>
              <a:spcBef>
                <a:spcPts val="0"/>
              </a:spcBef>
              <a:spcAft>
                <a:spcPts val="0"/>
              </a:spcAft>
              <a:tabLst/>
              <a:defRPr sz="800" b="0" i="0">
                <a:latin typeface="Volvo Novum Light" panose="020B0303040502060204" pitchFamily="34" charset="77"/>
              </a:defRPr>
            </a:lvl9pPr>
          </a:lstStyle>
          <a:p>
            <a:pPr lvl="0"/>
            <a:r>
              <a:rPr lang="ja-JP" altLang="en-GB" noProof="0" dirty="0"/>
              <a:t>点击</a:t>
            </a:r>
            <a:r>
              <a:rPr lang="ja-JP" altLang="en-US" noProof="0" dirty="0"/>
              <a:t>添加条目</a:t>
            </a:r>
            <a:endParaRPr lang="en-GB" noProof="0" dirty="0"/>
          </a:p>
          <a:p>
            <a:pPr lvl="1"/>
            <a:r>
              <a:rPr lang="ja-JP" altLang="en-GB" noProof="0" dirty="0"/>
              <a:t>第二</a:t>
            </a:r>
            <a:r>
              <a:rPr lang="ja-JP" altLang="en-US" noProof="0" dirty="0"/>
              <a:t>层级</a:t>
            </a:r>
            <a:endParaRPr lang="en-GB" noProof="0" dirty="0"/>
          </a:p>
          <a:p>
            <a:pPr lvl="2"/>
            <a:r>
              <a:rPr lang="ja-JP" altLang="en-US" noProof="0" dirty="0"/>
              <a:t>第三层级</a:t>
            </a:r>
            <a:endParaRPr lang="en-GB" noProof="0" dirty="0"/>
          </a:p>
          <a:p>
            <a:pPr lvl="3"/>
            <a:r>
              <a:rPr lang="ja-JP" altLang="en-GB" noProof="0" dirty="0"/>
              <a:t>第四</a:t>
            </a:r>
            <a:r>
              <a:rPr lang="ja-JP" altLang="en-US" noProof="0" dirty="0"/>
              <a:t>层级</a:t>
            </a:r>
            <a:endParaRPr lang="en-GB" noProof="0" dirty="0"/>
          </a:p>
          <a:p>
            <a:pPr lvl="4"/>
            <a:r>
              <a:rPr lang="ja-JP" altLang="en-GB" noProof="0" dirty="0"/>
              <a:t>第五</a:t>
            </a:r>
            <a:r>
              <a:rPr lang="ja-JP" altLang="en-US" noProof="0" dirty="0"/>
              <a:t>层级</a:t>
            </a:r>
            <a:endParaRPr lang="en-GB" noProof="0" dirty="0"/>
          </a:p>
          <a:p>
            <a:pPr lvl="5"/>
            <a:r>
              <a:rPr lang="ja-JP" altLang="en-GB" noProof="0" dirty="0"/>
              <a:t>第六</a:t>
            </a:r>
            <a:r>
              <a:rPr lang="ja-JP" altLang="en-US" noProof="0" dirty="0"/>
              <a:t>层级</a:t>
            </a:r>
            <a:endParaRPr lang="en-GB" noProof="0" dirty="0"/>
          </a:p>
          <a:p>
            <a:pPr lvl="6"/>
            <a:r>
              <a:rPr lang="ja-JP" altLang="en-GB" noProof="0" dirty="0"/>
              <a:t>第七</a:t>
            </a:r>
            <a:r>
              <a:rPr lang="ja-JP" altLang="en-US" noProof="0" dirty="0"/>
              <a:t>层级</a:t>
            </a:r>
            <a:endParaRPr lang="en-GB" noProof="0" dirty="0"/>
          </a:p>
        </p:txBody>
      </p:sp>
      <p:sp>
        <p:nvSpPr>
          <p:cNvPr id="13" name="Title 1">
            <a:extLst>
              <a:ext uri="{FF2B5EF4-FFF2-40B4-BE49-F238E27FC236}">
                <a16:creationId xmlns:a16="http://schemas.microsoft.com/office/drawing/2014/main" id="{852DC140-AAC2-3D41-8F66-66CFCDF0D6D4}"/>
              </a:ext>
            </a:extLst>
          </p:cNvPr>
          <p:cNvSpPr>
            <a:spLocks noGrp="1"/>
          </p:cNvSpPr>
          <p:nvPr>
            <p:ph type="title" hasCustomPrompt="1"/>
          </p:nvPr>
        </p:nvSpPr>
        <p:spPr>
          <a:xfrm>
            <a:off x="360363" y="808348"/>
            <a:ext cx="8389937" cy="323540"/>
          </a:xfrm>
          <a:prstGeom prst="rect">
            <a:avLst/>
          </a:prstGeom>
        </p:spPr>
        <p:txBody>
          <a:bodyPr anchor="b" anchorCtr="0"/>
          <a:lstStyle>
            <a:lvl1pPr algn="l">
              <a:defRPr sz="2000" b="1"/>
            </a:lvl1pPr>
          </a:lstStyle>
          <a:p>
            <a:r>
              <a:rPr lang="ja-JP" altLang="en-GB" noProof="0" dirty="0"/>
              <a:t>点击</a:t>
            </a:r>
            <a:r>
              <a:rPr lang="ja-JP" altLang="en-US" noProof="0" dirty="0"/>
              <a:t>添加日程或目录标题</a:t>
            </a:r>
            <a:endParaRPr lang="en-GB" noProof="0" dirty="0"/>
          </a:p>
        </p:txBody>
      </p:sp>
      <p:pic>
        <p:nvPicPr>
          <p:cNvPr id="12" name="Bildobjekt 7">
            <a:extLst>
              <a:ext uri="{FF2B5EF4-FFF2-40B4-BE49-F238E27FC236}">
                <a16:creationId xmlns:a16="http://schemas.microsoft.com/office/drawing/2014/main" id="{D4FB8854-6C95-49AE-B011-42DBA345A6A7}"/>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8" name="Slide Number Placeholder 9">
            <a:extLst>
              <a:ext uri="{FF2B5EF4-FFF2-40B4-BE49-F238E27FC236}">
                <a16:creationId xmlns:a16="http://schemas.microsoft.com/office/drawing/2014/main" id="{06DAC46F-887F-4A90-A953-FF8625C1D65D}"/>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172820574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两栏式">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FE952C3B-5206-E148-92F9-5E5B1D72EC9F}"/>
              </a:ext>
            </a:extLst>
          </p:cNvPr>
          <p:cNvSpPr>
            <a:spLocks noGrp="1"/>
          </p:cNvSpPr>
          <p:nvPr>
            <p:ph type="title" hasCustomPrompt="1"/>
          </p:nvPr>
        </p:nvSpPr>
        <p:spPr>
          <a:xfrm>
            <a:off x="360363" y="808348"/>
            <a:ext cx="8389937" cy="323540"/>
          </a:xfrm>
          <a:prstGeom prst="rect">
            <a:avLst/>
          </a:prstGeom>
        </p:spPr>
        <p:txBody>
          <a:bodyPr anchor="b" anchorCtr="0"/>
          <a:lstStyle>
            <a:lvl1pPr algn="l">
              <a:defRPr sz="2000" b="1"/>
            </a:lvl1pPr>
          </a:lstStyle>
          <a:p>
            <a:r>
              <a:rPr lang="zh-CN" altLang="en-US" dirty="0"/>
              <a:t>两栏式页面 </a:t>
            </a:r>
            <a:r>
              <a:rPr lang="en-US" altLang="zh-CN" dirty="0"/>
              <a:t>- </a:t>
            </a:r>
            <a:r>
              <a:rPr lang="zh-CN" altLang="en-US" dirty="0"/>
              <a:t>点击添加主题</a:t>
            </a:r>
            <a:endParaRPr lang="en-GB" noProof="0" dirty="0"/>
          </a:p>
        </p:txBody>
      </p:sp>
      <p:sp>
        <p:nvSpPr>
          <p:cNvPr id="12" name="Text Placeholder 3">
            <a:extLst>
              <a:ext uri="{FF2B5EF4-FFF2-40B4-BE49-F238E27FC236}">
                <a16:creationId xmlns:a16="http://schemas.microsoft.com/office/drawing/2014/main" id="{9CDC3E0F-7862-2B4B-826D-899D1A648999}"/>
              </a:ext>
            </a:extLst>
          </p:cNvPr>
          <p:cNvSpPr>
            <a:spLocks noGrp="1"/>
          </p:cNvSpPr>
          <p:nvPr>
            <p:ph type="body" sz="quarter" idx="20" hasCustomPrompt="1"/>
          </p:nvPr>
        </p:nvSpPr>
        <p:spPr>
          <a:xfrm>
            <a:off x="361119" y="1347788"/>
            <a:ext cx="4068006" cy="3457575"/>
          </a:xfrm>
          <a:prstGeom prst="rect">
            <a:avLst/>
          </a:prstGeom>
        </p:spPr>
        <p:txBody>
          <a:bodyPr>
            <a:normAutofit/>
          </a:bodyPr>
          <a:lstStyle>
            <a:lvl1pPr>
              <a:defRPr sz="1400"/>
            </a:lvl1pPr>
            <a:lvl2pPr>
              <a:defRPr sz="1400"/>
            </a:lvl2pPr>
            <a:lvl3pPr>
              <a:defRPr sz="1200"/>
            </a:lvl3pPr>
            <a:lvl4pPr>
              <a:defRPr sz="1100"/>
            </a:lvl4pPr>
            <a:lvl5pPr>
              <a:defRPr sz="1000"/>
            </a:lvl5pPr>
            <a:lvl6pPr>
              <a:defRPr sz="900"/>
            </a:lvl6pPr>
            <a:lvl7pPr>
              <a:defRPr sz="800"/>
            </a:lvl7pPr>
            <a:lvl8pPr>
              <a:defRPr sz="800"/>
            </a:lvl8pPr>
            <a:lvl9pPr>
              <a:defRPr sz="800"/>
            </a:lvl9pPr>
          </a:lstStyle>
          <a:p>
            <a:pPr lvl="0"/>
            <a:r>
              <a:rPr lang="ja-JP" altLang="en-GB" noProof="0" dirty="0"/>
              <a:t>点击</a:t>
            </a:r>
            <a:r>
              <a:rPr lang="ja-JP" altLang="en-US" noProof="0" dirty="0"/>
              <a:t>添加内容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a:t>
            </a:r>
            <a:r>
              <a:rPr lang="ja-JP" altLang="en-US" noProof="0" dirty="0"/>
              <a:t>项要点</a:t>
            </a:r>
            <a:endParaRPr lang="en-GB" noProof="0" dirty="0"/>
          </a:p>
          <a:p>
            <a:pPr lvl="3"/>
            <a:r>
              <a:rPr lang="ja-JP" altLang="en-GB" noProof="0" dirty="0"/>
              <a:t>第三</a:t>
            </a:r>
            <a:r>
              <a:rPr lang="ja-JP" altLang="en-US" noProof="0" dirty="0"/>
              <a:t>项要点</a:t>
            </a:r>
            <a:endParaRPr lang="en-GB" noProof="0" dirty="0"/>
          </a:p>
          <a:p>
            <a:pPr lvl="4"/>
            <a:r>
              <a:rPr lang="ja-JP" altLang="en-GB" noProof="0" dirty="0"/>
              <a:t>第四</a:t>
            </a:r>
            <a:r>
              <a:rPr lang="ja-JP" altLang="en-US" noProof="0" dirty="0"/>
              <a:t>项要点</a:t>
            </a:r>
            <a:endParaRPr lang="en-GB" noProof="0" dirty="0"/>
          </a:p>
          <a:p>
            <a:pPr lvl="5"/>
            <a:r>
              <a:rPr lang="ja-JP" altLang="en-GB" noProof="0" dirty="0"/>
              <a:t>第五</a:t>
            </a:r>
            <a:r>
              <a:rPr lang="ja-JP" altLang="en-US" noProof="0" dirty="0"/>
              <a:t>项要点</a:t>
            </a:r>
            <a:endParaRPr lang="en-GB" noProof="0" dirty="0"/>
          </a:p>
        </p:txBody>
      </p:sp>
      <p:sp>
        <p:nvSpPr>
          <p:cNvPr id="6" name="Content Placeholder 5">
            <a:extLst>
              <a:ext uri="{FF2B5EF4-FFF2-40B4-BE49-F238E27FC236}">
                <a16:creationId xmlns:a16="http://schemas.microsoft.com/office/drawing/2014/main" id="{C3789464-41F1-934D-8ABD-3A7B7811D112}"/>
              </a:ext>
            </a:extLst>
          </p:cNvPr>
          <p:cNvSpPr>
            <a:spLocks noGrp="1"/>
          </p:cNvSpPr>
          <p:nvPr>
            <p:ph sz="quarter" idx="35" hasCustomPrompt="1"/>
          </p:nvPr>
        </p:nvSpPr>
        <p:spPr>
          <a:xfrm>
            <a:off x="4682294" y="1347787"/>
            <a:ext cx="4068006" cy="3457576"/>
          </a:xfrm>
          <a:solidFill>
            <a:schemeClr val="bg1">
              <a:lumMod val="85000"/>
            </a:schemeClr>
          </a:solidFill>
        </p:spPr>
        <p:txBody>
          <a:bodyPr tIns="1044000" anchor="ctr" anchorCtr="1">
            <a:normAutofit/>
          </a:bodyPr>
          <a:lstStyle>
            <a:lvl1pPr>
              <a:defRPr sz="900" i="1"/>
            </a:lvl1pPr>
            <a:lvl2pPr>
              <a:defRPr sz="1400"/>
            </a:lvl2pPr>
            <a:lvl3pPr>
              <a:defRPr sz="1200"/>
            </a:lvl3pPr>
            <a:lvl4pPr>
              <a:defRPr sz="1100"/>
            </a:lvl4pPr>
            <a:lvl5pPr>
              <a:defRPr sz="1000"/>
            </a:lvl5pPr>
            <a:lvl6pPr>
              <a:defRPr sz="900"/>
            </a:lvl6pPr>
            <a:lvl7pPr>
              <a:defRPr sz="800"/>
            </a:lvl7pPr>
            <a:lvl8pPr>
              <a:defRPr sz="800"/>
            </a:lvl8pPr>
            <a:lvl9pPr>
              <a:defRPr sz="800"/>
            </a:lvl9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pic>
        <p:nvPicPr>
          <p:cNvPr id="11" name="Bildobjekt 7">
            <a:extLst>
              <a:ext uri="{FF2B5EF4-FFF2-40B4-BE49-F238E27FC236}">
                <a16:creationId xmlns:a16="http://schemas.microsoft.com/office/drawing/2014/main" id="{E7C899D7-4150-4D30-997E-B36118D68589}"/>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8" name="Slide Number Placeholder 9">
            <a:extLst>
              <a:ext uri="{FF2B5EF4-FFF2-40B4-BE49-F238E27FC236}">
                <a16:creationId xmlns:a16="http://schemas.microsoft.com/office/drawing/2014/main" id="{3A094260-F17A-4C78-8064-55E63058F963}"/>
              </a:ext>
            </a:extLst>
          </p:cNvPr>
          <p:cNvSpPr>
            <a:spLocks noGrp="1"/>
          </p:cNvSpPr>
          <p:nvPr>
            <p:ph type="sldNum" sz="quarter" idx="4"/>
          </p:nvPr>
        </p:nvSpPr>
        <p:spPr>
          <a:xfrm>
            <a:off x="8389464" y="4940585"/>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148886154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章节">
    <p:spTree>
      <p:nvGrpSpPr>
        <p:cNvPr id="1" name=""/>
        <p:cNvGrpSpPr/>
        <p:nvPr/>
      </p:nvGrpSpPr>
      <p:grpSpPr>
        <a:xfrm>
          <a:off x="0" y="0"/>
          <a:ext cx="0" cy="0"/>
          <a:chOff x="0" y="0"/>
          <a:chExt cx="0" cy="0"/>
        </a:xfrm>
      </p:grpSpPr>
      <p:sp>
        <p:nvSpPr>
          <p:cNvPr id="11" name="Text Placeholder 2">
            <a:extLst>
              <a:ext uri="{FF2B5EF4-FFF2-40B4-BE49-F238E27FC236}">
                <a16:creationId xmlns:a16="http://schemas.microsoft.com/office/drawing/2014/main" id="{2C12F9AE-0CC7-A447-8973-8360DE60EFD2}"/>
              </a:ext>
            </a:extLst>
          </p:cNvPr>
          <p:cNvSpPr>
            <a:spLocks noGrp="1"/>
          </p:cNvSpPr>
          <p:nvPr>
            <p:ph type="body" sz="quarter" idx="35" hasCustomPrompt="1"/>
          </p:nvPr>
        </p:nvSpPr>
        <p:spPr>
          <a:xfrm>
            <a:off x="1801813" y="1966295"/>
            <a:ext cx="5508625" cy="1002331"/>
          </a:xfrm>
        </p:spPr>
        <p:txBody>
          <a:bodyPr>
            <a:noAutofit/>
          </a:bodyPr>
          <a:lstStyle>
            <a:lvl1pPr marL="0" indent="0" algn="ctr">
              <a:spcAft>
                <a:spcPts val="0"/>
              </a:spcAft>
              <a:buFontTx/>
              <a:buNone/>
              <a:tabLst/>
              <a:defRPr sz="1400" b="0" i="0">
                <a:latin typeface="微软雅黑" panose="020B0503020204020204" pitchFamily="34" charset="-122"/>
              </a:defRPr>
            </a:lvl1pPr>
            <a:lvl2pPr marL="0" indent="0" algn="ctr">
              <a:spcAft>
                <a:spcPts val="0"/>
              </a:spcAft>
              <a:buFontTx/>
              <a:buNone/>
              <a:tabLst/>
              <a:defRPr sz="1400" b="0" i="0">
                <a:latin typeface="Volvo Novum Light" panose="020B0303040502060204" pitchFamily="34" charset="77"/>
              </a:defRPr>
            </a:lvl2pPr>
            <a:lvl3pPr marL="0" indent="0" algn="ctr">
              <a:spcAft>
                <a:spcPts val="0"/>
              </a:spcAft>
              <a:buFontTx/>
              <a:buNone/>
              <a:tabLst/>
              <a:defRPr sz="1400" b="0" i="0">
                <a:latin typeface="Volvo Novum Light" panose="020B0303040502060204" pitchFamily="34" charset="77"/>
              </a:defRPr>
            </a:lvl3pPr>
            <a:lvl4pPr marL="0" indent="0" algn="ctr">
              <a:spcAft>
                <a:spcPts val="0"/>
              </a:spcAft>
              <a:buFontTx/>
              <a:buNone/>
              <a:tabLst/>
              <a:defRPr sz="1400" b="0" i="0">
                <a:latin typeface="Volvo Novum Light" panose="020B0303040502060204" pitchFamily="34" charset="77"/>
              </a:defRPr>
            </a:lvl4pPr>
            <a:lvl5pPr marL="0" indent="0" algn="ctr">
              <a:spcAft>
                <a:spcPts val="0"/>
              </a:spcAft>
              <a:buFontTx/>
              <a:buNone/>
              <a:tabLst/>
              <a:defRPr sz="1400" b="0" i="0">
                <a:latin typeface="Volvo Novum Light" panose="020B0303040502060204" pitchFamily="34" charset="77"/>
              </a:defRPr>
            </a:lvl5pPr>
            <a:lvl6pPr marL="0" indent="0" algn="ctr">
              <a:spcAft>
                <a:spcPts val="0"/>
              </a:spcAft>
              <a:buFontTx/>
              <a:buNone/>
              <a:tabLst/>
              <a:defRPr sz="1400" b="0" i="0">
                <a:latin typeface="Volvo Novum Light" panose="020B0303040502060204" pitchFamily="34" charset="77"/>
              </a:defRPr>
            </a:lvl6pPr>
            <a:lvl7pPr marL="0" indent="0" algn="ctr">
              <a:spcAft>
                <a:spcPts val="0"/>
              </a:spcAft>
              <a:buFontTx/>
              <a:buNone/>
              <a:tabLst/>
              <a:defRPr sz="1400" b="0" i="0">
                <a:latin typeface="Volvo Novum Light" panose="020B0303040502060204" pitchFamily="34" charset="77"/>
              </a:defRPr>
            </a:lvl7pPr>
            <a:lvl8pPr marL="0" indent="0" algn="ctr">
              <a:spcAft>
                <a:spcPts val="0"/>
              </a:spcAft>
              <a:buFontTx/>
              <a:buNone/>
              <a:tabLst/>
              <a:defRPr sz="1400" b="0" i="0">
                <a:latin typeface="Volvo Novum Light" panose="020B0303040502060204" pitchFamily="34" charset="77"/>
              </a:defRPr>
            </a:lvl8pPr>
            <a:lvl9pPr marL="0" indent="0" algn="ctr">
              <a:spcAft>
                <a:spcPts val="0"/>
              </a:spcAft>
              <a:buFontTx/>
              <a:buNone/>
              <a:tabLst/>
              <a:defRPr sz="1400" b="0" i="0">
                <a:latin typeface="Volvo Novum Light" panose="020B0303040502060204" pitchFamily="34" charset="77"/>
              </a:defRPr>
            </a:lvl9pPr>
          </a:lstStyle>
          <a:p>
            <a:pPr lvl="0"/>
            <a:r>
              <a:rPr lang="ja-JP" altLang="en-GB" noProof="0" dirty="0"/>
              <a:t>点击</a:t>
            </a:r>
            <a:r>
              <a:rPr lang="ja-JP" altLang="en-US" noProof="0" dirty="0"/>
              <a:t>添加内容文字</a:t>
            </a:r>
            <a:endParaRPr lang="en-GB" noProof="0" dirty="0"/>
          </a:p>
        </p:txBody>
      </p:sp>
      <p:sp>
        <p:nvSpPr>
          <p:cNvPr id="10" name="Title 1">
            <a:extLst>
              <a:ext uri="{FF2B5EF4-FFF2-40B4-BE49-F238E27FC236}">
                <a16:creationId xmlns:a16="http://schemas.microsoft.com/office/drawing/2014/main" id="{D09D31AC-E631-1247-8AFD-8EC103E61849}"/>
              </a:ext>
            </a:extLst>
          </p:cNvPr>
          <p:cNvSpPr>
            <a:spLocks noGrp="1"/>
          </p:cNvSpPr>
          <p:nvPr>
            <p:ph type="title" hasCustomPrompt="1"/>
          </p:nvPr>
        </p:nvSpPr>
        <p:spPr>
          <a:xfrm>
            <a:off x="360363" y="1347788"/>
            <a:ext cx="8389938" cy="399556"/>
          </a:xfrm>
          <a:prstGeom prst="rect">
            <a:avLst/>
          </a:prstGeom>
        </p:spPr>
        <p:txBody>
          <a:bodyPr anchor="b" anchorCtr="0">
            <a:noAutofit/>
          </a:bodyPr>
          <a:lstStyle>
            <a:lvl1pPr algn="ctr">
              <a:defRPr sz="2000" b="1"/>
            </a:lvl1pPr>
            <a:lvl2pPr>
              <a:defRPr sz="2400" b="0" i="0">
                <a:latin typeface="Volvo Novum" panose="020B0503040502060204" pitchFamily="34" charset="77"/>
              </a:defRPr>
            </a:lvl2pPr>
          </a:lstStyle>
          <a:p>
            <a:pPr lvl="0"/>
            <a:r>
              <a:rPr lang="zh-CN" altLang="en-US" dirty="0"/>
              <a:t>章节页面 </a:t>
            </a:r>
            <a:r>
              <a:rPr lang="en-US" altLang="zh-CN" dirty="0"/>
              <a:t>- </a:t>
            </a:r>
            <a:r>
              <a:rPr lang="zh-CN" altLang="en-US" dirty="0"/>
              <a:t>点击添加主题</a:t>
            </a:r>
            <a:endParaRPr lang="en-GB" noProof="0" dirty="0"/>
          </a:p>
        </p:txBody>
      </p:sp>
      <p:pic>
        <p:nvPicPr>
          <p:cNvPr id="8" name="Bildobjekt 7">
            <a:extLst>
              <a:ext uri="{FF2B5EF4-FFF2-40B4-BE49-F238E27FC236}">
                <a16:creationId xmlns:a16="http://schemas.microsoft.com/office/drawing/2014/main" id="{79F06186-2345-463A-AE3B-F93383CF0B57}"/>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6" name="Slide Number Placeholder 9">
            <a:extLst>
              <a:ext uri="{FF2B5EF4-FFF2-40B4-BE49-F238E27FC236}">
                <a16:creationId xmlns:a16="http://schemas.microsoft.com/office/drawing/2014/main" id="{A2AEF769-067F-4092-960C-DF7FE2906F4C}"/>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31543939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全屏图片">
    <p:spTree>
      <p:nvGrpSpPr>
        <p:cNvPr id="1" name=""/>
        <p:cNvGrpSpPr/>
        <p:nvPr/>
      </p:nvGrpSpPr>
      <p:grpSpPr>
        <a:xfrm>
          <a:off x="0" y="0"/>
          <a:ext cx="0" cy="0"/>
          <a:chOff x="0" y="0"/>
          <a:chExt cx="0" cy="0"/>
        </a:xfrm>
      </p:grpSpPr>
      <p:sp>
        <p:nvSpPr>
          <p:cNvPr id="8" name="Picture Placeholder 9">
            <a:extLst>
              <a:ext uri="{FF2B5EF4-FFF2-40B4-BE49-F238E27FC236}">
                <a16:creationId xmlns:a16="http://schemas.microsoft.com/office/drawing/2014/main" id="{046416EF-3DA6-BB49-9452-D8F2D1849295}"/>
              </a:ext>
            </a:extLst>
          </p:cNvPr>
          <p:cNvSpPr>
            <a:spLocks noGrp="1"/>
          </p:cNvSpPr>
          <p:nvPr>
            <p:ph type="pic" sz="quarter" idx="14" hasCustomPrompt="1"/>
          </p:nvPr>
        </p:nvSpPr>
        <p:spPr>
          <a:xfrm>
            <a:off x="-1" y="0"/>
            <a:ext cx="9147175" cy="5145088"/>
          </a:xfrm>
          <a:prstGeom prst="rect">
            <a:avLst/>
          </a:prstGeom>
          <a:solidFill>
            <a:schemeClr val="bg1">
              <a:lumMod val="85000"/>
            </a:schemeClr>
          </a:solidFill>
        </p:spPr>
        <p:txBody>
          <a:bodyPr lIns="0" tIns="2628000"/>
          <a:lstStyle>
            <a:lvl1pPr marL="0" indent="0" algn="ctr">
              <a:lnSpc>
                <a:spcPct val="300000"/>
              </a:lnSpc>
              <a:spcBef>
                <a:spcPts val="0"/>
              </a:spcBef>
              <a:buNone/>
              <a:defRPr sz="900" i="1"/>
            </a:lvl1pPr>
          </a:lstStyle>
          <a:p>
            <a:r>
              <a:rPr lang="ja-JP" altLang="en-GB" noProof="0"/>
              <a:t>点击</a:t>
            </a:r>
            <a:r>
              <a:rPr lang="ja-JP" altLang="en-US" noProof="0"/>
              <a:t>添加图片</a:t>
            </a:r>
            <a:endParaRPr lang="en-GB" noProof="0" dirty="0"/>
          </a:p>
        </p:txBody>
      </p:sp>
      <p:sp>
        <p:nvSpPr>
          <p:cNvPr id="7" name="TextBox 6">
            <a:extLst>
              <a:ext uri="{FF2B5EF4-FFF2-40B4-BE49-F238E27FC236}">
                <a16:creationId xmlns:a16="http://schemas.microsoft.com/office/drawing/2014/main" id="{5D6DC2ED-9A00-3246-A519-6EED76F44001}"/>
              </a:ext>
            </a:extLst>
          </p:cNvPr>
          <p:cNvSpPr txBox="1"/>
          <p:nvPr userDrawn="1"/>
        </p:nvSpPr>
        <p:spPr>
          <a:xfrm>
            <a:off x="2511461" y="1564105"/>
            <a:ext cx="0" cy="0"/>
          </a:xfrm>
          <a:prstGeom prst="rect">
            <a:avLst/>
          </a:prstGeom>
          <a:noFill/>
        </p:spPr>
        <p:txBody>
          <a:bodyPr wrap="none" lIns="0" tIns="0" rIns="0" rtlCol="0">
            <a:normAutofit fontScale="25000" lnSpcReduction="20000"/>
          </a:bodyPr>
          <a:lstStyle/>
          <a:p>
            <a:pPr algn="l">
              <a:lnSpc>
                <a:spcPct val="120000"/>
              </a:lnSpc>
            </a:pPr>
            <a:endParaRPr lang="en-GB" sz="1200" dirty="0">
              <a:latin typeface="微软雅黑" panose="020B0503020204020204" pitchFamily="34" charset="-122"/>
              <a:ea typeface="微软雅黑" panose="020B0503020204020204" pitchFamily="34" charset="-122"/>
            </a:endParaRPr>
          </a:p>
        </p:txBody>
      </p:sp>
      <p:pic>
        <p:nvPicPr>
          <p:cNvPr id="11" name="Bildobjekt 2">
            <a:extLst>
              <a:ext uri="{FF2B5EF4-FFF2-40B4-BE49-F238E27FC236}">
                <a16:creationId xmlns:a16="http://schemas.microsoft.com/office/drawing/2014/main" id="{51569C91-32AB-8046-BDD5-B8CEA4109407}"/>
              </a:ext>
            </a:extLst>
          </p:cNvPr>
          <p:cNvPicPr>
            <a:picLocks noChangeAspect="1"/>
          </p:cNvPicPr>
          <p:nvPr userDrawn="1"/>
        </p:nvPicPr>
        <p:blipFill>
          <a:blip r:embed="rId2"/>
          <a:stretch>
            <a:fillRect/>
          </a:stretch>
        </p:blipFill>
        <p:spPr>
          <a:xfrm>
            <a:off x="4123588" y="216483"/>
            <a:ext cx="900000" cy="75848"/>
          </a:xfrm>
          <a:prstGeom prst="rect">
            <a:avLst/>
          </a:prstGeom>
          <a:noFill/>
        </p:spPr>
      </p:pic>
    </p:spTree>
    <p:extLst>
      <p:ext uri="{BB962C8B-B14F-4D97-AF65-F5344CB8AC3E}">
        <p14:creationId xmlns:p14="http://schemas.microsoft.com/office/powerpoint/2010/main" val="316110127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多媒体">
    <p:spTree>
      <p:nvGrpSpPr>
        <p:cNvPr id="1" name=""/>
        <p:cNvGrpSpPr/>
        <p:nvPr/>
      </p:nvGrpSpPr>
      <p:grpSpPr>
        <a:xfrm>
          <a:off x="0" y="0"/>
          <a:ext cx="0" cy="0"/>
          <a:chOff x="0" y="0"/>
          <a:chExt cx="0" cy="0"/>
        </a:xfrm>
      </p:grpSpPr>
      <p:pic>
        <p:nvPicPr>
          <p:cNvPr id="9" name="Bildobjekt 7">
            <a:extLst>
              <a:ext uri="{FF2B5EF4-FFF2-40B4-BE49-F238E27FC236}">
                <a16:creationId xmlns:a16="http://schemas.microsoft.com/office/drawing/2014/main" id="{DE3E88BB-5832-46E5-BAF1-8E9DB6D802E0}"/>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1" name="Content Placeholder 2">
            <a:extLst>
              <a:ext uri="{FF2B5EF4-FFF2-40B4-BE49-F238E27FC236}">
                <a16:creationId xmlns:a16="http://schemas.microsoft.com/office/drawing/2014/main" id="{7CBED64D-4C42-4F41-81BC-567A17A45D88}"/>
              </a:ext>
            </a:extLst>
          </p:cNvPr>
          <p:cNvSpPr>
            <a:spLocks noGrp="1"/>
          </p:cNvSpPr>
          <p:nvPr>
            <p:ph sz="quarter" idx="35" hasCustomPrompt="1"/>
          </p:nvPr>
        </p:nvSpPr>
        <p:spPr>
          <a:xfrm>
            <a:off x="361119" y="1347789"/>
            <a:ext cx="8389180" cy="3457575"/>
          </a:xfrm>
          <a:solidFill>
            <a:schemeClr val="bg1">
              <a:lumMod val="85000"/>
            </a:schemeClr>
          </a:solidFill>
        </p:spPr>
        <p:txBody>
          <a:bodyPr tIns="1044000" anchor="ctr" anchorCtr="1">
            <a:normAutofit/>
          </a:bodyPr>
          <a:lstStyle>
            <a:lvl1pPr>
              <a:defRPr sz="900" i="1"/>
            </a:lvl1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8" name="Title Placeholder 10">
            <a:extLst>
              <a:ext uri="{FF2B5EF4-FFF2-40B4-BE49-F238E27FC236}">
                <a16:creationId xmlns:a16="http://schemas.microsoft.com/office/drawing/2014/main" id="{17A4644E-DF8A-4B31-986A-447E95D7C2F7}"/>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sz="2000" b="1"/>
            </a:lvl1pPr>
          </a:lstStyle>
          <a:p>
            <a:pPr algn="l"/>
            <a:r>
              <a:rPr lang="zh-CN" altLang="en-US" dirty="0"/>
              <a:t>多媒体页面 </a:t>
            </a:r>
            <a:r>
              <a:rPr lang="en-US" altLang="zh-CN" dirty="0"/>
              <a:t>- </a:t>
            </a:r>
            <a:r>
              <a:rPr lang="zh-CN" altLang="en-US" dirty="0"/>
              <a:t>点击添加主题</a:t>
            </a:r>
            <a:endParaRPr lang="en-GB" noProof="0" dirty="0"/>
          </a:p>
        </p:txBody>
      </p:sp>
      <p:sp>
        <p:nvSpPr>
          <p:cNvPr id="14" name="Slide Number Placeholder 9">
            <a:extLst>
              <a:ext uri="{FF2B5EF4-FFF2-40B4-BE49-F238E27FC236}">
                <a16:creationId xmlns:a16="http://schemas.microsoft.com/office/drawing/2014/main" id="{1645B6AB-C1E0-47AC-89E2-681C39DA8D93}"/>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32410494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s media">
    <p:spTree>
      <p:nvGrpSpPr>
        <p:cNvPr id="1" name=""/>
        <p:cNvGrpSpPr/>
        <p:nvPr/>
      </p:nvGrpSpPr>
      <p:grpSpPr>
        <a:xfrm>
          <a:off x="0" y="0"/>
          <a:ext cx="0" cy="0"/>
          <a:chOff x="0" y="0"/>
          <a:chExt cx="0" cy="0"/>
        </a:xfrm>
      </p:grpSpPr>
      <p:pic>
        <p:nvPicPr>
          <p:cNvPr id="11" name="Bildobjekt 7">
            <a:extLst>
              <a:ext uri="{FF2B5EF4-FFF2-40B4-BE49-F238E27FC236}">
                <a16:creationId xmlns:a16="http://schemas.microsoft.com/office/drawing/2014/main" id="{66373B09-854B-4B6B-B6D4-1AF4657FAC27}"/>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3" name="Content Placeholder 2">
            <a:extLst>
              <a:ext uri="{FF2B5EF4-FFF2-40B4-BE49-F238E27FC236}">
                <a16:creationId xmlns:a16="http://schemas.microsoft.com/office/drawing/2014/main" id="{51885DC9-6B32-4D57-A7C4-86285ACDBB1C}"/>
              </a:ext>
            </a:extLst>
          </p:cNvPr>
          <p:cNvSpPr>
            <a:spLocks noGrp="1"/>
          </p:cNvSpPr>
          <p:nvPr>
            <p:ph sz="quarter" idx="35" hasCustomPrompt="1"/>
          </p:nvPr>
        </p:nvSpPr>
        <p:spPr>
          <a:xfrm>
            <a:off x="360365" y="1347789"/>
            <a:ext cx="4068762" cy="3457575"/>
          </a:xfrm>
          <a:solidFill>
            <a:schemeClr val="bg1">
              <a:lumMod val="85000"/>
            </a:schemeClr>
          </a:solidFill>
        </p:spPr>
        <p:txBody>
          <a:bodyPr tIns="1044000" anchor="ctr" anchorCtr="1">
            <a:normAutofit/>
          </a:bodyPr>
          <a:lstStyle>
            <a:lvl1pPr>
              <a:defRPr sz="900" i="1"/>
            </a:lvl1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12" name="Title Placeholder 10">
            <a:extLst>
              <a:ext uri="{FF2B5EF4-FFF2-40B4-BE49-F238E27FC236}">
                <a16:creationId xmlns:a16="http://schemas.microsoft.com/office/drawing/2014/main" id="{78C2355D-A248-4789-AF51-E9064DBB7582}"/>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sz="2000" b="1"/>
            </a:lvl1pPr>
          </a:lstStyle>
          <a:p>
            <a:pPr algn="l"/>
            <a:r>
              <a:rPr lang="zh-CN" altLang="en-US" dirty="0"/>
              <a:t>两栏式多媒体页面 </a:t>
            </a:r>
            <a:r>
              <a:rPr lang="en-US" altLang="zh-CN" dirty="0"/>
              <a:t>- </a:t>
            </a:r>
            <a:r>
              <a:rPr lang="zh-CN" altLang="en-US" dirty="0"/>
              <a:t>点击添加主题</a:t>
            </a:r>
            <a:endParaRPr lang="en-GB" noProof="0" dirty="0"/>
          </a:p>
        </p:txBody>
      </p:sp>
      <p:sp>
        <p:nvSpPr>
          <p:cNvPr id="19" name="Slide Number Placeholder 9">
            <a:extLst>
              <a:ext uri="{FF2B5EF4-FFF2-40B4-BE49-F238E27FC236}">
                <a16:creationId xmlns:a16="http://schemas.microsoft.com/office/drawing/2014/main" id="{A6FF38EF-AFEB-4459-8B10-B7A41ACE0BC5}"/>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
        <p:nvSpPr>
          <p:cNvPr id="20" name="Content Placeholder 2">
            <a:extLst>
              <a:ext uri="{FF2B5EF4-FFF2-40B4-BE49-F238E27FC236}">
                <a16:creationId xmlns:a16="http://schemas.microsoft.com/office/drawing/2014/main" id="{DD09F532-14A6-4F08-99F2-477F6898A06A}"/>
              </a:ext>
            </a:extLst>
          </p:cNvPr>
          <p:cNvSpPr>
            <a:spLocks noGrp="1"/>
          </p:cNvSpPr>
          <p:nvPr>
            <p:ph sz="quarter" idx="36" hasCustomPrompt="1"/>
          </p:nvPr>
        </p:nvSpPr>
        <p:spPr>
          <a:xfrm>
            <a:off x="4681732" y="1347789"/>
            <a:ext cx="4068762" cy="3457575"/>
          </a:xfrm>
          <a:solidFill>
            <a:schemeClr val="bg1">
              <a:lumMod val="85000"/>
            </a:schemeClr>
          </a:solidFill>
        </p:spPr>
        <p:txBody>
          <a:bodyPr tIns="1044000" anchor="ctr" anchorCtr="1">
            <a:normAutofit/>
          </a:bodyPr>
          <a:lstStyle>
            <a:lvl1pPr>
              <a:defRPr sz="900" i="1"/>
            </a:lvl1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Tree>
    <p:extLst>
      <p:ext uri="{BB962C8B-B14F-4D97-AF65-F5344CB8AC3E}">
        <p14:creationId xmlns:p14="http://schemas.microsoft.com/office/powerpoint/2010/main" val="21323188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多媒体+文字">
    <p:spTree>
      <p:nvGrpSpPr>
        <p:cNvPr id="1" name=""/>
        <p:cNvGrpSpPr/>
        <p:nvPr/>
      </p:nvGrpSpPr>
      <p:grpSpPr>
        <a:xfrm>
          <a:off x="0" y="0"/>
          <a:ext cx="0" cy="0"/>
          <a:chOff x="0" y="0"/>
          <a:chExt cx="0" cy="0"/>
        </a:xfrm>
      </p:grpSpPr>
      <p:pic>
        <p:nvPicPr>
          <p:cNvPr id="11" name="Bildobjekt 7">
            <a:extLst>
              <a:ext uri="{FF2B5EF4-FFF2-40B4-BE49-F238E27FC236}">
                <a16:creationId xmlns:a16="http://schemas.microsoft.com/office/drawing/2014/main" id="{66373B09-854B-4B6B-B6D4-1AF4657FAC27}"/>
              </a:ext>
            </a:extLst>
          </p:cNvPr>
          <p:cNvPicPr>
            <a:picLocks noChangeAspect="1"/>
          </p:cNvPicPr>
          <p:nvPr userDrawn="1"/>
        </p:nvPicPr>
        <p:blipFill>
          <a:blip r:embed="rId2"/>
          <a:stretch>
            <a:fillRect/>
          </a:stretch>
        </p:blipFill>
        <p:spPr>
          <a:xfrm>
            <a:off x="4123588" y="216483"/>
            <a:ext cx="900000" cy="75848"/>
          </a:xfrm>
          <a:prstGeom prst="rect">
            <a:avLst/>
          </a:prstGeom>
          <a:noFill/>
        </p:spPr>
      </p:pic>
      <p:sp>
        <p:nvSpPr>
          <p:cNvPr id="13" name="Content Placeholder 2">
            <a:extLst>
              <a:ext uri="{FF2B5EF4-FFF2-40B4-BE49-F238E27FC236}">
                <a16:creationId xmlns:a16="http://schemas.microsoft.com/office/drawing/2014/main" id="{51885DC9-6B32-4D57-A7C4-86285ACDBB1C}"/>
              </a:ext>
            </a:extLst>
          </p:cNvPr>
          <p:cNvSpPr>
            <a:spLocks noGrp="1"/>
          </p:cNvSpPr>
          <p:nvPr>
            <p:ph sz="quarter" idx="35" hasCustomPrompt="1"/>
          </p:nvPr>
        </p:nvSpPr>
        <p:spPr>
          <a:xfrm>
            <a:off x="360364" y="1347789"/>
            <a:ext cx="5508625" cy="3457575"/>
          </a:xfrm>
          <a:solidFill>
            <a:schemeClr val="bg1">
              <a:lumMod val="85000"/>
            </a:schemeClr>
          </a:solidFill>
        </p:spPr>
        <p:txBody>
          <a:bodyPr tIns="1044000" anchor="ctr" anchorCtr="1">
            <a:normAutofit/>
          </a:bodyPr>
          <a:lstStyle>
            <a:lvl1pPr>
              <a:defRPr sz="900" i="1"/>
            </a:lvl1pPr>
          </a:lstStyle>
          <a:p>
            <a:pPr lvl="0"/>
            <a:r>
              <a:rPr lang="ja-JP" altLang="en-GB" noProof="0"/>
              <a:t>点击</a:t>
            </a:r>
            <a:r>
              <a:rPr lang="ja-JP" altLang="en-US" noProof="0"/>
              <a:t>添加图片</a:t>
            </a:r>
            <a:r>
              <a:rPr lang="zh-CN" altLang="en-US" noProof="0"/>
              <a:t>，</a:t>
            </a:r>
            <a:r>
              <a:rPr lang="ja-JP" altLang="en-US" noProof="0"/>
              <a:t>图表或其他媒介</a:t>
            </a:r>
            <a:endParaRPr lang="en-GB" noProof="0" dirty="0"/>
          </a:p>
        </p:txBody>
      </p:sp>
      <p:sp>
        <p:nvSpPr>
          <p:cNvPr id="16" name="Text Placeholder 3">
            <a:extLst>
              <a:ext uri="{FF2B5EF4-FFF2-40B4-BE49-F238E27FC236}">
                <a16:creationId xmlns:a16="http://schemas.microsoft.com/office/drawing/2014/main" id="{50FB03BE-D89D-A34A-8104-C71D37709542}"/>
              </a:ext>
            </a:extLst>
          </p:cNvPr>
          <p:cNvSpPr>
            <a:spLocks noGrp="1"/>
          </p:cNvSpPr>
          <p:nvPr>
            <p:ph type="body" sz="quarter" idx="22" hasCustomPrompt="1"/>
          </p:nvPr>
        </p:nvSpPr>
        <p:spPr>
          <a:xfrm>
            <a:off x="6121401" y="1347789"/>
            <a:ext cx="2628900" cy="3457575"/>
          </a:xfrm>
          <a:prstGeom prst="rect">
            <a:avLst/>
          </a:prstGeom>
        </p:spPr>
        <p:txBody>
          <a:bodyPr>
            <a:noAutofit/>
          </a:bodyPr>
          <a:lstStyle>
            <a:lvl1pPr>
              <a:defRPr sz="1200"/>
            </a:lvl1pPr>
            <a:lvl2pPr>
              <a:defRPr sz="1200"/>
            </a:lvl2pPr>
            <a:lvl3pPr>
              <a:defRPr sz="1200"/>
            </a:lvl3pPr>
            <a:lvl4pPr>
              <a:defRPr sz="1100"/>
            </a:lvl4pPr>
            <a:lvl5pPr>
              <a:defRPr sz="1000"/>
            </a:lvl5pPr>
            <a:lvl6pPr>
              <a:defRPr sz="900"/>
            </a:lvl6pPr>
            <a:lvl7pPr>
              <a:defRPr sz="900"/>
            </a:lvl7pPr>
            <a:lvl8pPr>
              <a:defRPr sz="900"/>
            </a:lvl8pPr>
            <a:lvl9pPr>
              <a:defRPr sz="900"/>
            </a:lvl9pPr>
          </a:lstStyle>
          <a:p>
            <a:pPr lvl="0"/>
            <a:r>
              <a:rPr lang="ja-JP" altLang="en-GB" noProof="0" dirty="0"/>
              <a:t>点击</a:t>
            </a:r>
            <a:r>
              <a:rPr lang="ja-JP" altLang="en-US" noProof="0" dirty="0"/>
              <a:t>添加相关内容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a:t>
            </a:r>
            <a:r>
              <a:rPr lang="ja-JP" altLang="en-US" noProof="0" dirty="0"/>
              <a:t>项要点</a:t>
            </a:r>
            <a:endParaRPr lang="en-GB" noProof="0" dirty="0"/>
          </a:p>
          <a:p>
            <a:pPr lvl="3"/>
            <a:r>
              <a:rPr lang="ja-JP" altLang="en-GB" noProof="0" dirty="0"/>
              <a:t>第三</a:t>
            </a:r>
            <a:r>
              <a:rPr lang="ja-JP" altLang="en-US" noProof="0" dirty="0"/>
              <a:t>项要点</a:t>
            </a:r>
            <a:endParaRPr lang="en-GB" noProof="0" dirty="0"/>
          </a:p>
          <a:p>
            <a:pPr lvl="4"/>
            <a:r>
              <a:rPr lang="ja-JP" altLang="en-GB" noProof="0" dirty="0"/>
              <a:t>第四</a:t>
            </a:r>
            <a:r>
              <a:rPr lang="ja-JP" altLang="en-US" noProof="0" dirty="0"/>
              <a:t>项要点</a:t>
            </a:r>
            <a:endParaRPr lang="en-GB" noProof="0" dirty="0"/>
          </a:p>
          <a:p>
            <a:pPr lvl="5"/>
            <a:r>
              <a:rPr lang="ja-JP" altLang="en-GB" noProof="0" dirty="0"/>
              <a:t>第五</a:t>
            </a:r>
            <a:r>
              <a:rPr lang="ja-JP" altLang="en-US" noProof="0" dirty="0"/>
              <a:t>项要点</a:t>
            </a:r>
            <a:endParaRPr lang="en-GB" noProof="0" dirty="0"/>
          </a:p>
        </p:txBody>
      </p:sp>
      <p:sp>
        <p:nvSpPr>
          <p:cNvPr id="12" name="Title Placeholder 10">
            <a:extLst>
              <a:ext uri="{FF2B5EF4-FFF2-40B4-BE49-F238E27FC236}">
                <a16:creationId xmlns:a16="http://schemas.microsoft.com/office/drawing/2014/main" id="{78C2355D-A248-4789-AF51-E9064DBB7582}"/>
              </a:ext>
            </a:extLst>
          </p:cNvPr>
          <p:cNvSpPr>
            <a:spLocks noGrp="1"/>
          </p:cNvSpPr>
          <p:nvPr>
            <p:ph type="title" hasCustomPrompt="1"/>
          </p:nvPr>
        </p:nvSpPr>
        <p:spPr>
          <a:xfrm>
            <a:off x="360364" y="808348"/>
            <a:ext cx="8390131" cy="323540"/>
          </a:xfrm>
          <a:prstGeom prst="rect">
            <a:avLst/>
          </a:prstGeom>
        </p:spPr>
        <p:txBody>
          <a:bodyPr vert="horz" lIns="0" tIns="0" rIns="0" bIns="0" rtlCol="0" anchor="b" anchorCtr="0">
            <a:noAutofit/>
          </a:bodyPr>
          <a:lstStyle>
            <a:lvl1pPr algn="l">
              <a:defRPr sz="2000" b="1"/>
            </a:lvl1pPr>
          </a:lstStyle>
          <a:p>
            <a:pPr algn="l"/>
            <a:r>
              <a:rPr lang="zh-CN" altLang="en-US" dirty="0"/>
              <a:t>多媒体</a:t>
            </a:r>
            <a:r>
              <a:rPr lang="en-US" altLang="zh-CN" dirty="0"/>
              <a:t>+</a:t>
            </a:r>
            <a:r>
              <a:rPr lang="zh-CN" altLang="en-US" dirty="0"/>
              <a:t>文字页面 </a:t>
            </a:r>
            <a:r>
              <a:rPr lang="en-US" altLang="zh-CN" dirty="0"/>
              <a:t>- </a:t>
            </a:r>
            <a:r>
              <a:rPr lang="zh-CN" altLang="en-US" dirty="0"/>
              <a:t>点击添加主题</a:t>
            </a:r>
            <a:endParaRPr lang="en-GB" noProof="0" dirty="0"/>
          </a:p>
        </p:txBody>
      </p:sp>
      <p:sp>
        <p:nvSpPr>
          <p:cNvPr id="19" name="Slide Number Placeholder 9">
            <a:extLst>
              <a:ext uri="{FF2B5EF4-FFF2-40B4-BE49-F238E27FC236}">
                <a16:creationId xmlns:a16="http://schemas.microsoft.com/office/drawing/2014/main" id="{A6FF38EF-AFEB-4459-8B10-B7A41ACE0BC5}"/>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27962989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6" imgW="216" imgH="216" progId="TCLayout.ActiveDocument.1">
                  <p:embed/>
                </p:oleObj>
              </mc:Choice>
              <mc:Fallback>
                <p:oleObj name="think-cell 幻灯片" r:id="rId26" imgW="216" imgH="216"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361120" y="1347788"/>
            <a:ext cx="8389181" cy="3457575"/>
          </a:xfrm>
          <a:prstGeom prst="rect">
            <a:avLst/>
          </a:prstGeom>
        </p:spPr>
        <p:txBody>
          <a:bodyPr vert="horz" lIns="0" tIns="0" rIns="0" bIns="0" rtlCol="0" anchor="t" anchorCtr="0">
            <a:normAutofit/>
          </a:bodyPr>
          <a:lstStyle/>
          <a:p>
            <a:pPr lvl="0"/>
            <a:r>
              <a:rPr lang="ja-JP" altLang="en-GB" noProof="0" dirty="0"/>
              <a:t>点击</a:t>
            </a:r>
            <a:r>
              <a:rPr lang="ja-JP" altLang="en-US" noProof="0" dirty="0"/>
              <a:t>添加文字</a:t>
            </a:r>
            <a:endParaRPr lang="en-GB" noProof="0" dirty="0"/>
          </a:p>
          <a:p>
            <a:pPr lvl="1"/>
            <a:r>
              <a:rPr lang="ja-JP" altLang="en-GB" noProof="0" dirty="0"/>
              <a:t>第一</a:t>
            </a:r>
            <a:r>
              <a:rPr lang="ja-JP" altLang="en-US" noProof="0" dirty="0"/>
              <a:t>项要点</a:t>
            </a:r>
            <a:endParaRPr lang="en-GB" noProof="0" dirty="0"/>
          </a:p>
          <a:p>
            <a:pPr lvl="2"/>
            <a:r>
              <a:rPr lang="ja-JP" altLang="en-GB" noProof="0" dirty="0"/>
              <a:t>第二</a:t>
            </a:r>
            <a:r>
              <a:rPr lang="ja-JP" altLang="en-US" noProof="0" dirty="0"/>
              <a:t>项要点</a:t>
            </a:r>
            <a:endParaRPr lang="en-GB" noProof="0" dirty="0"/>
          </a:p>
          <a:p>
            <a:pPr lvl="3"/>
            <a:r>
              <a:rPr lang="ja-JP" altLang="en-GB" noProof="0" dirty="0"/>
              <a:t>第三</a:t>
            </a:r>
            <a:r>
              <a:rPr lang="ja-JP" altLang="en-US" noProof="0" dirty="0"/>
              <a:t>项要点</a:t>
            </a:r>
            <a:endParaRPr lang="en-GB" noProof="0" dirty="0"/>
          </a:p>
          <a:p>
            <a:pPr lvl="4"/>
            <a:r>
              <a:rPr lang="ja-JP" altLang="en-GB" noProof="0" dirty="0"/>
              <a:t>第四</a:t>
            </a:r>
            <a:r>
              <a:rPr lang="ja-JP" altLang="en-US" noProof="0" dirty="0"/>
              <a:t>项要点</a:t>
            </a:r>
            <a:endParaRPr lang="en-GB" noProof="0" dirty="0"/>
          </a:p>
          <a:p>
            <a:pPr lvl="5"/>
            <a:r>
              <a:rPr lang="ja-JP" altLang="en-GB" noProof="0" dirty="0"/>
              <a:t>第五</a:t>
            </a:r>
            <a:r>
              <a:rPr lang="ja-JP" altLang="en-US" noProof="0" dirty="0"/>
              <a:t>项要点</a:t>
            </a:r>
            <a:endParaRPr lang="en-GB" noProof="0" dirty="0"/>
          </a:p>
        </p:txBody>
      </p:sp>
      <p:sp>
        <p:nvSpPr>
          <p:cNvPr id="12" name="Title Placeholder 10">
            <a:extLst>
              <a:ext uri="{FF2B5EF4-FFF2-40B4-BE49-F238E27FC236}">
                <a16:creationId xmlns:a16="http://schemas.microsoft.com/office/drawing/2014/main" id="{AA4802D7-EBFB-0543-BCD6-2989FC41D5E7}"/>
              </a:ext>
            </a:extLst>
          </p:cNvPr>
          <p:cNvSpPr>
            <a:spLocks noGrp="1"/>
          </p:cNvSpPr>
          <p:nvPr>
            <p:ph type="title"/>
          </p:nvPr>
        </p:nvSpPr>
        <p:spPr>
          <a:xfrm>
            <a:off x="360364" y="808348"/>
            <a:ext cx="8390131" cy="323540"/>
          </a:xfrm>
          <a:prstGeom prst="rect">
            <a:avLst/>
          </a:prstGeom>
        </p:spPr>
        <p:txBody>
          <a:bodyPr vert="horz" lIns="0" tIns="0" rIns="0" bIns="0" rtlCol="0" anchor="b" anchorCtr="0">
            <a:noAutofit/>
          </a:bodyPr>
          <a:lstStyle/>
          <a:p>
            <a:pPr lvl="0"/>
            <a:r>
              <a:rPr lang="ja-JP" altLang="en-GB" noProof="0" dirty="0"/>
              <a:t>点击</a:t>
            </a:r>
            <a:r>
              <a:rPr lang="ja-JP" altLang="en-US" noProof="0" dirty="0"/>
              <a:t>添加标题主题</a:t>
            </a:r>
            <a:endParaRPr lang="en-GB" noProof="0" dirty="0"/>
          </a:p>
        </p:txBody>
      </p:sp>
      <p:sp>
        <p:nvSpPr>
          <p:cNvPr id="10" name="Slide Number Placeholder 9">
            <a:extLst>
              <a:ext uri="{FF2B5EF4-FFF2-40B4-BE49-F238E27FC236}">
                <a16:creationId xmlns:a16="http://schemas.microsoft.com/office/drawing/2014/main" id="{8D7E79AC-554E-7347-92F7-599B02B6CE2F}"/>
              </a:ext>
            </a:extLst>
          </p:cNvPr>
          <p:cNvSpPr>
            <a:spLocks noGrp="1"/>
          </p:cNvSpPr>
          <p:nvPr>
            <p:ph type="sldNum" sz="quarter" idx="4"/>
          </p:nvPr>
        </p:nvSpPr>
        <p:spPr>
          <a:xfrm>
            <a:off x="8389464" y="4919069"/>
            <a:ext cx="361031" cy="102194"/>
          </a:xfrm>
          <a:prstGeom prst="rect">
            <a:avLst/>
          </a:prstGeom>
        </p:spPr>
        <p:txBody>
          <a:bodyPr lIns="0" tIns="0" rIns="0" bIns="0" anchor="ctr" anchorCtr="0"/>
          <a:lstStyle>
            <a:lvl1pPr algn="r">
              <a:defRPr sz="700" b="0" i="0">
                <a:solidFill>
                  <a:schemeClr val="bg1">
                    <a:lumMod val="50000"/>
                  </a:schemeClr>
                </a:solidFill>
                <a:latin typeface="微软雅黑" panose="020B0503020204020204" pitchFamily="34" charset="-122"/>
                <a:ea typeface="微软雅黑" panose="020B0503020204020204" pitchFamily="34" charset="-122"/>
              </a:defRPr>
            </a:lvl1pPr>
          </a:lstStyle>
          <a:p>
            <a:fld id="{EECA8F73-ACC7-A64F-8F77-C8CBCE9A3AB4}" type="slidenum">
              <a:rPr lang="en-GB" smtClean="0"/>
              <a:pPr/>
              <a:t>‹#›</a:t>
            </a:fld>
            <a:endParaRPr lang="en-GB" dirty="0"/>
          </a:p>
        </p:txBody>
      </p:sp>
    </p:spTree>
    <p:extLst>
      <p:ext uri="{BB962C8B-B14F-4D97-AF65-F5344CB8AC3E}">
        <p14:creationId xmlns:p14="http://schemas.microsoft.com/office/powerpoint/2010/main" val="4052676013"/>
      </p:ext>
    </p:extLst>
  </p:cSld>
  <p:clrMap bg1="lt1" tx1="dk1" bg2="lt2" tx2="dk2" accent1="accent1" accent2="accent2" accent3="accent3" accent4="accent4" accent5="accent5" accent6="accent6" hlink="hlink" folHlink="folHlink"/>
  <p:sldLayoutIdLst>
    <p:sldLayoutId id="2147483678" r:id="rId1"/>
    <p:sldLayoutId id="2147483679" r:id="rId2"/>
    <p:sldLayoutId id="2147483680" r:id="rId3"/>
    <p:sldLayoutId id="2147483681" r:id="rId4"/>
    <p:sldLayoutId id="2147483682" r:id="rId5"/>
    <p:sldLayoutId id="2147483683" r:id="rId6"/>
    <p:sldLayoutId id="2147483684" r:id="rId7"/>
    <p:sldLayoutId id="2147483685" r:id="rId8"/>
    <p:sldLayoutId id="2147483686" r:id="rId9"/>
    <p:sldLayoutId id="2147483687" r:id="rId10"/>
    <p:sldLayoutId id="2147483688" r:id="rId11"/>
    <p:sldLayoutId id="2147483689" r:id="rId12"/>
    <p:sldLayoutId id="2147483690" r:id="rId13"/>
    <p:sldLayoutId id="2147483691" r:id="rId14"/>
    <p:sldLayoutId id="2147483692" r:id="rId15"/>
    <p:sldLayoutId id="2147483693" r:id="rId16"/>
    <p:sldLayoutId id="2147483700" r:id="rId17"/>
    <p:sldLayoutId id="2147483694" r:id="rId18"/>
    <p:sldLayoutId id="2147483695" r:id="rId19"/>
    <p:sldLayoutId id="2147483696" r:id="rId20"/>
    <p:sldLayoutId id="2147483699" r:id="rId21"/>
    <p:sldLayoutId id="2147483697" r:id="rId22"/>
    <p:sldLayoutId id="2147483698" r:id="rId23"/>
  </p:sldLayoutIdLst>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hf hdr="0" ftr="0" dt="0"/>
  <p:txStyles>
    <p:titleStyle>
      <a:lvl1pPr algn="l" defTabSz="685981" rtl="0" eaLnBrk="1" latinLnBrk="0" hangingPunct="1">
        <a:lnSpc>
          <a:spcPct val="90000"/>
        </a:lnSpc>
        <a:spcBef>
          <a:spcPct val="0"/>
        </a:spcBef>
        <a:buNone/>
        <a:defRPr lang="en-GB" altLang="en-US" sz="2000" b="1" i="0" kern="1200" noProof="0" dirty="0">
          <a:solidFill>
            <a:schemeClr val="tx1"/>
          </a:solidFill>
          <a:latin typeface="微软雅黑" panose="020B0503020204020204" pitchFamily="34" charset="-122"/>
          <a:ea typeface="+mj-ea"/>
          <a:cs typeface="+mj-cs"/>
        </a:defRPr>
      </a:lvl1pPr>
    </p:titleStyle>
    <p:bodyStyle>
      <a:lvl1pPr marL="0" indent="0" algn="l" defTabSz="685981" rtl="0" eaLnBrk="1" latinLnBrk="0" hangingPunct="1">
        <a:lnSpc>
          <a:spcPct val="120000"/>
        </a:lnSpc>
        <a:spcBef>
          <a:spcPts val="0"/>
        </a:spcBef>
        <a:spcAft>
          <a:spcPts val="600"/>
        </a:spcAft>
        <a:buSzPct val="80000"/>
        <a:buFont typeface="Volvo Novum Light" panose="020B0604020202020204" pitchFamily="34" charset="0"/>
        <a:buNone/>
        <a:tabLst/>
        <a:defRPr sz="1200" b="0" i="0" kern="1200">
          <a:solidFill>
            <a:schemeClr val="tx1"/>
          </a:solidFill>
          <a:latin typeface="微软雅黑" panose="020B0503020204020204" pitchFamily="34" charset="-122"/>
          <a:ea typeface="微软雅黑" panose="020B0503020204020204" pitchFamily="34" charset="-122"/>
          <a:cs typeface="+mn-cs"/>
        </a:defRPr>
      </a:lvl1pPr>
      <a:lvl2pPr marL="126033" indent="-126033" algn="l" defTabSz="685981" rtl="0" eaLnBrk="1" latinLnBrk="0" hangingPunct="1">
        <a:lnSpc>
          <a:spcPct val="120000"/>
        </a:lnSpc>
        <a:spcBef>
          <a:spcPts val="0"/>
        </a:spcBef>
        <a:spcAft>
          <a:spcPts val="600"/>
        </a:spcAft>
        <a:buSzPct val="80000"/>
        <a:buFont typeface="Volvo Novum Light" panose="020B0604020202020204" pitchFamily="34" charset="0"/>
        <a:buChar char="•"/>
        <a:tabLst/>
        <a:defRPr sz="1200" b="0" i="0" kern="1200">
          <a:solidFill>
            <a:schemeClr val="tx1"/>
          </a:solidFill>
          <a:latin typeface="微软雅黑" panose="020B0503020204020204" pitchFamily="34" charset="-122"/>
          <a:ea typeface="微软雅黑" panose="020B0503020204020204" pitchFamily="34" charset="-122"/>
          <a:cs typeface="+mn-cs"/>
        </a:defRPr>
      </a:lvl2pPr>
      <a:lvl3pPr marL="134933" indent="103184" algn="l" defTabSz="685981" rtl="0" eaLnBrk="1" latinLnBrk="0" hangingPunct="1">
        <a:lnSpc>
          <a:spcPct val="120000"/>
        </a:lnSpc>
        <a:spcBef>
          <a:spcPts val="0"/>
        </a:spcBef>
        <a:spcAft>
          <a:spcPts val="600"/>
        </a:spcAft>
        <a:buSzPct val="80000"/>
        <a:buFont typeface="Volvo Novum Light" panose="020B0604020202020204" pitchFamily="34" charset="0"/>
        <a:buChar char="•"/>
        <a:tabLst/>
        <a:defRPr sz="1000" b="0" i="0" kern="1200">
          <a:solidFill>
            <a:schemeClr val="tx1"/>
          </a:solidFill>
          <a:latin typeface="微软雅黑" panose="020B0503020204020204" pitchFamily="34" charset="-122"/>
          <a:ea typeface="微软雅黑" panose="020B0503020204020204" pitchFamily="34" charset="-122"/>
          <a:cs typeface="+mn-cs"/>
        </a:defRPr>
      </a:lvl3pPr>
      <a:lvl4pPr marL="247641" indent="82547" algn="l" defTabSz="685981" rtl="0" eaLnBrk="1" latinLnBrk="0" hangingPunct="1">
        <a:lnSpc>
          <a:spcPct val="120000"/>
        </a:lnSpc>
        <a:spcBef>
          <a:spcPts val="0"/>
        </a:spcBef>
        <a:spcAft>
          <a:spcPts val="600"/>
        </a:spcAft>
        <a:buSzPct val="80000"/>
        <a:buFont typeface="Volvo Novum Light" panose="020B0604020202020204" pitchFamily="34" charset="0"/>
        <a:buChar char="•"/>
        <a:tabLst/>
        <a:defRPr sz="900" b="0" i="0" kern="1200">
          <a:solidFill>
            <a:schemeClr val="tx1"/>
          </a:solidFill>
          <a:latin typeface="微软雅黑" panose="020B0503020204020204" pitchFamily="34" charset="-122"/>
          <a:ea typeface="微软雅黑" panose="020B0503020204020204" pitchFamily="34" charset="-122"/>
          <a:cs typeface="+mn-cs"/>
        </a:defRPr>
      </a:lvl4pPr>
      <a:lvl5pPr marL="330188" indent="82547" algn="l" defTabSz="685981" rtl="0" eaLnBrk="1" latinLnBrk="0" hangingPunct="1">
        <a:lnSpc>
          <a:spcPct val="120000"/>
        </a:lnSpc>
        <a:spcBef>
          <a:spcPts val="0"/>
        </a:spcBef>
        <a:spcAft>
          <a:spcPts val="600"/>
        </a:spcAft>
        <a:buSzPct val="80000"/>
        <a:buFont typeface="Volvo Novum Light" panose="020B0604020202020204" pitchFamily="34" charset="0"/>
        <a:buChar char="•"/>
        <a:tabLst/>
        <a:defRPr sz="800" b="0" i="0" kern="1200">
          <a:solidFill>
            <a:schemeClr val="tx1"/>
          </a:solidFill>
          <a:latin typeface="微软雅黑" panose="020B0503020204020204" pitchFamily="34" charset="-122"/>
          <a:ea typeface="微软雅黑" panose="020B0503020204020204" pitchFamily="34" charset="-122"/>
          <a:cs typeface="+mn-cs"/>
        </a:defRPr>
      </a:lvl5pPr>
      <a:lvl6pPr marL="419084" indent="69847" algn="l" defTabSz="613961" rtl="0" eaLnBrk="1" latinLnBrk="0" hangingPunct="1">
        <a:lnSpc>
          <a:spcPct val="120000"/>
        </a:lnSpc>
        <a:spcBef>
          <a:spcPts val="0"/>
        </a:spcBef>
        <a:spcAft>
          <a:spcPts val="600"/>
        </a:spcAft>
        <a:buSzPct val="80000"/>
        <a:buFont typeface="Volvo Novum Light" panose="020B0604020202020204" pitchFamily="34" charset="0"/>
        <a:buChar char="•"/>
        <a:tabLst/>
        <a:defRPr sz="700" b="0" i="0" kern="1200">
          <a:solidFill>
            <a:schemeClr val="tx1"/>
          </a:solidFill>
          <a:latin typeface="微软雅黑" panose="020B0503020204020204" pitchFamily="34" charset="-122"/>
          <a:ea typeface="微软雅黑" panose="020B0503020204020204" pitchFamily="34" charset="-122"/>
          <a:cs typeface="+mn-cs"/>
        </a:defRPr>
      </a:lvl6pPr>
      <a:lvl7pPr marL="417584" indent="68398" algn="l" defTabSz="685981" rtl="0" eaLnBrk="1" latinLnBrk="0" hangingPunct="1">
        <a:lnSpc>
          <a:spcPct val="100000"/>
        </a:lnSpc>
        <a:spcBef>
          <a:spcPts val="0"/>
        </a:spcBef>
        <a:spcAft>
          <a:spcPts val="600"/>
        </a:spcAft>
        <a:buSzPct val="80000"/>
        <a:buFont typeface="Volvo Novum Light" panose="020B0604020202020204" pitchFamily="34" charset="0"/>
        <a:buChar char="•"/>
        <a:defRPr sz="700" b="0" i="0" kern="1200">
          <a:solidFill>
            <a:schemeClr val="tx1"/>
          </a:solidFill>
          <a:latin typeface="Volvo Novum Light" panose="020B0303040502060204" pitchFamily="34" charset="77"/>
          <a:ea typeface="+mn-ea"/>
          <a:cs typeface="+mn-cs"/>
        </a:defRPr>
      </a:lvl7pPr>
      <a:lvl8pPr marL="417584" indent="68398" algn="l" defTabSz="685981" rtl="0" eaLnBrk="1" latinLnBrk="0" hangingPunct="1">
        <a:lnSpc>
          <a:spcPct val="100000"/>
        </a:lnSpc>
        <a:spcBef>
          <a:spcPts val="0"/>
        </a:spcBef>
        <a:spcAft>
          <a:spcPts val="600"/>
        </a:spcAft>
        <a:buSzPct val="80000"/>
        <a:buFont typeface="Volvo Novum Light" panose="020B0604020202020204" pitchFamily="34" charset="0"/>
        <a:buChar char="•"/>
        <a:defRPr sz="700" b="0" i="0" kern="1200">
          <a:solidFill>
            <a:schemeClr val="tx1"/>
          </a:solidFill>
          <a:latin typeface="Volvo Novum Light" panose="020B0303040502060204" pitchFamily="34" charset="77"/>
          <a:ea typeface="+mn-ea"/>
          <a:cs typeface="+mn-cs"/>
        </a:defRPr>
      </a:lvl8pPr>
      <a:lvl9pPr marL="417584" indent="68398" algn="l" defTabSz="685981" rtl="0" eaLnBrk="1" latinLnBrk="0" hangingPunct="1">
        <a:lnSpc>
          <a:spcPct val="100000"/>
        </a:lnSpc>
        <a:spcBef>
          <a:spcPts val="0"/>
        </a:spcBef>
        <a:spcAft>
          <a:spcPts val="600"/>
        </a:spcAft>
        <a:buSzPct val="80000"/>
        <a:buFont typeface="Volvo Novum Light" panose="020B0604020202020204" pitchFamily="34" charset="0"/>
        <a:buChar char="•"/>
        <a:defRPr sz="700" b="0" i="0" kern="1200">
          <a:solidFill>
            <a:schemeClr val="tx1"/>
          </a:solidFill>
          <a:latin typeface="Volvo Novum Light" panose="020B0303040502060204" pitchFamily="34" charset="77"/>
          <a:ea typeface="+mn-ea"/>
          <a:cs typeface="+mn-cs"/>
        </a:defRPr>
      </a:lvl9pPr>
    </p:bodyStyle>
    <p:otherStyle>
      <a:defPPr>
        <a:defRPr lang="en-US"/>
      </a:defPPr>
      <a:lvl1pPr marL="0" algn="l" defTabSz="685981" rtl="0" eaLnBrk="1" latinLnBrk="0" hangingPunct="1">
        <a:defRPr sz="1350" kern="1200">
          <a:solidFill>
            <a:schemeClr val="tx1"/>
          </a:solidFill>
          <a:latin typeface="+mn-lt"/>
          <a:ea typeface="+mn-ea"/>
          <a:cs typeface="+mn-cs"/>
        </a:defRPr>
      </a:lvl1pPr>
      <a:lvl2pPr marL="342990" algn="l" defTabSz="685981" rtl="0" eaLnBrk="1" latinLnBrk="0" hangingPunct="1">
        <a:defRPr sz="1350" kern="1200">
          <a:solidFill>
            <a:schemeClr val="tx1"/>
          </a:solidFill>
          <a:latin typeface="+mn-lt"/>
          <a:ea typeface="+mn-ea"/>
          <a:cs typeface="+mn-cs"/>
        </a:defRPr>
      </a:lvl2pPr>
      <a:lvl3pPr marL="685981" algn="l" defTabSz="685981" rtl="0" eaLnBrk="1" latinLnBrk="0" hangingPunct="1">
        <a:defRPr sz="1350" kern="1200">
          <a:solidFill>
            <a:schemeClr val="tx1"/>
          </a:solidFill>
          <a:latin typeface="+mn-lt"/>
          <a:ea typeface="+mn-ea"/>
          <a:cs typeface="+mn-cs"/>
        </a:defRPr>
      </a:lvl3pPr>
      <a:lvl4pPr marL="1028971" algn="l" defTabSz="685981" rtl="0" eaLnBrk="1" latinLnBrk="0" hangingPunct="1">
        <a:defRPr sz="1350" kern="1200">
          <a:solidFill>
            <a:schemeClr val="tx1"/>
          </a:solidFill>
          <a:latin typeface="+mn-lt"/>
          <a:ea typeface="+mn-ea"/>
          <a:cs typeface="+mn-cs"/>
        </a:defRPr>
      </a:lvl4pPr>
      <a:lvl5pPr marL="1371961" algn="l" defTabSz="685981" rtl="0" eaLnBrk="1" latinLnBrk="0" hangingPunct="1">
        <a:defRPr sz="1350" kern="1200">
          <a:solidFill>
            <a:schemeClr val="tx1"/>
          </a:solidFill>
          <a:latin typeface="+mn-lt"/>
          <a:ea typeface="+mn-ea"/>
          <a:cs typeface="+mn-cs"/>
        </a:defRPr>
      </a:lvl5pPr>
      <a:lvl6pPr marL="1714951" algn="l" defTabSz="685981" rtl="0" eaLnBrk="1" latinLnBrk="0" hangingPunct="1">
        <a:defRPr sz="1350" kern="1200">
          <a:solidFill>
            <a:schemeClr val="tx1"/>
          </a:solidFill>
          <a:latin typeface="+mn-lt"/>
          <a:ea typeface="+mn-ea"/>
          <a:cs typeface="+mn-cs"/>
        </a:defRPr>
      </a:lvl6pPr>
      <a:lvl7pPr marL="2057941" algn="l" defTabSz="685981" rtl="0" eaLnBrk="1" latinLnBrk="0" hangingPunct="1">
        <a:defRPr sz="1350" kern="1200">
          <a:solidFill>
            <a:schemeClr val="tx1"/>
          </a:solidFill>
          <a:latin typeface="+mn-lt"/>
          <a:ea typeface="+mn-ea"/>
          <a:cs typeface="+mn-cs"/>
        </a:defRPr>
      </a:lvl7pPr>
      <a:lvl8pPr marL="2400932" algn="l" defTabSz="685981" rtl="0" eaLnBrk="1" latinLnBrk="0" hangingPunct="1">
        <a:defRPr sz="1350" kern="1200">
          <a:solidFill>
            <a:schemeClr val="tx1"/>
          </a:solidFill>
          <a:latin typeface="+mn-lt"/>
          <a:ea typeface="+mn-ea"/>
          <a:cs typeface="+mn-cs"/>
        </a:defRPr>
      </a:lvl8pPr>
      <a:lvl9pPr marL="2743922" algn="l" defTabSz="685981"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04" userDrawn="1">
          <p15:clr>
            <a:srgbClr val="F26B43"/>
          </p15:clr>
        </p15:guide>
        <p15:guide id="2" orient="horz" pos="2725" userDrawn="1">
          <p15:clr>
            <a:srgbClr val="F26B43"/>
          </p15:clr>
        </p15:guide>
        <p15:guide id="3" pos="4963" userDrawn="1">
          <p15:clr>
            <a:srgbClr val="F26B43"/>
          </p15:clr>
        </p15:guide>
        <p15:guide id="4" orient="horz" pos="1112" userDrawn="1">
          <p15:clr>
            <a:srgbClr val="A4A3A4"/>
          </p15:clr>
        </p15:guide>
        <p15:guide id="5" pos="470" userDrawn="1">
          <p15:clr>
            <a:srgbClr val="A4A3A4"/>
          </p15:clr>
        </p15:guide>
        <p15:guide id="6" pos="613" userDrawn="1">
          <p15:clr>
            <a:srgbClr val="A4A3A4"/>
          </p15:clr>
        </p15:guide>
        <p15:guide id="7" pos="879" userDrawn="1">
          <p15:clr>
            <a:srgbClr val="A4A3A4"/>
          </p15:clr>
        </p15:guide>
        <p15:guide id="8" pos="1022" userDrawn="1">
          <p15:clr>
            <a:srgbClr val="A4A3A4"/>
          </p15:clr>
        </p15:guide>
        <p15:guide id="9" pos="1287" userDrawn="1">
          <p15:clr>
            <a:srgbClr val="A4A3A4"/>
          </p15:clr>
        </p15:guide>
        <p15:guide id="10" pos="1430" userDrawn="1">
          <p15:clr>
            <a:srgbClr val="A4A3A4"/>
          </p15:clr>
        </p15:guide>
        <p15:guide id="11" pos="1695" userDrawn="1">
          <p15:clr>
            <a:srgbClr val="A4A3A4"/>
          </p15:clr>
        </p15:guide>
        <p15:guide id="12" pos="1838" userDrawn="1">
          <p15:clr>
            <a:srgbClr val="A4A3A4"/>
          </p15:clr>
        </p15:guide>
        <p15:guide id="13" pos="2104" userDrawn="1">
          <p15:clr>
            <a:srgbClr val="A4A3A4"/>
          </p15:clr>
        </p15:guide>
        <p15:guide id="14" pos="2246" userDrawn="1">
          <p15:clr>
            <a:srgbClr val="A4A3A4"/>
          </p15:clr>
        </p15:guide>
        <p15:guide id="15" pos="2512" userDrawn="1">
          <p15:clr>
            <a:srgbClr val="5ACBF0"/>
          </p15:clr>
        </p15:guide>
        <p15:guide id="16" pos="2655" userDrawn="1">
          <p15:clr>
            <a:srgbClr val="5ACBF0"/>
          </p15:clr>
        </p15:guide>
        <p15:guide id="17" pos="2921" userDrawn="1">
          <p15:clr>
            <a:srgbClr val="A4A3A4"/>
          </p15:clr>
        </p15:guide>
        <p15:guide id="18" pos="3064" userDrawn="1">
          <p15:clr>
            <a:srgbClr val="A4A3A4"/>
          </p15:clr>
        </p15:guide>
        <p15:guide id="19" pos="3328" userDrawn="1">
          <p15:clr>
            <a:srgbClr val="A4A3A4"/>
          </p15:clr>
        </p15:guide>
        <p15:guide id="20" pos="3472" userDrawn="1">
          <p15:clr>
            <a:srgbClr val="A4A3A4"/>
          </p15:clr>
        </p15:guide>
        <p15:guide id="21" pos="3737" userDrawn="1">
          <p15:clr>
            <a:srgbClr val="A4A3A4"/>
          </p15:clr>
        </p15:guide>
        <p15:guide id="22" pos="3880" userDrawn="1">
          <p15:clr>
            <a:srgbClr val="A4A3A4"/>
          </p15:clr>
        </p15:guide>
        <p15:guide id="23" pos="4146" userDrawn="1">
          <p15:clr>
            <a:srgbClr val="A4A3A4"/>
          </p15:clr>
        </p15:guide>
        <p15:guide id="24" pos="4288" userDrawn="1">
          <p15:clr>
            <a:srgbClr val="A4A3A4"/>
          </p15:clr>
        </p15:guide>
        <p15:guide id="25" pos="4554" userDrawn="1">
          <p15:clr>
            <a:srgbClr val="A4A3A4"/>
          </p15:clr>
        </p15:guide>
        <p15:guide id="26" pos="4697" userDrawn="1">
          <p15:clr>
            <a:srgbClr val="A4A3A4"/>
          </p15:clr>
        </p15:guide>
        <p15:guide id="27" orient="horz" pos="989" userDrawn="1">
          <p15:clr>
            <a:srgbClr val="A4A3A4"/>
          </p15:clr>
        </p15:guide>
        <p15:guide id="28" orient="horz" pos="1336" userDrawn="1">
          <p15:clr>
            <a:srgbClr val="A4A3A4"/>
          </p15:clr>
        </p15:guide>
        <p15:guide id="29" orient="horz" pos="1459" userDrawn="1">
          <p15:clr>
            <a:srgbClr val="A4A3A4"/>
          </p15:clr>
        </p15:guide>
        <p15:guide id="30" orient="horz" pos="1684" userDrawn="1">
          <p15:clr>
            <a:srgbClr val="5ACBF0"/>
          </p15:clr>
        </p15:guide>
        <p15:guide id="31" orient="horz" pos="1806" userDrawn="1">
          <p15:clr>
            <a:srgbClr val="5ACBF0"/>
          </p15:clr>
        </p15:guide>
        <p15:guide id="32" orient="horz" pos="2031" userDrawn="1">
          <p15:clr>
            <a:srgbClr val="A4A3A4"/>
          </p15:clr>
        </p15:guide>
        <p15:guide id="33" orient="horz" pos="2153" userDrawn="1">
          <p15:clr>
            <a:srgbClr val="A4A3A4"/>
          </p15:clr>
        </p15:guide>
        <p15:guide id="34" orient="horz" pos="2378" userDrawn="1">
          <p15:clr>
            <a:srgbClr val="A4A3A4"/>
          </p15:clr>
        </p15:guide>
        <p15:guide id="35" orient="horz" pos="2500" userDrawn="1">
          <p15:clr>
            <a:srgbClr val="A4A3A4"/>
          </p15:clr>
        </p15:guide>
        <p15:guide id="36" orient="horz" pos="764" userDrawn="1">
          <p15:clr>
            <a:srgbClr val="F26B43"/>
          </p15:clr>
        </p15:guide>
        <p15:guide id="37" orient="horz" pos="642" userDrawn="1">
          <p15:clr>
            <a:srgbClr val="A4A3A4"/>
          </p15:clr>
        </p15:guide>
        <p15:guide id="38" orient="horz" pos="2848" userDrawn="1">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15.jpeg"/><Relationship Id="rId5" Type="http://schemas.openxmlformats.org/officeDocument/2006/relationships/image" Target="../media/image14.jpeg"/><Relationship Id="rId4" Type="http://schemas.openxmlformats.org/officeDocument/2006/relationships/image" Target="../media/image13.jpeg"/></Relationships>
</file>

<file path=ppt/slides/_rels/slide37.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3.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s>
</file>

<file path=ppt/slides/_rels/slide3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3.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package" Target="../embeddings/Microsoft_Word_Document.docx"/><Relationship Id="rId1" Type="http://schemas.openxmlformats.org/officeDocument/2006/relationships/slideLayout" Target="../slideLayouts/slideLayout3.xml"/></Relationships>
</file>

<file path=ppt/slides/_rels/slide64.xml.rels><?xml version="1.0" encoding="UTF-8" standalone="yes"?>
<Relationships xmlns="http://schemas.openxmlformats.org/package/2006/relationships"><Relationship Id="rId2" Type="http://schemas.openxmlformats.org/officeDocument/2006/relationships/hyperlink" Target="mailto:vccnnd@volvocars.com" TargetMode="External"/><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7">
            <a:extLst>
              <a:ext uri="{FF2B5EF4-FFF2-40B4-BE49-F238E27FC236}">
                <a16:creationId xmlns:a16="http://schemas.microsoft.com/office/drawing/2014/main" id="{B205CDBB-F429-462E-A71A-FF069283F4A0}"/>
              </a:ext>
            </a:extLst>
          </p:cNvPr>
          <p:cNvPicPr>
            <a:picLocks noGrp="1" noChangeAspect="1"/>
          </p:cNvPicPr>
          <p:nvPr>
            <p:ph type="pic" sz="quarter" idx="16"/>
          </p:nvPr>
        </p:nvPicPr>
        <p:blipFill>
          <a:blip r:embed="rId2"/>
          <a:srcRect/>
          <a:stretch/>
        </p:blipFill>
        <p:spPr>
          <a:xfrm>
            <a:off x="2" y="0"/>
            <a:ext cx="10160000" cy="5715000"/>
          </a:xfrm>
        </p:spPr>
      </p:pic>
      <p:sp>
        <p:nvSpPr>
          <p:cNvPr id="2" name="Title 1"/>
          <p:cNvSpPr>
            <a:spLocks noGrp="1"/>
          </p:cNvSpPr>
          <p:nvPr>
            <p:ph type="ctrTitle"/>
          </p:nvPr>
        </p:nvSpPr>
        <p:spPr>
          <a:xfrm>
            <a:off x="2409122" y="1484205"/>
            <a:ext cx="4328931" cy="504056"/>
          </a:xfrm>
        </p:spPr>
        <p:txBody>
          <a:bodyPr/>
          <a:lstStyle/>
          <a:p>
            <a:r>
              <a:rPr lang="zh-CN" altLang="en-US" b="1" dirty="0">
                <a:latin typeface="微软雅黑" panose="020B0503020204020204" pitchFamily="34" charset="-122"/>
                <a:ea typeface="微软雅黑" panose="020B0503020204020204" pitchFamily="34" charset="-122"/>
              </a:rPr>
              <a:t>沃尔沃汽车经销商申请业务计划书</a:t>
            </a:r>
            <a:br>
              <a:rPr lang="zh-CN" altLang="en-US" b="1" dirty="0">
                <a:latin typeface="微软雅黑" panose="020B0503020204020204" pitchFamily="34" charset="-122"/>
                <a:ea typeface="微软雅黑" panose="020B0503020204020204" pitchFamily="34" charset="-122"/>
              </a:rPr>
            </a:br>
            <a:endParaRPr lang="en-GB" dirty="0">
              <a:latin typeface="微软雅黑" panose="020B0503020204020204" pitchFamily="34" charset="-122"/>
              <a:ea typeface="微软雅黑" panose="020B0503020204020204" pitchFamily="34" charset="-122"/>
            </a:endParaRPr>
          </a:p>
        </p:txBody>
      </p:sp>
      <p:sp>
        <p:nvSpPr>
          <p:cNvPr id="10251" name="TextBox 1"/>
          <p:cNvSpPr txBox="1">
            <a:spLocks noChangeArrowheads="1"/>
          </p:cNvSpPr>
          <p:nvPr/>
        </p:nvSpPr>
        <p:spPr bwMode="auto">
          <a:xfrm>
            <a:off x="0" y="4913310"/>
            <a:ext cx="13613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r>
              <a:rPr lang="en-US" altLang="zh-CN" sz="1200" dirty="0">
                <a:latin typeface="微软雅黑" panose="020B0503020204020204" pitchFamily="34" charset="-122"/>
                <a:ea typeface="微软雅黑" panose="020B0503020204020204" pitchFamily="34" charset="-122"/>
              </a:rPr>
              <a:t>Version: 202506</a:t>
            </a:r>
          </a:p>
        </p:txBody>
      </p:sp>
      <p:pic>
        <p:nvPicPr>
          <p:cNvPr id="9" name="Bildobjekt 7">
            <a:extLst>
              <a:ext uri="{FF2B5EF4-FFF2-40B4-BE49-F238E27FC236}">
                <a16:creationId xmlns:a16="http://schemas.microsoft.com/office/drawing/2014/main" id="{DE3E88BB-5832-46E5-BAF1-8E9DB6D802E0}"/>
              </a:ext>
            </a:extLst>
          </p:cNvPr>
          <p:cNvPicPr>
            <a:picLocks noChangeAspect="1"/>
          </p:cNvPicPr>
          <p:nvPr/>
        </p:nvPicPr>
        <p:blipFill>
          <a:blip r:embed="rId3"/>
          <a:stretch>
            <a:fillRect/>
          </a:stretch>
        </p:blipFill>
        <p:spPr>
          <a:xfrm>
            <a:off x="4123588" y="216483"/>
            <a:ext cx="900000" cy="75848"/>
          </a:xfrm>
          <a:prstGeom prst="rect">
            <a:avLst/>
          </a:prstGeom>
          <a:noFill/>
        </p:spPr>
      </p:pic>
    </p:spTree>
    <p:extLst>
      <p:ext uri="{BB962C8B-B14F-4D97-AF65-F5344CB8AC3E}">
        <p14:creationId xmlns:p14="http://schemas.microsoft.com/office/powerpoint/2010/main" val="23747406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p:cNvGraphicFramePr>
            <a:graphicFrameLocks noGrp="1"/>
          </p:cNvGraphicFramePr>
          <p:nvPr>
            <p:ph sz="quarter" idx="35"/>
            <p:extLst>
              <p:ext uri="{D42A27DB-BD31-4B8C-83A1-F6EECF244321}">
                <p14:modId xmlns:p14="http://schemas.microsoft.com/office/powerpoint/2010/main" val="458231177"/>
              </p:ext>
            </p:extLst>
          </p:nvPr>
        </p:nvGraphicFramePr>
        <p:xfrm>
          <a:off x="360363" y="1347788"/>
          <a:ext cx="8390707" cy="3414933"/>
        </p:xfrm>
        <a:graphic>
          <a:graphicData uri="http://schemas.openxmlformats.org/drawingml/2006/table">
            <a:tbl>
              <a:tblPr/>
              <a:tblGrid>
                <a:gridCol w="261954">
                  <a:extLst>
                    <a:ext uri="{9D8B030D-6E8A-4147-A177-3AD203B41FA5}">
                      <a16:colId xmlns:a16="http://schemas.microsoft.com/office/drawing/2014/main" val="20000"/>
                    </a:ext>
                  </a:extLst>
                </a:gridCol>
                <a:gridCol w="2071072">
                  <a:extLst>
                    <a:ext uri="{9D8B030D-6E8A-4147-A177-3AD203B41FA5}">
                      <a16:colId xmlns:a16="http://schemas.microsoft.com/office/drawing/2014/main" val="20001"/>
                    </a:ext>
                  </a:extLst>
                </a:gridCol>
                <a:gridCol w="2015406">
                  <a:extLst>
                    <a:ext uri="{9D8B030D-6E8A-4147-A177-3AD203B41FA5}">
                      <a16:colId xmlns:a16="http://schemas.microsoft.com/office/drawing/2014/main" val="20002"/>
                    </a:ext>
                  </a:extLst>
                </a:gridCol>
                <a:gridCol w="361825">
                  <a:extLst>
                    <a:ext uri="{9D8B030D-6E8A-4147-A177-3AD203B41FA5}">
                      <a16:colId xmlns:a16="http://schemas.microsoft.com/office/drawing/2014/main" val="20003"/>
                    </a:ext>
                  </a:extLst>
                </a:gridCol>
                <a:gridCol w="2203686">
                  <a:extLst>
                    <a:ext uri="{9D8B030D-6E8A-4147-A177-3AD203B41FA5}">
                      <a16:colId xmlns:a16="http://schemas.microsoft.com/office/drawing/2014/main" val="20004"/>
                    </a:ext>
                  </a:extLst>
                </a:gridCol>
                <a:gridCol w="1476764">
                  <a:extLst>
                    <a:ext uri="{9D8B030D-6E8A-4147-A177-3AD203B41FA5}">
                      <a16:colId xmlns:a16="http://schemas.microsoft.com/office/drawing/2014/main" val="20005"/>
                    </a:ext>
                  </a:extLst>
                </a:gridCol>
              </a:tblGrid>
              <a:tr h="169717">
                <a:tc gridSpan="6">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请依时间顺序概述阁下过往十年曾参与之行业及职位，以最近者先述</a:t>
                      </a:r>
                      <a:endPar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169717">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1</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年限 </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起</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职位</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公司名称</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类型</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4576">
                <a:tc vMerge="1">
                  <a:txBody>
                    <a:bodyPr/>
                    <a:lstStyle/>
                    <a:p>
                      <a:endParaRPr lang="en-GB"/>
                    </a:p>
                  </a:txBody>
                  <a:tcPr/>
                </a:tc>
                <a:tc>
                  <a:txBody>
                    <a:bodyPr/>
                    <a:lstStyle>
                      <a:lvl1pPr>
                        <a:spcBef>
                          <a:spcPct val="20000"/>
                        </a:spcBef>
                        <a:tabLst>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98750" algn="ctr"/>
                          <a:tab pos="5399088" algn="r"/>
                        </a:tabLst>
                        <a:defRPr>
                          <a:solidFill>
                            <a:schemeClr val="tx1"/>
                          </a:solidFill>
                          <a:latin typeface="Arial" panose="020B0604020202020204" pitchFamily="34" charset="0"/>
                        </a:defRPr>
                      </a:lvl4pPr>
                      <a:lvl5pPr marL="2057400" indent="-228600">
                        <a:spcBef>
                          <a:spcPct val="20000"/>
                        </a:spcBef>
                        <a:tabLst>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98750" algn="ctr"/>
                          <a:tab pos="5399088" algn="r"/>
                        </a:tabLst>
                      </a:pP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a:ln>
                          <a:noFill/>
                        </a:ln>
                        <a:solidFill>
                          <a:srgbClr val="000000"/>
                        </a:solidFill>
                        <a:effectLst/>
                        <a:latin typeface="Arial" panose="020B0604020202020204" pitchFamily="34" charset="0"/>
                        <a:ea typeface="宋体" panose="02010600030101010101" pitchFamily="2"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169717">
                <a:tc vMerge="1">
                  <a:txBody>
                    <a:bodyPr/>
                    <a:lstStyle/>
                    <a:p>
                      <a:endParaRPr lang="en-GB"/>
                    </a:p>
                  </a:txBody>
                  <a:tcPr/>
                </a:tc>
                <a:tc gridSpan="5">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主要职责和业绩：</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3"/>
                  </a:ext>
                </a:extLst>
              </a:tr>
              <a:tr h="169717">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2</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年限 </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起</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职位</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公司名称</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类型</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169717">
                <a:tc vMerge="1">
                  <a:txBody>
                    <a:bodyPr/>
                    <a:lstStyle/>
                    <a:p>
                      <a:endParaRPr lang="en-GB"/>
                    </a:p>
                  </a:txBody>
                  <a:tcPr/>
                </a:tc>
                <a:tc>
                  <a:txBody>
                    <a:bodyPr/>
                    <a:lstStyle>
                      <a:lvl1pPr>
                        <a:spcBef>
                          <a:spcPct val="20000"/>
                        </a:spcBef>
                        <a:tabLst>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98750" algn="ctr"/>
                          <a:tab pos="5399088" algn="r"/>
                        </a:tabLst>
                        <a:defRPr>
                          <a:solidFill>
                            <a:schemeClr val="tx1"/>
                          </a:solidFill>
                          <a:latin typeface="Arial" panose="020B0604020202020204" pitchFamily="34" charset="0"/>
                        </a:defRPr>
                      </a:lvl4pPr>
                      <a:lvl5pPr marL="2057400" indent="-228600">
                        <a:spcBef>
                          <a:spcPct val="20000"/>
                        </a:spcBef>
                        <a:tabLst>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98750" algn="ctr"/>
                          <a:tab pos="5399088" algn="r"/>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169717">
                <a:tc vMerge="1">
                  <a:txBody>
                    <a:bodyPr/>
                    <a:lstStyle/>
                    <a:p>
                      <a:endParaRPr lang="en-GB"/>
                    </a:p>
                  </a:txBody>
                  <a:tcPr/>
                </a:tc>
                <a:tc gridSpan="5">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主要职责和业绩：</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169717">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3</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年限 </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起</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职位</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行业</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公司名称</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类型</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169717">
                <a:tc vMerge="1">
                  <a:txBody>
                    <a:bodyPr/>
                    <a:lstStyle/>
                    <a:p>
                      <a:endParaRPr lang="en-GB"/>
                    </a:p>
                  </a:txBody>
                  <a:tcPr/>
                </a:tc>
                <a:tc>
                  <a:txBody>
                    <a:bodyPr/>
                    <a:lstStyle>
                      <a:lvl1pPr>
                        <a:spcBef>
                          <a:spcPct val="20000"/>
                        </a:spcBef>
                        <a:tabLst>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98750" algn="ctr"/>
                          <a:tab pos="5399088" algn="r"/>
                        </a:tabLst>
                        <a:defRPr>
                          <a:solidFill>
                            <a:schemeClr val="tx1"/>
                          </a:solidFill>
                          <a:latin typeface="Arial" panose="020B0604020202020204" pitchFamily="34" charset="0"/>
                        </a:defRPr>
                      </a:lvl4pPr>
                      <a:lvl5pPr marL="2057400" indent="-228600">
                        <a:spcBef>
                          <a:spcPct val="20000"/>
                        </a:spcBef>
                        <a:tabLst>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98750" algn="ctr"/>
                          <a:tab pos="5399088" algn="r"/>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179799">
                <a:tc vMerge="1">
                  <a:txBody>
                    <a:bodyPr/>
                    <a:lstStyle/>
                    <a:p>
                      <a:endParaRPr lang="en-GB"/>
                    </a:p>
                  </a:txBody>
                  <a:tcPr/>
                </a:tc>
                <a:tc gridSpan="5">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主要职责和业绩：</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9"/>
                  </a:ext>
                </a:extLst>
              </a:tr>
              <a:tr h="169717">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4</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年限 </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起</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职位</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公司名称</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类型</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169717">
                <a:tc vMerge="1">
                  <a:txBody>
                    <a:bodyPr/>
                    <a:lstStyle/>
                    <a:p>
                      <a:endParaRPr lang="en-GB"/>
                    </a:p>
                  </a:txBody>
                  <a:tcPr/>
                </a:tc>
                <a:tc>
                  <a:txBody>
                    <a:bodyPr/>
                    <a:lstStyle>
                      <a:lvl1pPr>
                        <a:spcBef>
                          <a:spcPct val="20000"/>
                        </a:spcBef>
                        <a:tabLst>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98750" algn="ctr"/>
                          <a:tab pos="5399088" algn="r"/>
                        </a:tabLst>
                        <a:defRPr>
                          <a:solidFill>
                            <a:schemeClr val="tx1"/>
                          </a:solidFill>
                          <a:latin typeface="Arial" panose="020B0604020202020204" pitchFamily="34" charset="0"/>
                        </a:defRPr>
                      </a:lvl4pPr>
                      <a:lvl5pPr marL="2057400" indent="-228600">
                        <a:spcBef>
                          <a:spcPct val="20000"/>
                        </a:spcBef>
                        <a:tabLst>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98750" algn="ctr"/>
                          <a:tab pos="5399088" algn="r"/>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169717">
                <a:tc vMerge="1">
                  <a:txBody>
                    <a:bodyPr/>
                    <a:lstStyle/>
                    <a:p>
                      <a:endParaRPr lang="en-GB"/>
                    </a:p>
                  </a:txBody>
                  <a:tcPr/>
                </a:tc>
                <a:tc gridSpan="5">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主要职责和业绩：</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2"/>
                  </a:ext>
                </a:extLst>
              </a:tr>
              <a:tr h="169717">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5</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年限 </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起</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职位</a:t>
                      </a:r>
                      <a:r>
                        <a:rPr kumimoji="0" lang="en-US"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公司名称</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行业类型</a:t>
                      </a: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169717">
                <a:tc vMerge="1">
                  <a:txBody>
                    <a:bodyPr/>
                    <a:lstStyle/>
                    <a:p>
                      <a:endParaRPr lang="en-GB"/>
                    </a:p>
                  </a:txBody>
                  <a:tcPr/>
                </a:tc>
                <a:tc>
                  <a:txBody>
                    <a:bodyPr/>
                    <a:lstStyle>
                      <a:lvl1pPr>
                        <a:spcBef>
                          <a:spcPct val="20000"/>
                        </a:spcBef>
                        <a:tabLst>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98750" algn="ctr"/>
                          <a:tab pos="5399088" algn="r"/>
                        </a:tabLst>
                        <a:defRPr>
                          <a:solidFill>
                            <a:schemeClr val="tx1"/>
                          </a:solidFill>
                          <a:latin typeface="Arial" panose="020B0604020202020204" pitchFamily="34" charset="0"/>
                        </a:defRPr>
                      </a:lvl4pPr>
                      <a:lvl5pPr marL="2057400" indent="-228600">
                        <a:spcBef>
                          <a:spcPct val="20000"/>
                        </a:spcBef>
                        <a:tabLst>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98750" algn="ctr"/>
                          <a:tab pos="5399088" algn="r"/>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endParaRPr kumimoji="0" lang="zh-CN" altLang="zh-CN"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169717">
                <a:tc vMerge="1">
                  <a:txBody>
                    <a:bodyPr/>
                    <a:lstStyle/>
                    <a:p>
                      <a:endParaRPr lang="en-GB"/>
                    </a:p>
                  </a:txBody>
                  <a:tcPr/>
                </a:tc>
                <a:tc gridSpan="5">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主要职责和业绩：</a:t>
                      </a: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5"/>
                  </a:ext>
                </a:extLst>
              </a:tr>
              <a:tr h="603439">
                <a:tc gridSpan="6">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申请者其它资料</a:t>
                      </a:r>
                      <a:endPar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00000"/>
                        </a:lnSpc>
                        <a:spcBef>
                          <a:spcPts val="238"/>
                        </a:spcBef>
                        <a:spcAft>
                          <a:spcPts val="238"/>
                        </a:spcAft>
                        <a:buClrTx/>
                        <a:buSzTx/>
                        <a:buFontTx/>
                        <a:buNone/>
                        <a:tabLst/>
                      </a:pPr>
                      <a:endParaRPr kumimoji="0" lang="en-US" altLang="zh-CN" sz="11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00000"/>
                        </a:lnSpc>
                        <a:spcBef>
                          <a:spcPts val="238"/>
                        </a:spcBef>
                        <a:spcAft>
                          <a:spcPts val="238"/>
                        </a:spcAft>
                        <a:buClrTx/>
                        <a:buSzTx/>
                        <a:buFontTx/>
                        <a:buNone/>
                        <a:tabLst/>
                      </a:pPr>
                      <a:endParaRPr kumimoji="0" lang="en-US" altLang="zh-CN" sz="1100" b="1" i="0" u="none" strike="noStrike" cap="none" normalizeH="0" baseline="0" dirty="0">
                        <a:ln>
                          <a:noFill/>
                        </a:ln>
                        <a:solidFill>
                          <a:srgbClr val="FFFFFF"/>
                        </a:solidFill>
                        <a:effectLst/>
                        <a:latin typeface="微软雅黑" panose="020B0503020204020204" pitchFamily="34" charset="-122"/>
                        <a:ea typeface="微软雅黑" panose="020B0503020204020204" pitchFamily="34" charset="-122"/>
                      </a:endParaRPr>
                    </a:p>
                  </a:txBody>
                  <a:tcPr marL="66443" marR="6644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6"/>
                  </a:ext>
                </a:extLst>
              </a:tr>
            </a:tbl>
          </a:graphicData>
        </a:graphic>
      </p:graphicFrame>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经营决策者简历</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0</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282824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简介</a:t>
            </a:r>
            <a:r>
              <a:rPr lang="zh-CN" altLang="en-US" i="1" dirty="0">
                <a:solidFill>
                  <a:srgbClr val="000000"/>
                </a:solidFill>
              </a:rPr>
              <a:t>（附上现有经营的</a:t>
            </a:r>
            <a:r>
              <a:rPr lang="en-US" altLang="zh-CN" i="1" dirty="0">
                <a:solidFill>
                  <a:srgbClr val="000000"/>
                </a:solidFill>
              </a:rPr>
              <a:t>4S</a:t>
            </a:r>
            <a:r>
              <a:rPr lang="zh-CN" altLang="en-US" i="1" dirty="0">
                <a:solidFill>
                  <a:srgbClr val="000000"/>
                </a:solidFill>
              </a:rPr>
              <a:t>店照片） </a:t>
            </a:r>
            <a:endParaRPr lang="ja-JP" altLang="en-US" i="1" dirty="0">
              <a:solidFill>
                <a:srgbClr val="000000"/>
              </a:solidFill>
            </a:endParaRP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1</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100083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简介</a:t>
            </a:r>
            <a:endParaRPr lang="en-US" altLang="zh-CN" dirty="0">
              <a:latin typeface="微软雅黑" panose="020B0503020204020204" pitchFamily="34" charset="-122"/>
              <a:ea typeface="微软雅黑" panose="020B0503020204020204" pitchFamily="34" charset="-122"/>
            </a:endParaRPr>
          </a:p>
          <a:p>
            <a:pPr marL="0" indent="0">
              <a:spcBef>
                <a:spcPct val="20000"/>
              </a:spcBef>
              <a:buNone/>
            </a:pPr>
            <a:r>
              <a:rPr lang="en-US" altLang="zh-CN" i="1" dirty="0">
                <a:solidFill>
                  <a:srgbClr val="000000"/>
                </a:solidFill>
              </a:rPr>
              <a:t>(</a:t>
            </a:r>
            <a:r>
              <a:rPr lang="zh-CN" altLang="en-US" i="1" dirty="0">
                <a:solidFill>
                  <a:srgbClr val="000000"/>
                </a:solidFill>
              </a:rPr>
              <a:t>附上以往成功的市场营销案例以及厂家奖品图片</a:t>
            </a:r>
            <a:r>
              <a:rPr lang="en-US" altLang="zh-CN" i="1" dirty="0">
                <a:solidFill>
                  <a:srgbClr val="000000"/>
                </a:solidFill>
              </a:rPr>
              <a:t>)</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2</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158940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spcBef>
                <a:spcPct val="20000"/>
              </a:spcBef>
              <a:buNone/>
            </a:pPr>
            <a:r>
              <a:rPr lang="zh-CN" altLang="en-US" dirty="0">
                <a:solidFill>
                  <a:srgbClr val="000000"/>
                </a:solidFill>
                <a:latin typeface="微软雅黑" panose="020B0503020204020204" pitchFamily="34" charset="-122"/>
                <a:ea typeface="微软雅黑" panose="020B0503020204020204" pitchFamily="34" charset="-122"/>
              </a:rPr>
              <a:t>申请公司简介</a:t>
            </a:r>
            <a:endParaRPr lang="en-US" altLang="zh-CN" dirty="0">
              <a:solidFill>
                <a:srgbClr val="000000"/>
              </a:solidFill>
              <a:latin typeface="微软雅黑" panose="020B0503020204020204" pitchFamily="34" charset="-122"/>
              <a:ea typeface="微软雅黑" panose="020B0503020204020204" pitchFamily="34" charset="-122"/>
            </a:endParaRPr>
          </a:p>
          <a:p>
            <a:pPr marL="0" indent="0">
              <a:spcBef>
                <a:spcPct val="20000"/>
              </a:spcBef>
              <a:buNone/>
            </a:pPr>
            <a:r>
              <a:rPr lang="zh-CN" altLang="en-US" i="1" dirty="0">
                <a:solidFill>
                  <a:srgbClr val="000000"/>
                </a:solidFill>
                <a:latin typeface="微软雅黑" panose="020B0503020204020204" pitchFamily="34" charset="-122"/>
                <a:ea typeface="微软雅黑" panose="020B0503020204020204" pitchFamily="34" charset="-122"/>
              </a:rPr>
              <a:t>（附上以往主要的比较成功而有特色的业务管理经验介绍）</a:t>
            </a:r>
            <a:r>
              <a:rPr kumimoji="1" lang="zh-CN" altLang="en-US" i="1" dirty="0">
                <a:solidFill>
                  <a:srgbClr val="000000"/>
                </a:solidFill>
                <a:latin typeface="微软雅黑" panose="020B0503020204020204" pitchFamily="34" charset="-122"/>
                <a:ea typeface="微软雅黑" panose="020B0503020204020204" pitchFamily="34" charset="-122"/>
              </a:rPr>
              <a:t> </a:t>
            </a:r>
            <a:endParaRPr kumimoji="1" lang="ja-JP" altLang="en-US" i="1" dirty="0">
              <a:solidFill>
                <a:srgbClr val="000000"/>
              </a:solidFill>
              <a:latin typeface="微软雅黑" panose="020B0503020204020204" pitchFamily="34" charset="-122"/>
              <a:ea typeface="微软雅黑" panose="020B0503020204020204" pitchFamily="34" charset="-122"/>
            </a:endParaRPr>
          </a:p>
          <a:p>
            <a:pPr>
              <a:spcBef>
                <a:spcPct val="20000"/>
              </a:spcBef>
              <a:buFontTx/>
              <a:buChar char="•"/>
            </a:pPr>
            <a:endParaRPr lang="ja-JP" altLang="en-US" dirty="0">
              <a:solidFill>
                <a:srgbClr val="000000"/>
              </a:solidFill>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3</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250111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spcBef>
                <a:spcPct val="20000"/>
              </a:spcBef>
              <a:buNone/>
            </a:pPr>
            <a:r>
              <a:rPr lang="zh-CN" altLang="en-US" dirty="0">
                <a:solidFill>
                  <a:srgbClr val="000000"/>
                </a:solidFill>
                <a:latin typeface="微软雅黑" panose="020B0503020204020204" pitchFamily="34" charset="-122"/>
                <a:ea typeface="微软雅黑" panose="020B0503020204020204" pitchFamily="34" charset="-122"/>
              </a:rPr>
              <a:t>主投资人的业务结构</a:t>
            </a:r>
          </a:p>
          <a:p>
            <a:pPr marL="0" indent="0">
              <a:spcBef>
                <a:spcPct val="20000"/>
              </a:spcBef>
              <a:buNone/>
            </a:pPr>
            <a:r>
              <a:rPr lang="en-US" altLang="zh-CN" i="1" dirty="0">
                <a:solidFill>
                  <a:srgbClr val="000000"/>
                </a:solidFill>
                <a:latin typeface="微软雅黑" panose="020B0503020204020204" pitchFamily="34" charset="-122"/>
                <a:ea typeface="微软雅黑" panose="020B0503020204020204" pitchFamily="34" charset="-122"/>
              </a:rPr>
              <a:t>(</a:t>
            </a:r>
            <a:r>
              <a:rPr lang="zh-CN" altLang="en-US" i="1" dirty="0">
                <a:solidFill>
                  <a:srgbClr val="000000"/>
                </a:solidFill>
                <a:latin typeface="微软雅黑" panose="020B0503020204020204" pitchFamily="34" charset="-122"/>
                <a:ea typeface="微软雅黑" panose="020B0503020204020204" pitchFamily="34" charset="-122"/>
              </a:rPr>
              <a:t>主要投资人拥有的所有品牌经销店的股权信息</a:t>
            </a:r>
            <a:r>
              <a:rPr lang="en-US" altLang="zh-CN" i="1" dirty="0">
                <a:solidFill>
                  <a:srgbClr val="000000"/>
                </a:solidFill>
                <a:latin typeface="微软雅黑" panose="020B0503020204020204" pitchFamily="34" charset="-122"/>
                <a:ea typeface="微软雅黑" panose="020B0503020204020204" pitchFamily="34" charset="-122"/>
              </a:rPr>
              <a:t>)</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4</a:t>
            </a:fld>
            <a:endParaRPr lang="sv-SE">
              <a:latin typeface="微软雅黑" panose="020B0503020204020204" pitchFamily="34" charset="-122"/>
              <a:ea typeface="微软雅黑" panose="020B0503020204020204" pitchFamily="34" charset="-122"/>
            </a:endParaRPr>
          </a:p>
        </p:txBody>
      </p:sp>
      <p:pic>
        <p:nvPicPr>
          <p:cNvPr id="9" name="Picture 7" descr="图片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8239" y="1795187"/>
            <a:ext cx="6354183" cy="29012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841831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经销店或公司的管理及决策结构：</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5</a:t>
            </a:fld>
            <a:endParaRPr lang="sv-SE">
              <a:latin typeface="微软雅黑" panose="020B0503020204020204" pitchFamily="34" charset="-122"/>
              <a:ea typeface="微软雅黑" panose="020B0503020204020204" pitchFamily="34" charset="-122"/>
            </a:endParaRPr>
          </a:p>
        </p:txBody>
      </p:sp>
      <p:pic>
        <p:nvPicPr>
          <p:cNvPr id="9" name="图示 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0998" y="1615980"/>
            <a:ext cx="6808666" cy="3189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160964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地图分布：如果全国都有网点，使用全国地图。</a:t>
            </a:r>
          </a:p>
          <a:p>
            <a:pPr marL="0" indent="0">
              <a:buNone/>
            </a:pPr>
            <a:r>
              <a:rPr lang="zh-CN" altLang="en-US" dirty="0">
                <a:latin typeface="微软雅黑" panose="020B0503020204020204" pitchFamily="34" charset="-122"/>
                <a:ea typeface="微软雅黑" panose="020B0503020204020204" pitchFamily="34" charset="-122"/>
              </a:rPr>
              <a:t>                 如果网点限于单个省份，使用省份地图。</a:t>
            </a:r>
          </a:p>
          <a:p>
            <a:endParaRPr lang="en-GB" dirty="0">
              <a:latin typeface="微软雅黑" panose="020B0503020204020204" pitchFamily="34" charset="-122"/>
              <a:ea typeface="微软雅黑" panose="020B0503020204020204" pitchFamily="34" charset="-122"/>
            </a:endParaRPr>
          </a:p>
        </p:txBody>
      </p:sp>
      <p:sp>
        <p:nvSpPr>
          <p:cNvPr id="3" name="Title 2"/>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b="1" dirty="0">
              <a:latin typeface="微软雅黑" panose="020B0503020204020204" pitchFamily="34" charset="-122"/>
              <a:ea typeface="微软雅黑" panose="020B0503020204020204" pitchFamily="34" charset="-122"/>
            </a:endParaRPr>
          </a:p>
        </p:txBody>
      </p:sp>
      <p:sp>
        <p:nvSpPr>
          <p:cNvPr id="4" name="Slide Number Placeholder 3"/>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6</a:t>
            </a:fld>
            <a:endParaRPr lang="sv-SE">
              <a:latin typeface="微软雅黑" panose="020B0503020204020204" pitchFamily="34" charset="-122"/>
              <a:ea typeface="微软雅黑" panose="020B0503020204020204" pitchFamily="34" charset="-122"/>
            </a:endParaRPr>
          </a:p>
        </p:txBody>
      </p:sp>
      <p:graphicFrame>
        <p:nvGraphicFramePr>
          <p:cNvPr id="8" name="Table 7"/>
          <p:cNvGraphicFramePr>
            <a:graphicFrameLocks noGrp="1"/>
          </p:cNvGraphicFramePr>
          <p:nvPr>
            <p:extLst>
              <p:ext uri="{D42A27DB-BD31-4B8C-83A1-F6EECF244321}">
                <p14:modId xmlns:p14="http://schemas.microsoft.com/office/powerpoint/2010/main" val="1082101891"/>
              </p:ext>
            </p:extLst>
          </p:nvPr>
        </p:nvGraphicFramePr>
        <p:xfrm>
          <a:off x="4555331" y="1761125"/>
          <a:ext cx="4147235" cy="2873832"/>
        </p:xfrm>
        <a:graphic>
          <a:graphicData uri="http://schemas.openxmlformats.org/drawingml/2006/table">
            <a:tbl>
              <a:tblPr/>
              <a:tblGrid>
                <a:gridCol w="425586">
                  <a:extLst>
                    <a:ext uri="{9D8B030D-6E8A-4147-A177-3AD203B41FA5}">
                      <a16:colId xmlns:a16="http://schemas.microsoft.com/office/drawing/2014/main" val="20000"/>
                    </a:ext>
                  </a:extLst>
                </a:gridCol>
                <a:gridCol w="551102">
                  <a:extLst>
                    <a:ext uri="{9D8B030D-6E8A-4147-A177-3AD203B41FA5}">
                      <a16:colId xmlns:a16="http://schemas.microsoft.com/office/drawing/2014/main" val="20001"/>
                    </a:ext>
                  </a:extLst>
                </a:gridCol>
                <a:gridCol w="529729">
                  <a:extLst>
                    <a:ext uri="{9D8B030D-6E8A-4147-A177-3AD203B41FA5}">
                      <a16:colId xmlns:a16="http://schemas.microsoft.com/office/drawing/2014/main" val="20002"/>
                    </a:ext>
                  </a:extLst>
                </a:gridCol>
                <a:gridCol w="2640818">
                  <a:extLst>
                    <a:ext uri="{9D8B030D-6E8A-4147-A177-3AD203B41FA5}">
                      <a16:colId xmlns:a16="http://schemas.microsoft.com/office/drawing/2014/main" val="20003"/>
                    </a:ext>
                  </a:extLst>
                </a:gridCol>
              </a:tblGrid>
              <a:tr h="336159">
                <a:tc>
                  <a:txBody>
                    <a:bodyPr/>
                    <a:lstStyle/>
                    <a:p>
                      <a:pPr algn="ctr" fontAlgn="ctr"/>
                      <a:r>
                        <a:rPr lang="zh-CN" altLang="en-US" sz="1400" b="0" i="0" u="none" strike="noStrike" baseline="0" dirty="0">
                          <a:solidFill>
                            <a:schemeClr val="tx1"/>
                          </a:solidFill>
                          <a:effectLst/>
                          <a:latin typeface="+mj-ea"/>
                          <a:ea typeface="+mj-ea"/>
                        </a:rPr>
                        <a:t>省份</a:t>
                      </a: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400" b="0" i="0" u="none" strike="noStrike" baseline="0" dirty="0">
                          <a:solidFill>
                            <a:schemeClr val="tx1"/>
                          </a:solidFill>
                          <a:effectLst/>
                          <a:latin typeface="+mj-ea"/>
                          <a:ea typeface="+mj-ea"/>
                        </a:rPr>
                        <a:t>城市</a:t>
                      </a: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400" b="0" i="0" u="none" strike="noStrike" baseline="0" dirty="0">
                          <a:solidFill>
                            <a:schemeClr val="tx1"/>
                          </a:solidFill>
                          <a:effectLst/>
                          <a:latin typeface="+mj-ea"/>
                          <a:ea typeface="+mj-ea"/>
                        </a:rPr>
                        <a:t>店数</a:t>
                      </a: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fontAlgn="ctr"/>
                      <a:r>
                        <a:rPr lang="zh-CN" altLang="en-US" sz="1400" b="0" i="0" u="none" strike="noStrike" baseline="0" dirty="0">
                          <a:solidFill>
                            <a:schemeClr val="tx1"/>
                          </a:solidFill>
                          <a:effectLst/>
                          <a:latin typeface="+mj-ea"/>
                          <a:ea typeface="+mj-ea"/>
                        </a:rPr>
                        <a:t>品牌</a:t>
                      </a: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373071">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1"/>
                  </a:ext>
                </a:extLst>
              </a:tr>
              <a:tr h="373071">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en-US" altLang="zh-CN"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373071">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3"/>
                  </a:ext>
                </a:extLst>
              </a:tr>
              <a:tr h="373071">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en-US" altLang="zh-CN"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4"/>
                  </a:ext>
                </a:extLst>
              </a:tr>
              <a:tr h="373071">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5"/>
                  </a:ext>
                </a:extLst>
              </a:tr>
              <a:tr h="336159">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6"/>
                  </a:ext>
                </a:extLst>
              </a:tr>
              <a:tr h="336159">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zh-CN" altLang="en-US"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ctr" fontAlgn="ctr"/>
                      <a:endParaRPr lang="en-GB"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a:txBody>
                    <a:bodyPr/>
                    <a:lstStyle/>
                    <a:p>
                      <a:pPr algn="l" fontAlgn="ctr"/>
                      <a:endParaRPr lang="en-US" altLang="zh-CN" sz="1400" b="0" i="0" u="none" strike="noStrike" baseline="0" dirty="0">
                        <a:solidFill>
                          <a:schemeClr val="tx1"/>
                        </a:solidFill>
                        <a:effectLst/>
                        <a:latin typeface="+mj-ea"/>
                        <a:ea typeface="+mj-ea"/>
                      </a:endParaRPr>
                    </a:p>
                  </a:txBody>
                  <a:tcPr marL="6683" marR="6683" marT="6683"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grpSp>
        <p:nvGrpSpPr>
          <p:cNvPr id="9" name="Group 3"/>
          <p:cNvGrpSpPr>
            <a:grpSpLocks/>
          </p:cNvGrpSpPr>
          <p:nvPr/>
        </p:nvGrpSpPr>
        <p:grpSpPr bwMode="auto">
          <a:xfrm>
            <a:off x="973525" y="2097215"/>
            <a:ext cx="2919766" cy="2502423"/>
            <a:chOff x="0" y="0"/>
            <a:chExt cx="4752" cy="4185"/>
          </a:xfrm>
        </p:grpSpPr>
        <p:sp>
          <p:nvSpPr>
            <p:cNvPr id="10" name="AutoShape 5"/>
            <p:cNvSpPr>
              <a:spLocks noChangeAspect="1" noChangeArrowheads="1" noTextEdit="1"/>
            </p:cNvSpPr>
            <p:nvPr/>
          </p:nvSpPr>
          <p:spPr bwMode="auto">
            <a:xfrm>
              <a:off x="0" y="0"/>
              <a:ext cx="4752" cy="41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 name="Freeform 7"/>
            <p:cNvSpPr>
              <a:spLocks/>
            </p:cNvSpPr>
            <p:nvPr/>
          </p:nvSpPr>
          <p:spPr bwMode="auto">
            <a:xfrm>
              <a:off x="36" y="25"/>
              <a:ext cx="4680" cy="4124"/>
            </a:xfrm>
            <a:custGeom>
              <a:avLst/>
              <a:gdLst>
                <a:gd name="T0" fmla="*/ 2288 w 4680"/>
                <a:gd name="T1" fmla="*/ 4017 h 4124"/>
                <a:gd name="T2" fmla="*/ 2552 w 4680"/>
                <a:gd name="T3" fmla="*/ 3935 h 4124"/>
                <a:gd name="T4" fmla="*/ 2488 w 4680"/>
                <a:gd name="T5" fmla="*/ 3504 h 4124"/>
                <a:gd name="T6" fmla="*/ 2684 w 4680"/>
                <a:gd name="T7" fmla="*/ 3091 h 4124"/>
                <a:gd name="T8" fmla="*/ 2862 w 4680"/>
                <a:gd name="T9" fmla="*/ 2923 h 4124"/>
                <a:gd name="T10" fmla="*/ 3058 w 4680"/>
                <a:gd name="T11" fmla="*/ 2777 h 4124"/>
                <a:gd name="T12" fmla="*/ 3122 w 4680"/>
                <a:gd name="T13" fmla="*/ 2969 h 4124"/>
                <a:gd name="T14" fmla="*/ 3226 w 4680"/>
                <a:gd name="T15" fmla="*/ 3176 h 4124"/>
                <a:gd name="T16" fmla="*/ 3497 w 4680"/>
                <a:gd name="T17" fmla="*/ 3066 h 4124"/>
                <a:gd name="T18" fmla="*/ 3525 w 4680"/>
                <a:gd name="T19" fmla="*/ 3201 h 4124"/>
                <a:gd name="T20" fmla="*/ 3800 w 4680"/>
                <a:gd name="T21" fmla="*/ 3165 h 4124"/>
                <a:gd name="T22" fmla="*/ 3857 w 4680"/>
                <a:gd name="T23" fmla="*/ 2948 h 4124"/>
                <a:gd name="T24" fmla="*/ 3654 w 4680"/>
                <a:gd name="T25" fmla="*/ 2755 h 4124"/>
                <a:gd name="T26" fmla="*/ 3939 w 4680"/>
                <a:gd name="T27" fmla="*/ 2780 h 4124"/>
                <a:gd name="T28" fmla="*/ 3714 w 4680"/>
                <a:gd name="T29" fmla="*/ 2556 h 4124"/>
                <a:gd name="T30" fmla="*/ 3508 w 4680"/>
                <a:gd name="T31" fmla="*/ 2374 h 4124"/>
                <a:gd name="T32" fmla="*/ 3543 w 4680"/>
                <a:gd name="T33" fmla="*/ 2018 h 4124"/>
                <a:gd name="T34" fmla="*/ 3732 w 4680"/>
                <a:gd name="T35" fmla="*/ 1882 h 4124"/>
                <a:gd name="T36" fmla="*/ 4049 w 4680"/>
                <a:gd name="T37" fmla="*/ 1982 h 4124"/>
                <a:gd name="T38" fmla="*/ 4270 w 4680"/>
                <a:gd name="T39" fmla="*/ 1586 h 4124"/>
                <a:gd name="T40" fmla="*/ 4417 w 4680"/>
                <a:gd name="T41" fmla="*/ 1568 h 4124"/>
                <a:gd name="T42" fmla="*/ 4506 w 4680"/>
                <a:gd name="T43" fmla="*/ 1362 h 4124"/>
                <a:gd name="T44" fmla="*/ 4559 w 4680"/>
                <a:gd name="T45" fmla="*/ 1205 h 4124"/>
                <a:gd name="T46" fmla="*/ 4534 w 4680"/>
                <a:gd name="T47" fmla="*/ 948 h 4124"/>
                <a:gd name="T48" fmla="*/ 4609 w 4680"/>
                <a:gd name="T49" fmla="*/ 806 h 4124"/>
                <a:gd name="T50" fmla="*/ 4220 w 4680"/>
                <a:gd name="T51" fmla="*/ 784 h 4124"/>
                <a:gd name="T52" fmla="*/ 4060 w 4680"/>
                <a:gd name="T53" fmla="*/ 784 h 4124"/>
                <a:gd name="T54" fmla="*/ 3860 w 4680"/>
                <a:gd name="T55" fmla="*/ 663 h 4124"/>
                <a:gd name="T56" fmla="*/ 3597 w 4680"/>
                <a:gd name="T57" fmla="*/ 624 h 4124"/>
                <a:gd name="T58" fmla="*/ 3408 w 4680"/>
                <a:gd name="T59" fmla="*/ 727 h 4124"/>
                <a:gd name="T60" fmla="*/ 3336 w 4680"/>
                <a:gd name="T61" fmla="*/ 709 h 4124"/>
                <a:gd name="T62" fmla="*/ 3005 w 4680"/>
                <a:gd name="T63" fmla="*/ 777 h 4124"/>
                <a:gd name="T64" fmla="*/ 2898 w 4680"/>
                <a:gd name="T65" fmla="*/ 610 h 4124"/>
                <a:gd name="T66" fmla="*/ 2894 w 4680"/>
                <a:gd name="T67" fmla="*/ 460 h 4124"/>
                <a:gd name="T68" fmla="*/ 2566 w 4680"/>
                <a:gd name="T69" fmla="*/ 285 h 4124"/>
                <a:gd name="T70" fmla="*/ 2392 w 4680"/>
                <a:gd name="T71" fmla="*/ 278 h 4124"/>
                <a:gd name="T72" fmla="*/ 2238 w 4680"/>
                <a:gd name="T73" fmla="*/ 0 h 4124"/>
                <a:gd name="T74" fmla="*/ 2053 w 4680"/>
                <a:gd name="T75" fmla="*/ 217 h 4124"/>
                <a:gd name="T76" fmla="*/ 2032 w 4680"/>
                <a:gd name="T77" fmla="*/ 492 h 4124"/>
                <a:gd name="T78" fmla="*/ 1836 w 4680"/>
                <a:gd name="T79" fmla="*/ 560 h 4124"/>
                <a:gd name="T80" fmla="*/ 1807 w 4680"/>
                <a:gd name="T81" fmla="*/ 563 h 4124"/>
                <a:gd name="T82" fmla="*/ 1615 w 4680"/>
                <a:gd name="T83" fmla="*/ 585 h 4124"/>
                <a:gd name="T84" fmla="*/ 1572 w 4680"/>
                <a:gd name="T85" fmla="*/ 777 h 4124"/>
                <a:gd name="T86" fmla="*/ 1376 w 4680"/>
                <a:gd name="T87" fmla="*/ 877 h 4124"/>
                <a:gd name="T88" fmla="*/ 1190 w 4680"/>
                <a:gd name="T89" fmla="*/ 855 h 4124"/>
                <a:gd name="T90" fmla="*/ 1012 w 4680"/>
                <a:gd name="T91" fmla="*/ 820 h 4124"/>
                <a:gd name="T92" fmla="*/ 631 w 4680"/>
                <a:gd name="T93" fmla="*/ 649 h 4124"/>
                <a:gd name="T94" fmla="*/ 449 w 4680"/>
                <a:gd name="T95" fmla="*/ 324 h 4124"/>
                <a:gd name="T96" fmla="*/ 224 w 4680"/>
                <a:gd name="T97" fmla="*/ 150 h 4124"/>
                <a:gd name="T98" fmla="*/ 39 w 4680"/>
                <a:gd name="T99" fmla="*/ 410 h 4124"/>
                <a:gd name="T100" fmla="*/ 71 w 4680"/>
                <a:gd name="T101" fmla="*/ 681 h 4124"/>
                <a:gd name="T102" fmla="*/ 185 w 4680"/>
                <a:gd name="T103" fmla="*/ 1009 h 4124"/>
                <a:gd name="T104" fmla="*/ 449 w 4680"/>
                <a:gd name="T105" fmla="*/ 1280 h 4124"/>
                <a:gd name="T106" fmla="*/ 538 w 4680"/>
                <a:gd name="T107" fmla="*/ 1618 h 4124"/>
                <a:gd name="T108" fmla="*/ 720 w 4680"/>
                <a:gd name="T109" fmla="*/ 2128 h 4124"/>
                <a:gd name="T110" fmla="*/ 795 w 4680"/>
                <a:gd name="T111" fmla="*/ 2845 h 4124"/>
                <a:gd name="T112" fmla="*/ 1066 w 4680"/>
                <a:gd name="T113" fmla="*/ 2841 h 4124"/>
                <a:gd name="T114" fmla="*/ 1244 w 4680"/>
                <a:gd name="T115" fmla="*/ 3041 h 4124"/>
                <a:gd name="T116" fmla="*/ 1326 w 4680"/>
                <a:gd name="T117" fmla="*/ 3337 h 4124"/>
                <a:gd name="T118" fmla="*/ 1590 w 4680"/>
                <a:gd name="T119" fmla="*/ 3426 h 4124"/>
                <a:gd name="T120" fmla="*/ 1782 w 4680"/>
                <a:gd name="T121" fmla="*/ 3736 h 4124"/>
                <a:gd name="T122" fmla="*/ 1893 w 4680"/>
                <a:gd name="T123" fmla="*/ 3943 h 41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80"/>
                <a:gd name="T187" fmla="*/ 0 h 4124"/>
                <a:gd name="T188" fmla="*/ 4680 w 4680"/>
                <a:gd name="T189" fmla="*/ 4124 h 41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80" h="4124">
                  <a:moveTo>
                    <a:pt x="2007" y="4082"/>
                  </a:moveTo>
                  <a:lnTo>
                    <a:pt x="2007" y="4082"/>
                  </a:lnTo>
                  <a:lnTo>
                    <a:pt x="2014" y="4092"/>
                  </a:lnTo>
                  <a:lnTo>
                    <a:pt x="2021" y="4103"/>
                  </a:lnTo>
                  <a:lnTo>
                    <a:pt x="2032" y="4114"/>
                  </a:lnTo>
                  <a:lnTo>
                    <a:pt x="2046" y="4121"/>
                  </a:lnTo>
                  <a:lnTo>
                    <a:pt x="2064" y="4124"/>
                  </a:lnTo>
                  <a:lnTo>
                    <a:pt x="2082" y="4117"/>
                  </a:lnTo>
                  <a:lnTo>
                    <a:pt x="2103" y="4107"/>
                  </a:lnTo>
                  <a:lnTo>
                    <a:pt x="2117" y="4110"/>
                  </a:lnTo>
                  <a:lnTo>
                    <a:pt x="2135" y="4114"/>
                  </a:lnTo>
                  <a:lnTo>
                    <a:pt x="2153" y="4117"/>
                  </a:lnTo>
                  <a:lnTo>
                    <a:pt x="2171" y="4114"/>
                  </a:lnTo>
                  <a:lnTo>
                    <a:pt x="2188" y="4107"/>
                  </a:lnTo>
                  <a:lnTo>
                    <a:pt x="2196" y="4099"/>
                  </a:lnTo>
                  <a:lnTo>
                    <a:pt x="2199" y="4089"/>
                  </a:lnTo>
                  <a:lnTo>
                    <a:pt x="2206" y="4078"/>
                  </a:lnTo>
                  <a:lnTo>
                    <a:pt x="2210" y="4060"/>
                  </a:lnTo>
                  <a:lnTo>
                    <a:pt x="2288" y="4017"/>
                  </a:lnTo>
                  <a:lnTo>
                    <a:pt x="2349" y="3989"/>
                  </a:lnTo>
                  <a:lnTo>
                    <a:pt x="2370" y="3978"/>
                  </a:lnTo>
                  <a:lnTo>
                    <a:pt x="2385" y="3978"/>
                  </a:lnTo>
                  <a:lnTo>
                    <a:pt x="2388" y="3992"/>
                  </a:lnTo>
                  <a:lnTo>
                    <a:pt x="2402" y="4021"/>
                  </a:lnTo>
                  <a:lnTo>
                    <a:pt x="2410" y="4032"/>
                  </a:lnTo>
                  <a:lnTo>
                    <a:pt x="2420" y="4035"/>
                  </a:lnTo>
                  <a:lnTo>
                    <a:pt x="2427" y="4032"/>
                  </a:lnTo>
                  <a:lnTo>
                    <a:pt x="2431" y="4028"/>
                  </a:lnTo>
                  <a:lnTo>
                    <a:pt x="2445" y="4010"/>
                  </a:lnTo>
                  <a:lnTo>
                    <a:pt x="2470" y="4000"/>
                  </a:lnTo>
                  <a:lnTo>
                    <a:pt x="2492" y="3992"/>
                  </a:lnTo>
                  <a:lnTo>
                    <a:pt x="2516" y="3989"/>
                  </a:lnTo>
                  <a:lnTo>
                    <a:pt x="2524" y="3989"/>
                  </a:lnTo>
                  <a:lnTo>
                    <a:pt x="2531" y="3985"/>
                  </a:lnTo>
                  <a:lnTo>
                    <a:pt x="2538" y="3971"/>
                  </a:lnTo>
                  <a:lnTo>
                    <a:pt x="2545" y="3957"/>
                  </a:lnTo>
                  <a:lnTo>
                    <a:pt x="2552" y="3935"/>
                  </a:lnTo>
                  <a:lnTo>
                    <a:pt x="2556" y="3896"/>
                  </a:lnTo>
                  <a:lnTo>
                    <a:pt x="2559" y="3878"/>
                  </a:lnTo>
                  <a:lnTo>
                    <a:pt x="2563" y="3875"/>
                  </a:lnTo>
                  <a:lnTo>
                    <a:pt x="2570" y="3868"/>
                  </a:lnTo>
                  <a:lnTo>
                    <a:pt x="2570" y="3864"/>
                  </a:lnTo>
                  <a:lnTo>
                    <a:pt x="2570" y="3857"/>
                  </a:lnTo>
                  <a:lnTo>
                    <a:pt x="2566" y="3850"/>
                  </a:lnTo>
                  <a:lnTo>
                    <a:pt x="2559" y="3843"/>
                  </a:lnTo>
                  <a:lnTo>
                    <a:pt x="2552" y="3807"/>
                  </a:lnTo>
                  <a:lnTo>
                    <a:pt x="2534" y="3750"/>
                  </a:lnTo>
                  <a:lnTo>
                    <a:pt x="2524" y="3729"/>
                  </a:lnTo>
                  <a:lnTo>
                    <a:pt x="2509" y="3711"/>
                  </a:lnTo>
                  <a:lnTo>
                    <a:pt x="2492" y="3697"/>
                  </a:lnTo>
                  <a:lnTo>
                    <a:pt x="2488" y="3650"/>
                  </a:lnTo>
                  <a:lnTo>
                    <a:pt x="2484" y="3604"/>
                  </a:lnTo>
                  <a:lnTo>
                    <a:pt x="2484" y="3550"/>
                  </a:lnTo>
                  <a:lnTo>
                    <a:pt x="2488" y="3504"/>
                  </a:lnTo>
                  <a:lnTo>
                    <a:pt x="2492" y="3483"/>
                  </a:lnTo>
                  <a:lnTo>
                    <a:pt x="2495" y="3468"/>
                  </a:lnTo>
                  <a:lnTo>
                    <a:pt x="2502" y="3458"/>
                  </a:lnTo>
                  <a:lnTo>
                    <a:pt x="2509" y="3451"/>
                  </a:lnTo>
                  <a:lnTo>
                    <a:pt x="2524" y="3451"/>
                  </a:lnTo>
                  <a:lnTo>
                    <a:pt x="2534" y="3461"/>
                  </a:lnTo>
                  <a:lnTo>
                    <a:pt x="2545" y="3458"/>
                  </a:lnTo>
                  <a:lnTo>
                    <a:pt x="2566" y="3451"/>
                  </a:lnTo>
                  <a:lnTo>
                    <a:pt x="2581" y="3440"/>
                  </a:lnTo>
                  <a:lnTo>
                    <a:pt x="2588" y="3429"/>
                  </a:lnTo>
                  <a:lnTo>
                    <a:pt x="2595" y="3411"/>
                  </a:lnTo>
                  <a:lnTo>
                    <a:pt x="2598" y="3390"/>
                  </a:lnTo>
                  <a:lnTo>
                    <a:pt x="2631" y="3340"/>
                  </a:lnTo>
                  <a:lnTo>
                    <a:pt x="2663" y="3301"/>
                  </a:lnTo>
                  <a:lnTo>
                    <a:pt x="2680" y="3283"/>
                  </a:lnTo>
                  <a:lnTo>
                    <a:pt x="2698" y="3269"/>
                  </a:lnTo>
                  <a:lnTo>
                    <a:pt x="2716" y="3247"/>
                  </a:lnTo>
                  <a:lnTo>
                    <a:pt x="2745" y="3144"/>
                  </a:lnTo>
                  <a:lnTo>
                    <a:pt x="2684" y="3091"/>
                  </a:lnTo>
                  <a:lnTo>
                    <a:pt x="2691" y="3073"/>
                  </a:lnTo>
                  <a:lnTo>
                    <a:pt x="2702" y="3055"/>
                  </a:lnTo>
                  <a:lnTo>
                    <a:pt x="2716" y="3037"/>
                  </a:lnTo>
                  <a:lnTo>
                    <a:pt x="2730" y="3019"/>
                  </a:lnTo>
                  <a:lnTo>
                    <a:pt x="2748" y="3009"/>
                  </a:lnTo>
                  <a:lnTo>
                    <a:pt x="2755" y="3005"/>
                  </a:lnTo>
                  <a:lnTo>
                    <a:pt x="2766" y="3005"/>
                  </a:lnTo>
                  <a:lnTo>
                    <a:pt x="2777" y="3005"/>
                  </a:lnTo>
                  <a:lnTo>
                    <a:pt x="2787" y="3012"/>
                  </a:lnTo>
                  <a:lnTo>
                    <a:pt x="2795" y="3012"/>
                  </a:lnTo>
                  <a:lnTo>
                    <a:pt x="2809" y="3012"/>
                  </a:lnTo>
                  <a:lnTo>
                    <a:pt x="2819" y="3009"/>
                  </a:lnTo>
                  <a:lnTo>
                    <a:pt x="2830" y="3001"/>
                  </a:lnTo>
                  <a:lnTo>
                    <a:pt x="2841" y="2991"/>
                  </a:lnTo>
                  <a:lnTo>
                    <a:pt x="2848" y="2973"/>
                  </a:lnTo>
                  <a:lnTo>
                    <a:pt x="2859" y="2944"/>
                  </a:lnTo>
                  <a:lnTo>
                    <a:pt x="2862" y="2930"/>
                  </a:lnTo>
                  <a:lnTo>
                    <a:pt x="2862" y="2923"/>
                  </a:lnTo>
                  <a:lnTo>
                    <a:pt x="2859" y="2916"/>
                  </a:lnTo>
                  <a:lnTo>
                    <a:pt x="2841" y="2898"/>
                  </a:lnTo>
                  <a:lnTo>
                    <a:pt x="2830" y="2884"/>
                  </a:lnTo>
                  <a:lnTo>
                    <a:pt x="2823" y="2866"/>
                  </a:lnTo>
                  <a:lnTo>
                    <a:pt x="2819" y="2848"/>
                  </a:lnTo>
                  <a:lnTo>
                    <a:pt x="2823" y="2830"/>
                  </a:lnTo>
                  <a:lnTo>
                    <a:pt x="2827" y="2816"/>
                  </a:lnTo>
                  <a:lnTo>
                    <a:pt x="2837" y="2805"/>
                  </a:lnTo>
                  <a:lnTo>
                    <a:pt x="2848" y="2802"/>
                  </a:lnTo>
                  <a:lnTo>
                    <a:pt x="2866" y="2802"/>
                  </a:lnTo>
                  <a:lnTo>
                    <a:pt x="2884" y="2809"/>
                  </a:lnTo>
                  <a:lnTo>
                    <a:pt x="2901" y="2809"/>
                  </a:lnTo>
                  <a:lnTo>
                    <a:pt x="2937" y="2805"/>
                  </a:lnTo>
                  <a:lnTo>
                    <a:pt x="2969" y="2795"/>
                  </a:lnTo>
                  <a:lnTo>
                    <a:pt x="2998" y="2788"/>
                  </a:lnTo>
                  <a:lnTo>
                    <a:pt x="3012" y="2780"/>
                  </a:lnTo>
                  <a:lnTo>
                    <a:pt x="3033" y="2780"/>
                  </a:lnTo>
                  <a:lnTo>
                    <a:pt x="3058" y="2777"/>
                  </a:lnTo>
                  <a:lnTo>
                    <a:pt x="3080" y="2780"/>
                  </a:lnTo>
                  <a:lnTo>
                    <a:pt x="3098" y="2784"/>
                  </a:lnTo>
                  <a:lnTo>
                    <a:pt x="3101" y="2788"/>
                  </a:lnTo>
                  <a:lnTo>
                    <a:pt x="3101" y="2791"/>
                  </a:lnTo>
                  <a:lnTo>
                    <a:pt x="3101" y="2798"/>
                  </a:lnTo>
                  <a:lnTo>
                    <a:pt x="3094" y="2809"/>
                  </a:lnTo>
                  <a:lnTo>
                    <a:pt x="3065" y="2827"/>
                  </a:lnTo>
                  <a:lnTo>
                    <a:pt x="3051" y="2837"/>
                  </a:lnTo>
                  <a:lnTo>
                    <a:pt x="3041" y="2848"/>
                  </a:lnTo>
                  <a:lnTo>
                    <a:pt x="3033" y="2859"/>
                  </a:lnTo>
                  <a:lnTo>
                    <a:pt x="3033" y="2870"/>
                  </a:lnTo>
                  <a:lnTo>
                    <a:pt x="3033" y="2880"/>
                  </a:lnTo>
                  <a:lnTo>
                    <a:pt x="3033" y="2891"/>
                  </a:lnTo>
                  <a:lnTo>
                    <a:pt x="3048" y="2909"/>
                  </a:lnTo>
                  <a:lnTo>
                    <a:pt x="3062" y="2927"/>
                  </a:lnTo>
                  <a:lnTo>
                    <a:pt x="3076" y="2937"/>
                  </a:lnTo>
                  <a:lnTo>
                    <a:pt x="3094" y="2948"/>
                  </a:lnTo>
                  <a:lnTo>
                    <a:pt x="3108" y="2959"/>
                  </a:lnTo>
                  <a:lnTo>
                    <a:pt x="3122" y="2969"/>
                  </a:lnTo>
                  <a:lnTo>
                    <a:pt x="3133" y="2984"/>
                  </a:lnTo>
                  <a:lnTo>
                    <a:pt x="3144" y="3001"/>
                  </a:lnTo>
                  <a:lnTo>
                    <a:pt x="3144" y="3012"/>
                  </a:lnTo>
                  <a:lnTo>
                    <a:pt x="3144" y="3019"/>
                  </a:lnTo>
                  <a:lnTo>
                    <a:pt x="3140" y="3030"/>
                  </a:lnTo>
                  <a:lnTo>
                    <a:pt x="3133" y="3041"/>
                  </a:lnTo>
                  <a:lnTo>
                    <a:pt x="3122" y="3051"/>
                  </a:lnTo>
                  <a:lnTo>
                    <a:pt x="3108" y="3062"/>
                  </a:lnTo>
                  <a:lnTo>
                    <a:pt x="3101" y="3062"/>
                  </a:lnTo>
                  <a:lnTo>
                    <a:pt x="3090" y="3069"/>
                  </a:lnTo>
                  <a:lnTo>
                    <a:pt x="3087" y="3073"/>
                  </a:lnTo>
                  <a:lnTo>
                    <a:pt x="3087" y="3083"/>
                  </a:lnTo>
                  <a:lnTo>
                    <a:pt x="3090" y="3094"/>
                  </a:lnTo>
                  <a:lnTo>
                    <a:pt x="3105" y="3108"/>
                  </a:lnTo>
                  <a:lnTo>
                    <a:pt x="3140" y="3140"/>
                  </a:lnTo>
                  <a:lnTo>
                    <a:pt x="3162" y="3155"/>
                  </a:lnTo>
                  <a:lnTo>
                    <a:pt x="3183" y="3165"/>
                  </a:lnTo>
                  <a:lnTo>
                    <a:pt x="3208" y="3173"/>
                  </a:lnTo>
                  <a:lnTo>
                    <a:pt x="3226" y="3176"/>
                  </a:lnTo>
                  <a:lnTo>
                    <a:pt x="3237" y="3173"/>
                  </a:lnTo>
                  <a:lnTo>
                    <a:pt x="3247" y="3169"/>
                  </a:lnTo>
                  <a:lnTo>
                    <a:pt x="3254" y="3162"/>
                  </a:lnTo>
                  <a:lnTo>
                    <a:pt x="3265" y="3151"/>
                  </a:lnTo>
                  <a:lnTo>
                    <a:pt x="3336" y="3140"/>
                  </a:lnTo>
                  <a:lnTo>
                    <a:pt x="3340" y="3112"/>
                  </a:lnTo>
                  <a:lnTo>
                    <a:pt x="3347" y="3087"/>
                  </a:lnTo>
                  <a:lnTo>
                    <a:pt x="3358" y="3058"/>
                  </a:lnTo>
                  <a:lnTo>
                    <a:pt x="3368" y="3048"/>
                  </a:lnTo>
                  <a:lnTo>
                    <a:pt x="3376" y="3041"/>
                  </a:lnTo>
                  <a:lnTo>
                    <a:pt x="3386" y="3034"/>
                  </a:lnTo>
                  <a:lnTo>
                    <a:pt x="3401" y="3030"/>
                  </a:lnTo>
                  <a:lnTo>
                    <a:pt x="3415" y="3034"/>
                  </a:lnTo>
                  <a:lnTo>
                    <a:pt x="3433" y="3041"/>
                  </a:lnTo>
                  <a:lnTo>
                    <a:pt x="3454" y="3055"/>
                  </a:lnTo>
                  <a:lnTo>
                    <a:pt x="3475" y="3073"/>
                  </a:lnTo>
                  <a:lnTo>
                    <a:pt x="3483" y="3069"/>
                  </a:lnTo>
                  <a:lnTo>
                    <a:pt x="3490" y="3069"/>
                  </a:lnTo>
                  <a:lnTo>
                    <a:pt x="3497" y="3066"/>
                  </a:lnTo>
                  <a:lnTo>
                    <a:pt x="3504" y="3069"/>
                  </a:lnTo>
                  <a:lnTo>
                    <a:pt x="3504" y="3080"/>
                  </a:lnTo>
                  <a:lnTo>
                    <a:pt x="3504" y="3094"/>
                  </a:lnTo>
                  <a:lnTo>
                    <a:pt x="3497" y="3119"/>
                  </a:lnTo>
                  <a:lnTo>
                    <a:pt x="3493" y="3126"/>
                  </a:lnTo>
                  <a:lnTo>
                    <a:pt x="3493" y="3140"/>
                  </a:lnTo>
                  <a:lnTo>
                    <a:pt x="3493" y="3148"/>
                  </a:lnTo>
                  <a:lnTo>
                    <a:pt x="3500" y="3151"/>
                  </a:lnTo>
                  <a:lnTo>
                    <a:pt x="3511" y="3151"/>
                  </a:lnTo>
                  <a:lnTo>
                    <a:pt x="3529" y="3148"/>
                  </a:lnTo>
                  <a:lnTo>
                    <a:pt x="3532" y="3148"/>
                  </a:lnTo>
                  <a:lnTo>
                    <a:pt x="3532" y="3158"/>
                  </a:lnTo>
                  <a:lnTo>
                    <a:pt x="3518" y="3183"/>
                  </a:lnTo>
                  <a:lnTo>
                    <a:pt x="3515" y="3190"/>
                  </a:lnTo>
                  <a:lnTo>
                    <a:pt x="3518" y="3194"/>
                  </a:lnTo>
                  <a:lnTo>
                    <a:pt x="3518" y="3201"/>
                  </a:lnTo>
                  <a:lnTo>
                    <a:pt x="3525" y="3201"/>
                  </a:lnTo>
                  <a:lnTo>
                    <a:pt x="3536" y="3205"/>
                  </a:lnTo>
                  <a:lnTo>
                    <a:pt x="3554" y="3198"/>
                  </a:lnTo>
                  <a:lnTo>
                    <a:pt x="3575" y="3190"/>
                  </a:lnTo>
                  <a:lnTo>
                    <a:pt x="3600" y="3180"/>
                  </a:lnTo>
                  <a:lnTo>
                    <a:pt x="3625" y="3180"/>
                  </a:lnTo>
                  <a:lnTo>
                    <a:pt x="3643" y="3183"/>
                  </a:lnTo>
                  <a:lnTo>
                    <a:pt x="3661" y="3190"/>
                  </a:lnTo>
                  <a:lnTo>
                    <a:pt x="3675" y="3201"/>
                  </a:lnTo>
                  <a:lnTo>
                    <a:pt x="3686" y="3208"/>
                  </a:lnTo>
                  <a:lnTo>
                    <a:pt x="3693" y="3219"/>
                  </a:lnTo>
                  <a:lnTo>
                    <a:pt x="3704" y="3215"/>
                  </a:lnTo>
                  <a:lnTo>
                    <a:pt x="3711" y="3208"/>
                  </a:lnTo>
                  <a:lnTo>
                    <a:pt x="3718" y="3194"/>
                  </a:lnTo>
                  <a:lnTo>
                    <a:pt x="3757" y="3194"/>
                  </a:lnTo>
                  <a:lnTo>
                    <a:pt x="3764" y="3187"/>
                  </a:lnTo>
                  <a:lnTo>
                    <a:pt x="3778" y="3176"/>
                  </a:lnTo>
                  <a:lnTo>
                    <a:pt x="3789" y="3169"/>
                  </a:lnTo>
                  <a:lnTo>
                    <a:pt x="3800" y="3165"/>
                  </a:lnTo>
                  <a:lnTo>
                    <a:pt x="3814" y="3165"/>
                  </a:lnTo>
                  <a:lnTo>
                    <a:pt x="3832" y="3169"/>
                  </a:lnTo>
                  <a:lnTo>
                    <a:pt x="3893" y="3137"/>
                  </a:lnTo>
                  <a:lnTo>
                    <a:pt x="3914" y="3144"/>
                  </a:lnTo>
                  <a:lnTo>
                    <a:pt x="3932" y="3144"/>
                  </a:lnTo>
                  <a:lnTo>
                    <a:pt x="3942" y="3144"/>
                  </a:lnTo>
                  <a:lnTo>
                    <a:pt x="3950" y="3140"/>
                  </a:lnTo>
                  <a:lnTo>
                    <a:pt x="3957" y="3133"/>
                  </a:lnTo>
                  <a:lnTo>
                    <a:pt x="3960" y="3123"/>
                  </a:lnTo>
                  <a:lnTo>
                    <a:pt x="3960" y="3108"/>
                  </a:lnTo>
                  <a:lnTo>
                    <a:pt x="3960" y="3091"/>
                  </a:lnTo>
                  <a:lnTo>
                    <a:pt x="3953" y="3069"/>
                  </a:lnTo>
                  <a:lnTo>
                    <a:pt x="3942" y="3041"/>
                  </a:lnTo>
                  <a:lnTo>
                    <a:pt x="3925" y="3009"/>
                  </a:lnTo>
                  <a:lnTo>
                    <a:pt x="3903" y="2966"/>
                  </a:lnTo>
                  <a:lnTo>
                    <a:pt x="3893" y="2959"/>
                  </a:lnTo>
                  <a:lnTo>
                    <a:pt x="3882" y="2955"/>
                  </a:lnTo>
                  <a:lnTo>
                    <a:pt x="3871" y="2952"/>
                  </a:lnTo>
                  <a:lnTo>
                    <a:pt x="3857" y="2948"/>
                  </a:lnTo>
                  <a:lnTo>
                    <a:pt x="3843" y="2955"/>
                  </a:lnTo>
                  <a:lnTo>
                    <a:pt x="3832" y="2969"/>
                  </a:lnTo>
                  <a:lnTo>
                    <a:pt x="3818" y="2991"/>
                  </a:lnTo>
                  <a:lnTo>
                    <a:pt x="3757" y="2973"/>
                  </a:lnTo>
                  <a:lnTo>
                    <a:pt x="3757" y="2962"/>
                  </a:lnTo>
                  <a:lnTo>
                    <a:pt x="3750" y="2941"/>
                  </a:lnTo>
                  <a:lnTo>
                    <a:pt x="3718" y="2895"/>
                  </a:lnTo>
                  <a:lnTo>
                    <a:pt x="3696" y="2891"/>
                  </a:lnTo>
                  <a:lnTo>
                    <a:pt x="3679" y="2895"/>
                  </a:lnTo>
                  <a:lnTo>
                    <a:pt x="3671" y="2898"/>
                  </a:lnTo>
                  <a:lnTo>
                    <a:pt x="3661" y="2905"/>
                  </a:lnTo>
                  <a:lnTo>
                    <a:pt x="3650" y="2884"/>
                  </a:lnTo>
                  <a:lnTo>
                    <a:pt x="3639" y="2859"/>
                  </a:lnTo>
                  <a:lnTo>
                    <a:pt x="3632" y="2830"/>
                  </a:lnTo>
                  <a:lnTo>
                    <a:pt x="3632" y="2802"/>
                  </a:lnTo>
                  <a:lnTo>
                    <a:pt x="3632" y="2788"/>
                  </a:lnTo>
                  <a:lnTo>
                    <a:pt x="3636" y="2777"/>
                  </a:lnTo>
                  <a:lnTo>
                    <a:pt x="3643" y="2766"/>
                  </a:lnTo>
                  <a:lnTo>
                    <a:pt x="3654" y="2755"/>
                  </a:lnTo>
                  <a:lnTo>
                    <a:pt x="3668" y="2748"/>
                  </a:lnTo>
                  <a:lnTo>
                    <a:pt x="3686" y="2745"/>
                  </a:lnTo>
                  <a:lnTo>
                    <a:pt x="3729" y="2738"/>
                  </a:lnTo>
                  <a:lnTo>
                    <a:pt x="3736" y="2716"/>
                  </a:lnTo>
                  <a:lnTo>
                    <a:pt x="3743" y="2698"/>
                  </a:lnTo>
                  <a:lnTo>
                    <a:pt x="3753" y="2681"/>
                  </a:lnTo>
                  <a:lnTo>
                    <a:pt x="3764" y="2670"/>
                  </a:lnTo>
                  <a:lnTo>
                    <a:pt x="3771" y="2666"/>
                  </a:lnTo>
                  <a:lnTo>
                    <a:pt x="3778" y="2666"/>
                  </a:lnTo>
                  <a:lnTo>
                    <a:pt x="3786" y="2666"/>
                  </a:lnTo>
                  <a:lnTo>
                    <a:pt x="3793" y="2674"/>
                  </a:lnTo>
                  <a:lnTo>
                    <a:pt x="3800" y="2688"/>
                  </a:lnTo>
                  <a:lnTo>
                    <a:pt x="3807" y="2702"/>
                  </a:lnTo>
                  <a:lnTo>
                    <a:pt x="3835" y="2713"/>
                  </a:lnTo>
                  <a:lnTo>
                    <a:pt x="3864" y="2738"/>
                  </a:lnTo>
                  <a:lnTo>
                    <a:pt x="3893" y="2759"/>
                  </a:lnTo>
                  <a:lnTo>
                    <a:pt x="3917" y="2777"/>
                  </a:lnTo>
                  <a:lnTo>
                    <a:pt x="3928" y="2780"/>
                  </a:lnTo>
                  <a:lnTo>
                    <a:pt x="3939" y="2780"/>
                  </a:lnTo>
                  <a:lnTo>
                    <a:pt x="3946" y="2777"/>
                  </a:lnTo>
                  <a:lnTo>
                    <a:pt x="3946" y="2766"/>
                  </a:lnTo>
                  <a:lnTo>
                    <a:pt x="3946" y="2748"/>
                  </a:lnTo>
                  <a:lnTo>
                    <a:pt x="3939" y="2720"/>
                  </a:lnTo>
                  <a:lnTo>
                    <a:pt x="3925" y="2688"/>
                  </a:lnTo>
                  <a:lnTo>
                    <a:pt x="3903" y="2645"/>
                  </a:lnTo>
                  <a:lnTo>
                    <a:pt x="3896" y="2627"/>
                  </a:lnTo>
                  <a:lnTo>
                    <a:pt x="3889" y="2613"/>
                  </a:lnTo>
                  <a:lnTo>
                    <a:pt x="3875" y="2599"/>
                  </a:lnTo>
                  <a:lnTo>
                    <a:pt x="3857" y="2581"/>
                  </a:lnTo>
                  <a:lnTo>
                    <a:pt x="3832" y="2570"/>
                  </a:lnTo>
                  <a:lnTo>
                    <a:pt x="3821" y="2567"/>
                  </a:lnTo>
                  <a:lnTo>
                    <a:pt x="3803" y="2563"/>
                  </a:lnTo>
                  <a:lnTo>
                    <a:pt x="3786" y="2563"/>
                  </a:lnTo>
                  <a:lnTo>
                    <a:pt x="3768" y="2567"/>
                  </a:lnTo>
                  <a:lnTo>
                    <a:pt x="3739" y="2563"/>
                  </a:lnTo>
                  <a:lnTo>
                    <a:pt x="3736" y="2559"/>
                  </a:lnTo>
                  <a:lnTo>
                    <a:pt x="3729" y="2556"/>
                  </a:lnTo>
                  <a:lnTo>
                    <a:pt x="3714" y="2556"/>
                  </a:lnTo>
                  <a:lnTo>
                    <a:pt x="3711" y="2559"/>
                  </a:lnTo>
                  <a:lnTo>
                    <a:pt x="3707" y="2567"/>
                  </a:lnTo>
                  <a:lnTo>
                    <a:pt x="3700" y="2570"/>
                  </a:lnTo>
                  <a:lnTo>
                    <a:pt x="3686" y="2570"/>
                  </a:lnTo>
                  <a:lnTo>
                    <a:pt x="3675" y="2570"/>
                  </a:lnTo>
                  <a:lnTo>
                    <a:pt x="3668" y="2563"/>
                  </a:lnTo>
                  <a:lnTo>
                    <a:pt x="3661" y="2552"/>
                  </a:lnTo>
                  <a:lnTo>
                    <a:pt x="3654" y="2534"/>
                  </a:lnTo>
                  <a:lnTo>
                    <a:pt x="3650" y="2520"/>
                  </a:lnTo>
                  <a:lnTo>
                    <a:pt x="3647" y="2488"/>
                  </a:lnTo>
                  <a:lnTo>
                    <a:pt x="3636" y="2456"/>
                  </a:lnTo>
                  <a:lnTo>
                    <a:pt x="3629" y="2445"/>
                  </a:lnTo>
                  <a:lnTo>
                    <a:pt x="3622" y="2438"/>
                  </a:lnTo>
                  <a:lnTo>
                    <a:pt x="3614" y="2420"/>
                  </a:lnTo>
                  <a:lnTo>
                    <a:pt x="3614" y="2399"/>
                  </a:lnTo>
                  <a:lnTo>
                    <a:pt x="3554" y="2410"/>
                  </a:lnTo>
                  <a:lnTo>
                    <a:pt x="3508" y="2410"/>
                  </a:lnTo>
                  <a:lnTo>
                    <a:pt x="3508" y="2399"/>
                  </a:lnTo>
                  <a:lnTo>
                    <a:pt x="3508" y="2374"/>
                  </a:lnTo>
                  <a:lnTo>
                    <a:pt x="3497" y="2353"/>
                  </a:lnTo>
                  <a:lnTo>
                    <a:pt x="3472" y="2338"/>
                  </a:lnTo>
                  <a:lnTo>
                    <a:pt x="3454" y="2321"/>
                  </a:lnTo>
                  <a:lnTo>
                    <a:pt x="3443" y="2289"/>
                  </a:lnTo>
                  <a:lnTo>
                    <a:pt x="3443" y="2256"/>
                  </a:lnTo>
                  <a:lnTo>
                    <a:pt x="3458" y="2249"/>
                  </a:lnTo>
                  <a:lnTo>
                    <a:pt x="3490" y="2228"/>
                  </a:lnTo>
                  <a:lnTo>
                    <a:pt x="3504" y="2214"/>
                  </a:lnTo>
                  <a:lnTo>
                    <a:pt x="3518" y="2192"/>
                  </a:lnTo>
                  <a:lnTo>
                    <a:pt x="3529" y="2171"/>
                  </a:lnTo>
                  <a:lnTo>
                    <a:pt x="3536" y="2149"/>
                  </a:lnTo>
                  <a:lnTo>
                    <a:pt x="3550" y="2139"/>
                  </a:lnTo>
                  <a:lnTo>
                    <a:pt x="3604" y="2139"/>
                  </a:lnTo>
                  <a:lnTo>
                    <a:pt x="3607" y="2125"/>
                  </a:lnTo>
                  <a:lnTo>
                    <a:pt x="3611" y="2103"/>
                  </a:lnTo>
                  <a:lnTo>
                    <a:pt x="3614" y="2078"/>
                  </a:lnTo>
                  <a:lnTo>
                    <a:pt x="3625" y="2057"/>
                  </a:lnTo>
                  <a:lnTo>
                    <a:pt x="3611" y="2039"/>
                  </a:lnTo>
                  <a:lnTo>
                    <a:pt x="3543" y="2018"/>
                  </a:lnTo>
                  <a:lnTo>
                    <a:pt x="3540" y="2010"/>
                  </a:lnTo>
                  <a:lnTo>
                    <a:pt x="3536" y="2007"/>
                  </a:lnTo>
                  <a:lnTo>
                    <a:pt x="3536" y="1996"/>
                  </a:lnTo>
                  <a:lnTo>
                    <a:pt x="3536" y="1986"/>
                  </a:lnTo>
                  <a:lnTo>
                    <a:pt x="3540" y="1971"/>
                  </a:lnTo>
                  <a:lnTo>
                    <a:pt x="3550" y="1957"/>
                  </a:lnTo>
                  <a:lnTo>
                    <a:pt x="3568" y="1939"/>
                  </a:lnTo>
                  <a:lnTo>
                    <a:pt x="3565" y="1925"/>
                  </a:lnTo>
                  <a:lnTo>
                    <a:pt x="3565" y="1911"/>
                  </a:lnTo>
                  <a:lnTo>
                    <a:pt x="3565" y="1893"/>
                  </a:lnTo>
                  <a:lnTo>
                    <a:pt x="3575" y="1879"/>
                  </a:lnTo>
                  <a:lnTo>
                    <a:pt x="3582" y="1871"/>
                  </a:lnTo>
                  <a:lnTo>
                    <a:pt x="3593" y="1864"/>
                  </a:lnTo>
                  <a:lnTo>
                    <a:pt x="3607" y="1861"/>
                  </a:lnTo>
                  <a:lnTo>
                    <a:pt x="3625" y="1857"/>
                  </a:lnTo>
                  <a:lnTo>
                    <a:pt x="3647" y="1857"/>
                  </a:lnTo>
                  <a:lnTo>
                    <a:pt x="3671" y="1861"/>
                  </a:lnTo>
                  <a:lnTo>
                    <a:pt x="3732" y="1882"/>
                  </a:lnTo>
                  <a:lnTo>
                    <a:pt x="3782" y="1900"/>
                  </a:lnTo>
                  <a:lnTo>
                    <a:pt x="3818" y="1918"/>
                  </a:lnTo>
                  <a:lnTo>
                    <a:pt x="3843" y="1904"/>
                  </a:lnTo>
                  <a:lnTo>
                    <a:pt x="3850" y="1889"/>
                  </a:lnTo>
                  <a:lnTo>
                    <a:pt x="3860" y="1879"/>
                  </a:lnTo>
                  <a:lnTo>
                    <a:pt x="3875" y="1868"/>
                  </a:lnTo>
                  <a:lnTo>
                    <a:pt x="3893" y="1864"/>
                  </a:lnTo>
                  <a:lnTo>
                    <a:pt x="3903" y="1864"/>
                  </a:lnTo>
                  <a:lnTo>
                    <a:pt x="3914" y="1864"/>
                  </a:lnTo>
                  <a:lnTo>
                    <a:pt x="3925" y="1871"/>
                  </a:lnTo>
                  <a:lnTo>
                    <a:pt x="3939" y="1879"/>
                  </a:lnTo>
                  <a:lnTo>
                    <a:pt x="3950" y="1889"/>
                  </a:lnTo>
                  <a:lnTo>
                    <a:pt x="3964" y="1907"/>
                  </a:lnTo>
                  <a:lnTo>
                    <a:pt x="3971" y="1918"/>
                  </a:lnTo>
                  <a:lnTo>
                    <a:pt x="3992" y="1946"/>
                  </a:lnTo>
                  <a:lnTo>
                    <a:pt x="4007" y="1957"/>
                  </a:lnTo>
                  <a:lnTo>
                    <a:pt x="4021" y="1971"/>
                  </a:lnTo>
                  <a:lnTo>
                    <a:pt x="4035" y="1978"/>
                  </a:lnTo>
                  <a:lnTo>
                    <a:pt x="4049" y="1982"/>
                  </a:lnTo>
                  <a:lnTo>
                    <a:pt x="4085" y="1975"/>
                  </a:lnTo>
                  <a:lnTo>
                    <a:pt x="4096" y="1975"/>
                  </a:lnTo>
                  <a:lnTo>
                    <a:pt x="4106" y="1986"/>
                  </a:lnTo>
                  <a:lnTo>
                    <a:pt x="4110" y="1989"/>
                  </a:lnTo>
                  <a:lnTo>
                    <a:pt x="4114" y="1989"/>
                  </a:lnTo>
                  <a:lnTo>
                    <a:pt x="4117" y="1978"/>
                  </a:lnTo>
                  <a:lnTo>
                    <a:pt x="4121" y="1957"/>
                  </a:lnTo>
                  <a:lnTo>
                    <a:pt x="4149" y="1964"/>
                  </a:lnTo>
                  <a:lnTo>
                    <a:pt x="4278" y="1722"/>
                  </a:lnTo>
                  <a:lnTo>
                    <a:pt x="4281" y="1715"/>
                  </a:lnTo>
                  <a:lnTo>
                    <a:pt x="4288" y="1693"/>
                  </a:lnTo>
                  <a:lnTo>
                    <a:pt x="4288" y="1679"/>
                  </a:lnTo>
                  <a:lnTo>
                    <a:pt x="4288" y="1661"/>
                  </a:lnTo>
                  <a:lnTo>
                    <a:pt x="4285" y="1643"/>
                  </a:lnTo>
                  <a:lnTo>
                    <a:pt x="4278" y="1622"/>
                  </a:lnTo>
                  <a:lnTo>
                    <a:pt x="4270" y="1604"/>
                  </a:lnTo>
                  <a:lnTo>
                    <a:pt x="4270" y="1586"/>
                  </a:lnTo>
                  <a:lnTo>
                    <a:pt x="4274" y="1576"/>
                  </a:lnTo>
                  <a:lnTo>
                    <a:pt x="4281" y="1565"/>
                  </a:lnTo>
                  <a:lnTo>
                    <a:pt x="4299" y="1551"/>
                  </a:lnTo>
                  <a:lnTo>
                    <a:pt x="4310" y="1543"/>
                  </a:lnTo>
                  <a:lnTo>
                    <a:pt x="4313" y="1547"/>
                  </a:lnTo>
                  <a:lnTo>
                    <a:pt x="4327" y="1551"/>
                  </a:lnTo>
                  <a:lnTo>
                    <a:pt x="4338" y="1547"/>
                  </a:lnTo>
                  <a:lnTo>
                    <a:pt x="4349" y="1543"/>
                  </a:lnTo>
                  <a:lnTo>
                    <a:pt x="4360" y="1536"/>
                  </a:lnTo>
                  <a:lnTo>
                    <a:pt x="4370" y="1526"/>
                  </a:lnTo>
                  <a:lnTo>
                    <a:pt x="4374" y="1526"/>
                  </a:lnTo>
                  <a:lnTo>
                    <a:pt x="4384" y="1529"/>
                  </a:lnTo>
                  <a:lnTo>
                    <a:pt x="4392" y="1533"/>
                  </a:lnTo>
                  <a:lnTo>
                    <a:pt x="4399" y="1540"/>
                  </a:lnTo>
                  <a:lnTo>
                    <a:pt x="4402" y="1547"/>
                  </a:lnTo>
                  <a:lnTo>
                    <a:pt x="4406" y="1561"/>
                  </a:lnTo>
                  <a:lnTo>
                    <a:pt x="4413" y="1565"/>
                  </a:lnTo>
                  <a:lnTo>
                    <a:pt x="4417" y="1568"/>
                  </a:lnTo>
                  <a:lnTo>
                    <a:pt x="4424" y="1568"/>
                  </a:lnTo>
                  <a:lnTo>
                    <a:pt x="4434" y="1568"/>
                  </a:lnTo>
                  <a:lnTo>
                    <a:pt x="4445" y="1561"/>
                  </a:lnTo>
                  <a:lnTo>
                    <a:pt x="4456" y="1547"/>
                  </a:lnTo>
                  <a:lnTo>
                    <a:pt x="4466" y="1522"/>
                  </a:lnTo>
                  <a:lnTo>
                    <a:pt x="4470" y="1519"/>
                  </a:lnTo>
                  <a:lnTo>
                    <a:pt x="4474" y="1511"/>
                  </a:lnTo>
                  <a:lnTo>
                    <a:pt x="4474" y="1504"/>
                  </a:lnTo>
                  <a:lnTo>
                    <a:pt x="4470" y="1497"/>
                  </a:lnTo>
                  <a:lnTo>
                    <a:pt x="4466" y="1490"/>
                  </a:lnTo>
                  <a:lnTo>
                    <a:pt x="4459" y="1486"/>
                  </a:lnTo>
                  <a:lnTo>
                    <a:pt x="4459" y="1479"/>
                  </a:lnTo>
                  <a:lnTo>
                    <a:pt x="4463" y="1469"/>
                  </a:lnTo>
                  <a:lnTo>
                    <a:pt x="4470" y="1458"/>
                  </a:lnTo>
                  <a:lnTo>
                    <a:pt x="4474" y="1454"/>
                  </a:lnTo>
                  <a:lnTo>
                    <a:pt x="4499" y="1426"/>
                  </a:lnTo>
                  <a:lnTo>
                    <a:pt x="4488" y="1397"/>
                  </a:lnTo>
                  <a:lnTo>
                    <a:pt x="4506" y="1362"/>
                  </a:lnTo>
                  <a:lnTo>
                    <a:pt x="4502" y="1355"/>
                  </a:lnTo>
                  <a:lnTo>
                    <a:pt x="4495" y="1347"/>
                  </a:lnTo>
                  <a:lnTo>
                    <a:pt x="4484" y="1337"/>
                  </a:lnTo>
                  <a:lnTo>
                    <a:pt x="4477" y="1330"/>
                  </a:lnTo>
                  <a:lnTo>
                    <a:pt x="4481" y="1322"/>
                  </a:lnTo>
                  <a:lnTo>
                    <a:pt x="4488" y="1315"/>
                  </a:lnTo>
                  <a:lnTo>
                    <a:pt x="4499" y="1305"/>
                  </a:lnTo>
                  <a:lnTo>
                    <a:pt x="4520" y="1290"/>
                  </a:lnTo>
                  <a:lnTo>
                    <a:pt x="4531" y="1283"/>
                  </a:lnTo>
                  <a:lnTo>
                    <a:pt x="4538" y="1265"/>
                  </a:lnTo>
                  <a:lnTo>
                    <a:pt x="4541" y="1248"/>
                  </a:lnTo>
                  <a:lnTo>
                    <a:pt x="4541" y="1226"/>
                  </a:lnTo>
                  <a:lnTo>
                    <a:pt x="4541" y="1219"/>
                  </a:lnTo>
                  <a:lnTo>
                    <a:pt x="4545" y="1216"/>
                  </a:lnTo>
                  <a:lnTo>
                    <a:pt x="4552" y="1212"/>
                  </a:lnTo>
                  <a:lnTo>
                    <a:pt x="4563" y="1212"/>
                  </a:lnTo>
                  <a:lnTo>
                    <a:pt x="4559" y="1205"/>
                  </a:lnTo>
                  <a:lnTo>
                    <a:pt x="4556" y="1198"/>
                  </a:lnTo>
                  <a:lnTo>
                    <a:pt x="4556" y="1191"/>
                  </a:lnTo>
                  <a:lnTo>
                    <a:pt x="4559" y="1183"/>
                  </a:lnTo>
                  <a:lnTo>
                    <a:pt x="4566" y="1176"/>
                  </a:lnTo>
                  <a:lnTo>
                    <a:pt x="4581" y="1173"/>
                  </a:lnTo>
                  <a:lnTo>
                    <a:pt x="4602" y="1173"/>
                  </a:lnTo>
                  <a:lnTo>
                    <a:pt x="4616" y="1155"/>
                  </a:lnTo>
                  <a:lnTo>
                    <a:pt x="4616" y="1137"/>
                  </a:lnTo>
                  <a:lnTo>
                    <a:pt x="4677" y="1109"/>
                  </a:lnTo>
                  <a:lnTo>
                    <a:pt x="4680" y="1105"/>
                  </a:lnTo>
                  <a:lnTo>
                    <a:pt x="4680" y="1091"/>
                  </a:lnTo>
                  <a:lnTo>
                    <a:pt x="4680" y="1084"/>
                  </a:lnTo>
                  <a:lnTo>
                    <a:pt x="4677" y="1077"/>
                  </a:lnTo>
                  <a:lnTo>
                    <a:pt x="4670" y="1069"/>
                  </a:lnTo>
                  <a:lnTo>
                    <a:pt x="4659" y="1066"/>
                  </a:lnTo>
                  <a:lnTo>
                    <a:pt x="4659" y="1044"/>
                  </a:lnTo>
                  <a:lnTo>
                    <a:pt x="4641" y="1041"/>
                  </a:lnTo>
                  <a:lnTo>
                    <a:pt x="4534" y="952"/>
                  </a:lnTo>
                  <a:lnTo>
                    <a:pt x="4534" y="948"/>
                  </a:lnTo>
                  <a:lnTo>
                    <a:pt x="4538" y="941"/>
                  </a:lnTo>
                  <a:lnTo>
                    <a:pt x="4541" y="941"/>
                  </a:lnTo>
                  <a:lnTo>
                    <a:pt x="4548" y="937"/>
                  </a:lnTo>
                  <a:lnTo>
                    <a:pt x="4559" y="937"/>
                  </a:lnTo>
                  <a:lnTo>
                    <a:pt x="4570" y="941"/>
                  </a:lnTo>
                  <a:lnTo>
                    <a:pt x="4577" y="930"/>
                  </a:lnTo>
                  <a:lnTo>
                    <a:pt x="4577" y="895"/>
                  </a:lnTo>
                  <a:lnTo>
                    <a:pt x="4588" y="895"/>
                  </a:lnTo>
                  <a:lnTo>
                    <a:pt x="4595" y="895"/>
                  </a:lnTo>
                  <a:lnTo>
                    <a:pt x="4605" y="891"/>
                  </a:lnTo>
                  <a:lnTo>
                    <a:pt x="4609" y="888"/>
                  </a:lnTo>
                  <a:lnTo>
                    <a:pt x="4605" y="877"/>
                  </a:lnTo>
                  <a:lnTo>
                    <a:pt x="4595" y="866"/>
                  </a:lnTo>
                  <a:lnTo>
                    <a:pt x="4573" y="845"/>
                  </a:lnTo>
                  <a:lnTo>
                    <a:pt x="4581" y="838"/>
                  </a:lnTo>
                  <a:lnTo>
                    <a:pt x="4609" y="831"/>
                  </a:lnTo>
                  <a:lnTo>
                    <a:pt x="4613" y="823"/>
                  </a:lnTo>
                  <a:lnTo>
                    <a:pt x="4613" y="813"/>
                  </a:lnTo>
                  <a:lnTo>
                    <a:pt x="4609" y="806"/>
                  </a:lnTo>
                  <a:lnTo>
                    <a:pt x="4602" y="802"/>
                  </a:lnTo>
                  <a:lnTo>
                    <a:pt x="4591" y="798"/>
                  </a:lnTo>
                  <a:lnTo>
                    <a:pt x="4573" y="802"/>
                  </a:lnTo>
                  <a:lnTo>
                    <a:pt x="4534" y="813"/>
                  </a:lnTo>
                  <a:lnTo>
                    <a:pt x="4513" y="809"/>
                  </a:lnTo>
                  <a:lnTo>
                    <a:pt x="4488" y="831"/>
                  </a:lnTo>
                  <a:lnTo>
                    <a:pt x="4438" y="855"/>
                  </a:lnTo>
                  <a:lnTo>
                    <a:pt x="4431" y="866"/>
                  </a:lnTo>
                  <a:lnTo>
                    <a:pt x="4420" y="873"/>
                  </a:lnTo>
                  <a:lnTo>
                    <a:pt x="4409" y="880"/>
                  </a:lnTo>
                  <a:lnTo>
                    <a:pt x="4395" y="884"/>
                  </a:lnTo>
                  <a:lnTo>
                    <a:pt x="4381" y="888"/>
                  </a:lnTo>
                  <a:lnTo>
                    <a:pt x="4363" y="880"/>
                  </a:lnTo>
                  <a:lnTo>
                    <a:pt x="4342" y="866"/>
                  </a:lnTo>
                  <a:lnTo>
                    <a:pt x="4306" y="834"/>
                  </a:lnTo>
                  <a:lnTo>
                    <a:pt x="4274" y="802"/>
                  </a:lnTo>
                  <a:lnTo>
                    <a:pt x="4256" y="791"/>
                  </a:lnTo>
                  <a:lnTo>
                    <a:pt x="4238" y="784"/>
                  </a:lnTo>
                  <a:lnTo>
                    <a:pt x="4220" y="784"/>
                  </a:lnTo>
                  <a:lnTo>
                    <a:pt x="4196" y="788"/>
                  </a:lnTo>
                  <a:lnTo>
                    <a:pt x="4188" y="791"/>
                  </a:lnTo>
                  <a:lnTo>
                    <a:pt x="4181" y="791"/>
                  </a:lnTo>
                  <a:lnTo>
                    <a:pt x="4171" y="791"/>
                  </a:lnTo>
                  <a:lnTo>
                    <a:pt x="4160" y="791"/>
                  </a:lnTo>
                  <a:lnTo>
                    <a:pt x="4153" y="784"/>
                  </a:lnTo>
                  <a:lnTo>
                    <a:pt x="4146" y="770"/>
                  </a:lnTo>
                  <a:lnTo>
                    <a:pt x="4142" y="749"/>
                  </a:lnTo>
                  <a:lnTo>
                    <a:pt x="4146" y="734"/>
                  </a:lnTo>
                  <a:lnTo>
                    <a:pt x="4117" y="734"/>
                  </a:lnTo>
                  <a:lnTo>
                    <a:pt x="4106" y="738"/>
                  </a:lnTo>
                  <a:lnTo>
                    <a:pt x="4099" y="741"/>
                  </a:lnTo>
                  <a:lnTo>
                    <a:pt x="4092" y="749"/>
                  </a:lnTo>
                  <a:lnTo>
                    <a:pt x="4089" y="777"/>
                  </a:lnTo>
                  <a:lnTo>
                    <a:pt x="4089" y="798"/>
                  </a:lnTo>
                  <a:lnTo>
                    <a:pt x="4078" y="795"/>
                  </a:lnTo>
                  <a:lnTo>
                    <a:pt x="4060" y="784"/>
                  </a:lnTo>
                  <a:lnTo>
                    <a:pt x="4007" y="759"/>
                  </a:lnTo>
                  <a:lnTo>
                    <a:pt x="3996" y="752"/>
                  </a:lnTo>
                  <a:lnTo>
                    <a:pt x="3999" y="731"/>
                  </a:lnTo>
                  <a:lnTo>
                    <a:pt x="3999" y="709"/>
                  </a:lnTo>
                  <a:lnTo>
                    <a:pt x="3999" y="688"/>
                  </a:lnTo>
                  <a:lnTo>
                    <a:pt x="3996" y="667"/>
                  </a:lnTo>
                  <a:lnTo>
                    <a:pt x="3992" y="659"/>
                  </a:lnTo>
                  <a:lnTo>
                    <a:pt x="3989" y="652"/>
                  </a:lnTo>
                  <a:lnTo>
                    <a:pt x="3982" y="649"/>
                  </a:lnTo>
                  <a:lnTo>
                    <a:pt x="3975" y="649"/>
                  </a:lnTo>
                  <a:lnTo>
                    <a:pt x="3964" y="652"/>
                  </a:lnTo>
                  <a:lnTo>
                    <a:pt x="3953" y="656"/>
                  </a:lnTo>
                  <a:lnTo>
                    <a:pt x="3928" y="670"/>
                  </a:lnTo>
                  <a:lnTo>
                    <a:pt x="3910" y="674"/>
                  </a:lnTo>
                  <a:lnTo>
                    <a:pt x="3893" y="677"/>
                  </a:lnTo>
                  <a:lnTo>
                    <a:pt x="3878" y="674"/>
                  </a:lnTo>
                  <a:lnTo>
                    <a:pt x="3868" y="670"/>
                  </a:lnTo>
                  <a:lnTo>
                    <a:pt x="3860" y="663"/>
                  </a:lnTo>
                  <a:lnTo>
                    <a:pt x="3857" y="659"/>
                  </a:lnTo>
                  <a:lnTo>
                    <a:pt x="3818" y="684"/>
                  </a:lnTo>
                  <a:lnTo>
                    <a:pt x="3807" y="688"/>
                  </a:lnTo>
                  <a:lnTo>
                    <a:pt x="3786" y="695"/>
                  </a:lnTo>
                  <a:lnTo>
                    <a:pt x="3768" y="706"/>
                  </a:lnTo>
                  <a:lnTo>
                    <a:pt x="3761" y="716"/>
                  </a:lnTo>
                  <a:lnTo>
                    <a:pt x="3757" y="724"/>
                  </a:lnTo>
                  <a:lnTo>
                    <a:pt x="3736" y="724"/>
                  </a:lnTo>
                  <a:lnTo>
                    <a:pt x="3714" y="720"/>
                  </a:lnTo>
                  <a:lnTo>
                    <a:pt x="3689" y="713"/>
                  </a:lnTo>
                  <a:lnTo>
                    <a:pt x="3661" y="702"/>
                  </a:lnTo>
                  <a:lnTo>
                    <a:pt x="3636" y="688"/>
                  </a:lnTo>
                  <a:lnTo>
                    <a:pt x="3625" y="677"/>
                  </a:lnTo>
                  <a:lnTo>
                    <a:pt x="3618" y="667"/>
                  </a:lnTo>
                  <a:lnTo>
                    <a:pt x="3611" y="652"/>
                  </a:lnTo>
                  <a:lnTo>
                    <a:pt x="3607" y="638"/>
                  </a:lnTo>
                  <a:lnTo>
                    <a:pt x="3604" y="631"/>
                  </a:lnTo>
                  <a:lnTo>
                    <a:pt x="3597" y="624"/>
                  </a:lnTo>
                  <a:lnTo>
                    <a:pt x="3589" y="620"/>
                  </a:lnTo>
                  <a:lnTo>
                    <a:pt x="3586" y="620"/>
                  </a:lnTo>
                  <a:lnTo>
                    <a:pt x="3579" y="620"/>
                  </a:lnTo>
                  <a:lnTo>
                    <a:pt x="3568" y="627"/>
                  </a:lnTo>
                  <a:lnTo>
                    <a:pt x="3554" y="642"/>
                  </a:lnTo>
                  <a:lnTo>
                    <a:pt x="3536" y="652"/>
                  </a:lnTo>
                  <a:lnTo>
                    <a:pt x="3522" y="656"/>
                  </a:lnTo>
                  <a:lnTo>
                    <a:pt x="3522" y="663"/>
                  </a:lnTo>
                  <a:lnTo>
                    <a:pt x="3518" y="667"/>
                  </a:lnTo>
                  <a:lnTo>
                    <a:pt x="3515" y="674"/>
                  </a:lnTo>
                  <a:lnTo>
                    <a:pt x="3508" y="677"/>
                  </a:lnTo>
                  <a:lnTo>
                    <a:pt x="3497" y="681"/>
                  </a:lnTo>
                  <a:lnTo>
                    <a:pt x="3479" y="684"/>
                  </a:lnTo>
                  <a:lnTo>
                    <a:pt x="3454" y="684"/>
                  </a:lnTo>
                  <a:lnTo>
                    <a:pt x="3433" y="716"/>
                  </a:lnTo>
                  <a:lnTo>
                    <a:pt x="3426" y="720"/>
                  </a:lnTo>
                  <a:lnTo>
                    <a:pt x="3415" y="727"/>
                  </a:lnTo>
                  <a:lnTo>
                    <a:pt x="3408" y="727"/>
                  </a:lnTo>
                  <a:lnTo>
                    <a:pt x="3401" y="724"/>
                  </a:lnTo>
                  <a:lnTo>
                    <a:pt x="3397" y="713"/>
                  </a:lnTo>
                  <a:lnTo>
                    <a:pt x="3393" y="699"/>
                  </a:lnTo>
                  <a:lnTo>
                    <a:pt x="3393" y="688"/>
                  </a:lnTo>
                  <a:lnTo>
                    <a:pt x="3390" y="667"/>
                  </a:lnTo>
                  <a:lnTo>
                    <a:pt x="3383" y="649"/>
                  </a:lnTo>
                  <a:lnTo>
                    <a:pt x="3372" y="634"/>
                  </a:lnTo>
                  <a:lnTo>
                    <a:pt x="3358" y="627"/>
                  </a:lnTo>
                  <a:lnTo>
                    <a:pt x="3344" y="627"/>
                  </a:lnTo>
                  <a:lnTo>
                    <a:pt x="3329" y="631"/>
                  </a:lnTo>
                  <a:lnTo>
                    <a:pt x="3319" y="645"/>
                  </a:lnTo>
                  <a:lnTo>
                    <a:pt x="3308" y="663"/>
                  </a:lnTo>
                  <a:lnTo>
                    <a:pt x="3315" y="677"/>
                  </a:lnTo>
                  <a:lnTo>
                    <a:pt x="3326" y="684"/>
                  </a:lnTo>
                  <a:lnTo>
                    <a:pt x="3340" y="695"/>
                  </a:lnTo>
                  <a:lnTo>
                    <a:pt x="3340" y="699"/>
                  </a:lnTo>
                  <a:lnTo>
                    <a:pt x="3336" y="709"/>
                  </a:lnTo>
                  <a:lnTo>
                    <a:pt x="3329" y="720"/>
                  </a:lnTo>
                  <a:lnTo>
                    <a:pt x="3311" y="734"/>
                  </a:lnTo>
                  <a:lnTo>
                    <a:pt x="3276" y="759"/>
                  </a:lnTo>
                  <a:lnTo>
                    <a:pt x="3262" y="770"/>
                  </a:lnTo>
                  <a:lnTo>
                    <a:pt x="3237" y="770"/>
                  </a:lnTo>
                  <a:lnTo>
                    <a:pt x="3237" y="788"/>
                  </a:lnTo>
                  <a:lnTo>
                    <a:pt x="3229" y="795"/>
                  </a:lnTo>
                  <a:lnTo>
                    <a:pt x="3212" y="802"/>
                  </a:lnTo>
                  <a:lnTo>
                    <a:pt x="3201" y="802"/>
                  </a:lnTo>
                  <a:lnTo>
                    <a:pt x="3190" y="802"/>
                  </a:lnTo>
                  <a:lnTo>
                    <a:pt x="3180" y="791"/>
                  </a:lnTo>
                  <a:lnTo>
                    <a:pt x="3169" y="777"/>
                  </a:lnTo>
                  <a:lnTo>
                    <a:pt x="3126" y="798"/>
                  </a:lnTo>
                  <a:lnTo>
                    <a:pt x="3115" y="795"/>
                  </a:lnTo>
                  <a:lnTo>
                    <a:pt x="3083" y="784"/>
                  </a:lnTo>
                  <a:lnTo>
                    <a:pt x="3048" y="777"/>
                  </a:lnTo>
                  <a:lnTo>
                    <a:pt x="3026" y="774"/>
                  </a:lnTo>
                  <a:lnTo>
                    <a:pt x="3005" y="777"/>
                  </a:lnTo>
                  <a:lnTo>
                    <a:pt x="2998" y="770"/>
                  </a:lnTo>
                  <a:lnTo>
                    <a:pt x="2980" y="756"/>
                  </a:lnTo>
                  <a:lnTo>
                    <a:pt x="2955" y="741"/>
                  </a:lnTo>
                  <a:lnTo>
                    <a:pt x="2941" y="734"/>
                  </a:lnTo>
                  <a:lnTo>
                    <a:pt x="2926" y="731"/>
                  </a:lnTo>
                  <a:lnTo>
                    <a:pt x="2909" y="727"/>
                  </a:lnTo>
                  <a:lnTo>
                    <a:pt x="2894" y="724"/>
                  </a:lnTo>
                  <a:lnTo>
                    <a:pt x="2884" y="713"/>
                  </a:lnTo>
                  <a:lnTo>
                    <a:pt x="2873" y="702"/>
                  </a:lnTo>
                  <a:lnTo>
                    <a:pt x="2866" y="692"/>
                  </a:lnTo>
                  <a:lnTo>
                    <a:pt x="2866" y="677"/>
                  </a:lnTo>
                  <a:lnTo>
                    <a:pt x="2873" y="663"/>
                  </a:lnTo>
                  <a:lnTo>
                    <a:pt x="2887" y="649"/>
                  </a:lnTo>
                  <a:lnTo>
                    <a:pt x="2901" y="638"/>
                  </a:lnTo>
                  <a:lnTo>
                    <a:pt x="2909" y="627"/>
                  </a:lnTo>
                  <a:lnTo>
                    <a:pt x="2909" y="620"/>
                  </a:lnTo>
                  <a:lnTo>
                    <a:pt x="2905" y="613"/>
                  </a:lnTo>
                  <a:lnTo>
                    <a:pt x="2898" y="610"/>
                  </a:lnTo>
                  <a:lnTo>
                    <a:pt x="2887" y="610"/>
                  </a:lnTo>
                  <a:lnTo>
                    <a:pt x="2862" y="606"/>
                  </a:lnTo>
                  <a:lnTo>
                    <a:pt x="2852" y="602"/>
                  </a:lnTo>
                  <a:lnTo>
                    <a:pt x="2844" y="599"/>
                  </a:lnTo>
                  <a:lnTo>
                    <a:pt x="2844" y="592"/>
                  </a:lnTo>
                  <a:lnTo>
                    <a:pt x="2848" y="588"/>
                  </a:lnTo>
                  <a:lnTo>
                    <a:pt x="2859" y="574"/>
                  </a:lnTo>
                  <a:lnTo>
                    <a:pt x="2877" y="560"/>
                  </a:lnTo>
                  <a:lnTo>
                    <a:pt x="2880" y="552"/>
                  </a:lnTo>
                  <a:lnTo>
                    <a:pt x="2880" y="542"/>
                  </a:lnTo>
                  <a:lnTo>
                    <a:pt x="2869" y="517"/>
                  </a:lnTo>
                  <a:lnTo>
                    <a:pt x="2859" y="492"/>
                  </a:lnTo>
                  <a:lnTo>
                    <a:pt x="2852" y="481"/>
                  </a:lnTo>
                  <a:lnTo>
                    <a:pt x="2891" y="478"/>
                  </a:lnTo>
                  <a:lnTo>
                    <a:pt x="2894" y="474"/>
                  </a:lnTo>
                  <a:lnTo>
                    <a:pt x="2898" y="470"/>
                  </a:lnTo>
                  <a:lnTo>
                    <a:pt x="2898" y="467"/>
                  </a:lnTo>
                  <a:lnTo>
                    <a:pt x="2894" y="460"/>
                  </a:lnTo>
                  <a:lnTo>
                    <a:pt x="2884" y="453"/>
                  </a:lnTo>
                  <a:lnTo>
                    <a:pt x="2873" y="446"/>
                  </a:lnTo>
                  <a:lnTo>
                    <a:pt x="2852" y="435"/>
                  </a:lnTo>
                  <a:lnTo>
                    <a:pt x="2827" y="424"/>
                  </a:lnTo>
                  <a:lnTo>
                    <a:pt x="2809" y="406"/>
                  </a:lnTo>
                  <a:lnTo>
                    <a:pt x="2795" y="389"/>
                  </a:lnTo>
                  <a:lnTo>
                    <a:pt x="2787" y="367"/>
                  </a:lnTo>
                  <a:lnTo>
                    <a:pt x="2773" y="328"/>
                  </a:lnTo>
                  <a:lnTo>
                    <a:pt x="2773" y="314"/>
                  </a:lnTo>
                  <a:lnTo>
                    <a:pt x="2759" y="307"/>
                  </a:lnTo>
                  <a:lnTo>
                    <a:pt x="2730" y="296"/>
                  </a:lnTo>
                  <a:lnTo>
                    <a:pt x="2705" y="296"/>
                  </a:lnTo>
                  <a:lnTo>
                    <a:pt x="2680" y="296"/>
                  </a:lnTo>
                  <a:lnTo>
                    <a:pt x="2648" y="299"/>
                  </a:lnTo>
                  <a:lnTo>
                    <a:pt x="2613" y="310"/>
                  </a:lnTo>
                  <a:lnTo>
                    <a:pt x="2595" y="303"/>
                  </a:lnTo>
                  <a:lnTo>
                    <a:pt x="2577" y="296"/>
                  </a:lnTo>
                  <a:lnTo>
                    <a:pt x="2566" y="285"/>
                  </a:lnTo>
                  <a:lnTo>
                    <a:pt x="2563" y="282"/>
                  </a:lnTo>
                  <a:lnTo>
                    <a:pt x="2556" y="282"/>
                  </a:lnTo>
                  <a:lnTo>
                    <a:pt x="2538" y="289"/>
                  </a:lnTo>
                  <a:lnTo>
                    <a:pt x="2520" y="303"/>
                  </a:lnTo>
                  <a:lnTo>
                    <a:pt x="2520" y="289"/>
                  </a:lnTo>
                  <a:lnTo>
                    <a:pt x="2520" y="274"/>
                  </a:lnTo>
                  <a:lnTo>
                    <a:pt x="2516" y="264"/>
                  </a:lnTo>
                  <a:lnTo>
                    <a:pt x="2509" y="253"/>
                  </a:lnTo>
                  <a:lnTo>
                    <a:pt x="2506" y="249"/>
                  </a:lnTo>
                  <a:lnTo>
                    <a:pt x="2502" y="249"/>
                  </a:lnTo>
                  <a:lnTo>
                    <a:pt x="2495" y="249"/>
                  </a:lnTo>
                  <a:lnTo>
                    <a:pt x="2488" y="253"/>
                  </a:lnTo>
                  <a:lnTo>
                    <a:pt x="2467" y="271"/>
                  </a:lnTo>
                  <a:lnTo>
                    <a:pt x="2456" y="278"/>
                  </a:lnTo>
                  <a:lnTo>
                    <a:pt x="2442" y="282"/>
                  </a:lnTo>
                  <a:lnTo>
                    <a:pt x="2424" y="285"/>
                  </a:lnTo>
                  <a:lnTo>
                    <a:pt x="2406" y="285"/>
                  </a:lnTo>
                  <a:lnTo>
                    <a:pt x="2392" y="278"/>
                  </a:lnTo>
                  <a:lnTo>
                    <a:pt x="2385" y="274"/>
                  </a:lnTo>
                  <a:lnTo>
                    <a:pt x="2377" y="267"/>
                  </a:lnTo>
                  <a:lnTo>
                    <a:pt x="2370" y="257"/>
                  </a:lnTo>
                  <a:lnTo>
                    <a:pt x="2367" y="242"/>
                  </a:lnTo>
                  <a:lnTo>
                    <a:pt x="2352" y="196"/>
                  </a:lnTo>
                  <a:lnTo>
                    <a:pt x="2342" y="175"/>
                  </a:lnTo>
                  <a:lnTo>
                    <a:pt x="2335" y="167"/>
                  </a:lnTo>
                  <a:lnTo>
                    <a:pt x="2342" y="153"/>
                  </a:lnTo>
                  <a:lnTo>
                    <a:pt x="2352" y="143"/>
                  </a:lnTo>
                  <a:lnTo>
                    <a:pt x="2356" y="128"/>
                  </a:lnTo>
                  <a:lnTo>
                    <a:pt x="2356" y="114"/>
                  </a:lnTo>
                  <a:lnTo>
                    <a:pt x="2352" y="107"/>
                  </a:lnTo>
                  <a:lnTo>
                    <a:pt x="2345" y="100"/>
                  </a:lnTo>
                  <a:lnTo>
                    <a:pt x="2335" y="93"/>
                  </a:lnTo>
                  <a:lnTo>
                    <a:pt x="2324" y="86"/>
                  </a:lnTo>
                  <a:lnTo>
                    <a:pt x="2285" y="78"/>
                  </a:lnTo>
                  <a:lnTo>
                    <a:pt x="2270" y="32"/>
                  </a:lnTo>
                  <a:lnTo>
                    <a:pt x="2238" y="0"/>
                  </a:lnTo>
                  <a:lnTo>
                    <a:pt x="2238" y="4"/>
                  </a:lnTo>
                  <a:lnTo>
                    <a:pt x="2238" y="14"/>
                  </a:lnTo>
                  <a:lnTo>
                    <a:pt x="2231" y="28"/>
                  </a:lnTo>
                  <a:lnTo>
                    <a:pt x="2213" y="46"/>
                  </a:lnTo>
                  <a:lnTo>
                    <a:pt x="2185" y="61"/>
                  </a:lnTo>
                  <a:lnTo>
                    <a:pt x="2160" y="78"/>
                  </a:lnTo>
                  <a:lnTo>
                    <a:pt x="2153" y="89"/>
                  </a:lnTo>
                  <a:lnTo>
                    <a:pt x="2142" y="100"/>
                  </a:lnTo>
                  <a:lnTo>
                    <a:pt x="2139" y="118"/>
                  </a:lnTo>
                  <a:lnTo>
                    <a:pt x="2139" y="135"/>
                  </a:lnTo>
                  <a:lnTo>
                    <a:pt x="2128" y="132"/>
                  </a:lnTo>
                  <a:lnTo>
                    <a:pt x="2117" y="132"/>
                  </a:lnTo>
                  <a:lnTo>
                    <a:pt x="2103" y="132"/>
                  </a:lnTo>
                  <a:lnTo>
                    <a:pt x="2092" y="139"/>
                  </a:lnTo>
                  <a:lnTo>
                    <a:pt x="2078" y="153"/>
                  </a:lnTo>
                  <a:lnTo>
                    <a:pt x="2071" y="178"/>
                  </a:lnTo>
                  <a:lnTo>
                    <a:pt x="2067" y="214"/>
                  </a:lnTo>
                  <a:lnTo>
                    <a:pt x="2053" y="217"/>
                  </a:lnTo>
                  <a:lnTo>
                    <a:pt x="1950" y="196"/>
                  </a:lnTo>
                  <a:lnTo>
                    <a:pt x="1950" y="217"/>
                  </a:lnTo>
                  <a:lnTo>
                    <a:pt x="2010" y="307"/>
                  </a:lnTo>
                  <a:lnTo>
                    <a:pt x="2010" y="321"/>
                  </a:lnTo>
                  <a:lnTo>
                    <a:pt x="2014" y="335"/>
                  </a:lnTo>
                  <a:lnTo>
                    <a:pt x="2017" y="349"/>
                  </a:lnTo>
                  <a:lnTo>
                    <a:pt x="2028" y="367"/>
                  </a:lnTo>
                  <a:lnTo>
                    <a:pt x="2042" y="381"/>
                  </a:lnTo>
                  <a:lnTo>
                    <a:pt x="2060" y="392"/>
                  </a:lnTo>
                  <a:lnTo>
                    <a:pt x="2085" y="399"/>
                  </a:lnTo>
                  <a:lnTo>
                    <a:pt x="2089" y="413"/>
                  </a:lnTo>
                  <a:lnTo>
                    <a:pt x="2089" y="442"/>
                  </a:lnTo>
                  <a:lnTo>
                    <a:pt x="2085" y="456"/>
                  </a:lnTo>
                  <a:lnTo>
                    <a:pt x="2078" y="470"/>
                  </a:lnTo>
                  <a:lnTo>
                    <a:pt x="2067" y="481"/>
                  </a:lnTo>
                  <a:lnTo>
                    <a:pt x="2049" y="485"/>
                  </a:lnTo>
                  <a:lnTo>
                    <a:pt x="2039" y="488"/>
                  </a:lnTo>
                  <a:lnTo>
                    <a:pt x="2032" y="492"/>
                  </a:lnTo>
                  <a:lnTo>
                    <a:pt x="2021" y="503"/>
                  </a:lnTo>
                  <a:lnTo>
                    <a:pt x="2010" y="520"/>
                  </a:lnTo>
                  <a:lnTo>
                    <a:pt x="2007" y="538"/>
                  </a:lnTo>
                  <a:lnTo>
                    <a:pt x="2000" y="570"/>
                  </a:lnTo>
                  <a:lnTo>
                    <a:pt x="2000" y="585"/>
                  </a:lnTo>
                  <a:lnTo>
                    <a:pt x="1960" y="552"/>
                  </a:lnTo>
                  <a:lnTo>
                    <a:pt x="1950" y="563"/>
                  </a:lnTo>
                  <a:lnTo>
                    <a:pt x="1946" y="592"/>
                  </a:lnTo>
                  <a:lnTo>
                    <a:pt x="1914" y="606"/>
                  </a:lnTo>
                  <a:lnTo>
                    <a:pt x="1889" y="624"/>
                  </a:lnTo>
                  <a:lnTo>
                    <a:pt x="1882" y="631"/>
                  </a:lnTo>
                  <a:lnTo>
                    <a:pt x="1878" y="642"/>
                  </a:lnTo>
                  <a:lnTo>
                    <a:pt x="1861" y="645"/>
                  </a:lnTo>
                  <a:lnTo>
                    <a:pt x="1846" y="631"/>
                  </a:lnTo>
                  <a:lnTo>
                    <a:pt x="1846" y="610"/>
                  </a:lnTo>
                  <a:lnTo>
                    <a:pt x="1846" y="595"/>
                  </a:lnTo>
                  <a:lnTo>
                    <a:pt x="1839" y="592"/>
                  </a:lnTo>
                  <a:lnTo>
                    <a:pt x="1825" y="574"/>
                  </a:lnTo>
                  <a:lnTo>
                    <a:pt x="1836" y="560"/>
                  </a:lnTo>
                  <a:lnTo>
                    <a:pt x="1846" y="542"/>
                  </a:lnTo>
                  <a:lnTo>
                    <a:pt x="1857" y="520"/>
                  </a:lnTo>
                  <a:lnTo>
                    <a:pt x="1864" y="499"/>
                  </a:lnTo>
                  <a:lnTo>
                    <a:pt x="1864" y="470"/>
                  </a:lnTo>
                  <a:lnTo>
                    <a:pt x="1864" y="456"/>
                  </a:lnTo>
                  <a:lnTo>
                    <a:pt x="1857" y="442"/>
                  </a:lnTo>
                  <a:lnTo>
                    <a:pt x="1846" y="424"/>
                  </a:lnTo>
                  <a:lnTo>
                    <a:pt x="1836" y="410"/>
                  </a:lnTo>
                  <a:lnTo>
                    <a:pt x="1821" y="417"/>
                  </a:lnTo>
                  <a:lnTo>
                    <a:pt x="1807" y="492"/>
                  </a:lnTo>
                  <a:lnTo>
                    <a:pt x="1796" y="503"/>
                  </a:lnTo>
                  <a:lnTo>
                    <a:pt x="1771" y="520"/>
                  </a:lnTo>
                  <a:lnTo>
                    <a:pt x="1764" y="535"/>
                  </a:lnTo>
                  <a:lnTo>
                    <a:pt x="1764" y="545"/>
                  </a:lnTo>
                  <a:lnTo>
                    <a:pt x="1768" y="549"/>
                  </a:lnTo>
                  <a:lnTo>
                    <a:pt x="1771" y="552"/>
                  </a:lnTo>
                  <a:lnTo>
                    <a:pt x="1793" y="556"/>
                  </a:lnTo>
                  <a:lnTo>
                    <a:pt x="1796" y="560"/>
                  </a:lnTo>
                  <a:lnTo>
                    <a:pt x="1807" y="563"/>
                  </a:lnTo>
                  <a:lnTo>
                    <a:pt x="1807" y="570"/>
                  </a:lnTo>
                  <a:lnTo>
                    <a:pt x="1803" y="574"/>
                  </a:lnTo>
                  <a:lnTo>
                    <a:pt x="1800" y="581"/>
                  </a:lnTo>
                  <a:lnTo>
                    <a:pt x="1789" y="588"/>
                  </a:lnTo>
                  <a:lnTo>
                    <a:pt x="1771" y="613"/>
                  </a:lnTo>
                  <a:lnTo>
                    <a:pt x="1764" y="627"/>
                  </a:lnTo>
                  <a:lnTo>
                    <a:pt x="1761" y="638"/>
                  </a:lnTo>
                  <a:lnTo>
                    <a:pt x="1761" y="642"/>
                  </a:lnTo>
                  <a:lnTo>
                    <a:pt x="1750" y="642"/>
                  </a:lnTo>
                  <a:lnTo>
                    <a:pt x="1721" y="617"/>
                  </a:lnTo>
                  <a:lnTo>
                    <a:pt x="1714" y="606"/>
                  </a:lnTo>
                  <a:lnTo>
                    <a:pt x="1707" y="599"/>
                  </a:lnTo>
                  <a:lnTo>
                    <a:pt x="1697" y="592"/>
                  </a:lnTo>
                  <a:lnTo>
                    <a:pt x="1686" y="592"/>
                  </a:lnTo>
                  <a:lnTo>
                    <a:pt x="1682" y="592"/>
                  </a:lnTo>
                  <a:lnTo>
                    <a:pt x="1675" y="599"/>
                  </a:lnTo>
                  <a:lnTo>
                    <a:pt x="1668" y="613"/>
                  </a:lnTo>
                  <a:lnTo>
                    <a:pt x="1661" y="645"/>
                  </a:lnTo>
                  <a:lnTo>
                    <a:pt x="1615" y="585"/>
                  </a:lnTo>
                  <a:lnTo>
                    <a:pt x="1607" y="585"/>
                  </a:lnTo>
                  <a:lnTo>
                    <a:pt x="1590" y="585"/>
                  </a:lnTo>
                  <a:lnTo>
                    <a:pt x="1579" y="588"/>
                  </a:lnTo>
                  <a:lnTo>
                    <a:pt x="1568" y="592"/>
                  </a:lnTo>
                  <a:lnTo>
                    <a:pt x="1561" y="602"/>
                  </a:lnTo>
                  <a:lnTo>
                    <a:pt x="1561" y="617"/>
                  </a:lnTo>
                  <a:lnTo>
                    <a:pt x="1565" y="638"/>
                  </a:lnTo>
                  <a:lnTo>
                    <a:pt x="1575" y="677"/>
                  </a:lnTo>
                  <a:lnTo>
                    <a:pt x="1582" y="684"/>
                  </a:lnTo>
                  <a:lnTo>
                    <a:pt x="1590" y="692"/>
                  </a:lnTo>
                  <a:lnTo>
                    <a:pt x="1597" y="699"/>
                  </a:lnTo>
                  <a:lnTo>
                    <a:pt x="1597" y="709"/>
                  </a:lnTo>
                  <a:lnTo>
                    <a:pt x="1593" y="720"/>
                  </a:lnTo>
                  <a:lnTo>
                    <a:pt x="1575" y="727"/>
                  </a:lnTo>
                  <a:lnTo>
                    <a:pt x="1547" y="734"/>
                  </a:lnTo>
                  <a:lnTo>
                    <a:pt x="1550" y="756"/>
                  </a:lnTo>
                  <a:lnTo>
                    <a:pt x="1561" y="766"/>
                  </a:lnTo>
                  <a:lnTo>
                    <a:pt x="1572" y="777"/>
                  </a:lnTo>
                  <a:lnTo>
                    <a:pt x="1582" y="791"/>
                  </a:lnTo>
                  <a:lnTo>
                    <a:pt x="1586" y="806"/>
                  </a:lnTo>
                  <a:lnTo>
                    <a:pt x="1586" y="827"/>
                  </a:lnTo>
                  <a:lnTo>
                    <a:pt x="1582" y="838"/>
                  </a:lnTo>
                  <a:lnTo>
                    <a:pt x="1579" y="848"/>
                  </a:lnTo>
                  <a:lnTo>
                    <a:pt x="1572" y="859"/>
                  </a:lnTo>
                  <a:lnTo>
                    <a:pt x="1561" y="870"/>
                  </a:lnTo>
                  <a:lnTo>
                    <a:pt x="1550" y="873"/>
                  </a:lnTo>
                  <a:lnTo>
                    <a:pt x="1533" y="880"/>
                  </a:lnTo>
                  <a:lnTo>
                    <a:pt x="1518" y="888"/>
                  </a:lnTo>
                  <a:lnTo>
                    <a:pt x="1511" y="898"/>
                  </a:lnTo>
                  <a:lnTo>
                    <a:pt x="1500" y="905"/>
                  </a:lnTo>
                  <a:lnTo>
                    <a:pt x="1497" y="920"/>
                  </a:lnTo>
                  <a:lnTo>
                    <a:pt x="1486" y="909"/>
                  </a:lnTo>
                  <a:lnTo>
                    <a:pt x="1451" y="891"/>
                  </a:lnTo>
                  <a:lnTo>
                    <a:pt x="1433" y="884"/>
                  </a:lnTo>
                  <a:lnTo>
                    <a:pt x="1411" y="877"/>
                  </a:lnTo>
                  <a:lnTo>
                    <a:pt x="1390" y="873"/>
                  </a:lnTo>
                  <a:lnTo>
                    <a:pt x="1376" y="877"/>
                  </a:lnTo>
                  <a:lnTo>
                    <a:pt x="1372" y="898"/>
                  </a:lnTo>
                  <a:lnTo>
                    <a:pt x="1372" y="916"/>
                  </a:lnTo>
                  <a:lnTo>
                    <a:pt x="1369" y="937"/>
                  </a:lnTo>
                  <a:lnTo>
                    <a:pt x="1361" y="952"/>
                  </a:lnTo>
                  <a:lnTo>
                    <a:pt x="1354" y="955"/>
                  </a:lnTo>
                  <a:lnTo>
                    <a:pt x="1351" y="955"/>
                  </a:lnTo>
                  <a:lnTo>
                    <a:pt x="1344" y="952"/>
                  </a:lnTo>
                  <a:lnTo>
                    <a:pt x="1333" y="945"/>
                  </a:lnTo>
                  <a:lnTo>
                    <a:pt x="1315" y="916"/>
                  </a:lnTo>
                  <a:lnTo>
                    <a:pt x="1297" y="895"/>
                  </a:lnTo>
                  <a:lnTo>
                    <a:pt x="1279" y="880"/>
                  </a:lnTo>
                  <a:lnTo>
                    <a:pt x="1272" y="873"/>
                  </a:lnTo>
                  <a:lnTo>
                    <a:pt x="1262" y="870"/>
                  </a:lnTo>
                  <a:lnTo>
                    <a:pt x="1258" y="852"/>
                  </a:lnTo>
                  <a:lnTo>
                    <a:pt x="1226" y="848"/>
                  </a:lnTo>
                  <a:lnTo>
                    <a:pt x="1205" y="848"/>
                  </a:lnTo>
                  <a:lnTo>
                    <a:pt x="1197" y="852"/>
                  </a:lnTo>
                  <a:lnTo>
                    <a:pt x="1190" y="855"/>
                  </a:lnTo>
                  <a:lnTo>
                    <a:pt x="1187" y="888"/>
                  </a:lnTo>
                  <a:lnTo>
                    <a:pt x="1183" y="909"/>
                  </a:lnTo>
                  <a:lnTo>
                    <a:pt x="1133" y="895"/>
                  </a:lnTo>
                  <a:lnTo>
                    <a:pt x="1140" y="888"/>
                  </a:lnTo>
                  <a:lnTo>
                    <a:pt x="1144" y="877"/>
                  </a:lnTo>
                  <a:lnTo>
                    <a:pt x="1151" y="863"/>
                  </a:lnTo>
                  <a:lnTo>
                    <a:pt x="1151" y="845"/>
                  </a:lnTo>
                  <a:lnTo>
                    <a:pt x="1151" y="827"/>
                  </a:lnTo>
                  <a:lnTo>
                    <a:pt x="1144" y="809"/>
                  </a:lnTo>
                  <a:lnTo>
                    <a:pt x="1126" y="791"/>
                  </a:lnTo>
                  <a:lnTo>
                    <a:pt x="1080" y="745"/>
                  </a:lnTo>
                  <a:lnTo>
                    <a:pt x="1069" y="734"/>
                  </a:lnTo>
                  <a:lnTo>
                    <a:pt x="1055" y="713"/>
                  </a:lnTo>
                  <a:lnTo>
                    <a:pt x="1030" y="713"/>
                  </a:lnTo>
                  <a:lnTo>
                    <a:pt x="1016" y="781"/>
                  </a:lnTo>
                  <a:lnTo>
                    <a:pt x="1016" y="791"/>
                  </a:lnTo>
                  <a:lnTo>
                    <a:pt x="1012" y="820"/>
                  </a:lnTo>
                  <a:lnTo>
                    <a:pt x="1009" y="834"/>
                  </a:lnTo>
                  <a:lnTo>
                    <a:pt x="1001" y="845"/>
                  </a:lnTo>
                  <a:lnTo>
                    <a:pt x="994" y="852"/>
                  </a:lnTo>
                  <a:lnTo>
                    <a:pt x="987" y="852"/>
                  </a:lnTo>
                  <a:lnTo>
                    <a:pt x="948" y="845"/>
                  </a:lnTo>
                  <a:lnTo>
                    <a:pt x="916" y="834"/>
                  </a:lnTo>
                  <a:lnTo>
                    <a:pt x="884" y="823"/>
                  </a:lnTo>
                  <a:lnTo>
                    <a:pt x="852" y="809"/>
                  </a:lnTo>
                  <a:lnTo>
                    <a:pt x="820" y="791"/>
                  </a:lnTo>
                  <a:lnTo>
                    <a:pt x="795" y="766"/>
                  </a:lnTo>
                  <a:lnTo>
                    <a:pt x="784" y="752"/>
                  </a:lnTo>
                  <a:lnTo>
                    <a:pt x="777" y="738"/>
                  </a:lnTo>
                  <a:lnTo>
                    <a:pt x="741" y="720"/>
                  </a:lnTo>
                  <a:lnTo>
                    <a:pt x="709" y="706"/>
                  </a:lnTo>
                  <a:lnTo>
                    <a:pt x="684" y="699"/>
                  </a:lnTo>
                  <a:lnTo>
                    <a:pt x="673" y="692"/>
                  </a:lnTo>
                  <a:lnTo>
                    <a:pt x="648" y="667"/>
                  </a:lnTo>
                  <a:lnTo>
                    <a:pt x="631" y="649"/>
                  </a:lnTo>
                  <a:lnTo>
                    <a:pt x="613" y="627"/>
                  </a:lnTo>
                  <a:lnTo>
                    <a:pt x="595" y="599"/>
                  </a:lnTo>
                  <a:lnTo>
                    <a:pt x="581" y="570"/>
                  </a:lnTo>
                  <a:lnTo>
                    <a:pt x="538" y="478"/>
                  </a:lnTo>
                  <a:lnTo>
                    <a:pt x="542" y="467"/>
                  </a:lnTo>
                  <a:lnTo>
                    <a:pt x="542" y="449"/>
                  </a:lnTo>
                  <a:lnTo>
                    <a:pt x="542" y="435"/>
                  </a:lnTo>
                  <a:lnTo>
                    <a:pt x="534" y="417"/>
                  </a:lnTo>
                  <a:lnTo>
                    <a:pt x="524" y="399"/>
                  </a:lnTo>
                  <a:lnTo>
                    <a:pt x="506" y="385"/>
                  </a:lnTo>
                  <a:lnTo>
                    <a:pt x="495" y="378"/>
                  </a:lnTo>
                  <a:lnTo>
                    <a:pt x="481" y="374"/>
                  </a:lnTo>
                  <a:lnTo>
                    <a:pt x="477" y="374"/>
                  </a:lnTo>
                  <a:lnTo>
                    <a:pt x="463" y="367"/>
                  </a:lnTo>
                  <a:lnTo>
                    <a:pt x="460" y="360"/>
                  </a:lnTo>
                  <a:lnTo>
                    <a:pt x="452" y="349"/>
                  </a:lnTo>
                  <a:lnTo>
                    <a:pt x="449" y="339"/>
                  </a:lnTo>
                  <a:lnTo>
                    <a:pt x="449" y="324"/>
                  </a:lnTo>
                  <a:lnTo>
                    <a:pt x="452" y="285"/>
                  </a:lnTo>
                  <a:lnTo>
                    <a:pt x="449" y="264"/>
                  </a:lnTo>
                  <a:lnTo>
                    <a:pt x="445" y="242"/>
                  </a:lnTo>
                  <a:lnTo>
                    <a:pt x="438" y="225"/>
                  </a:lnTo>
                  <a:lnTo>
                    <a:pt x="427" y="210"/>
                  </a:lnTo>
                  <a:lnTo>
                    <a:pt x="420" y="207"/>
                  </a:lnTo>
                  <a:lnTo>
                    <a:pt x="410" y="203"/>
                  </a:lnTo>
                  <a:lnTo>
                    <a:pt x="399" y="203"/>
                  </a:lnTo>
                  <a:lnTo>
                    <a:pt x="388" y="203"/>
                  </a:lnTo>
                  <a:lnTo>
                    <a:pt x="363" y="207"/>
                  </a:lnTo>
                  <a:lnTo>
                    <a:pt x="338" y="207"/>
                  </a:lnTo>
                  <a:lnTo>
                    <a:pt x="317" y="203"/>
                  </a:lnTo>
                  <a:lnTo>
                    <a:pt x="296" y="200"/>
                  </a:lnTo>
                  <a:lnTo>
                    <a:pt x="267" y="189"/>
                  </a:lnTo>
                  <a:lnTo>
                    <a:pt x="256" y="185"/>
                  </a:lnTo>
                  <a:lnTo>
                    <a:pt x="249" y="175"/>
                  </a:lnTo>
                  <a:lnTo>
                    <a:pt x="235" y="157"/>
                  </a:lnTo>
                  <a:lnTo>
                    <a:pt x="224" y="150"/>
                  </a:lnTo>
                  <a:lnTo>
                    <a:pt x="214" y="146"/>
                  </a:lnTo>
                  <a:lnTo>
                    <a:pt x="199" y="150"/>
                  </a:lnTo>
                  <a:lnTo>
                    <a:pt x="185" y="164"/>
                  </a:lnTo>
                  <a:lnTo>
                    <a:pt x="164" y="192"/>
                  </a:lnTo>
                  <a:lnTo>
                    <a:pt x="149" y="203"/>
                  </a:lnTo>
                  <a:lnTo>
                    <a:pt x="139" y="210"/>
                  </a:lnTo>
                  <a:lnTo>
                    <a:pt x="149" y="239"/>
                  </a:lnTo>
                  <a:lnTo>
                    <a:pt x="139" y="253"/>
                  </a:lnTo>
                  <a:lnTo>
                    <a:pt x="142" y="296"/>
                  </a:lnTo>
                  <a:lnTo>
                    <a:pt x="57" y="317"/>
                  </a:lnTo>
                  <a:lnTo>
                    <a:pt x="50" y="321"/>
                  </a:lnTo>
                  <a:lnTo>
                    <a:pt x="35" y="331"/>
                  </a:lnTo>
                  <a:lnTo>
                    <a:pt x="28" y="342"/>
                  </a:lnTo>
                  <a:lnTo>
                    <a:pt x="25" y="353"/>
                  </a:lnTo>
                  <a:lnTo>
                    <a:pt x="25" y="371"/>
                  </a:lnTo>
                  <a:lnTo>
                    <a:pt x="32" y="389"/>
                  </a:lnTo>
                  <a:lnTo>
                    <a:pt x="39" y="410"/>
                  </a:lnTo>
                  <a:lnTo>
                    <a:pt x="42" y="424"/>
                  </a:lnTo>
                  <a:lnTo>
                    <a:pt x="42" y="449"/>
                  </a:lnTo>
                  <a:lnTo>
                    <a:pt x="39" y="467"/>
                  </a:lnTo>
                  <a:lnTo>
                    <a:pt x="35" y="470"/>
                  </a:lnTo>
                  <a:lnTo>
                    <a:pt x="78" y="478"/>
                  </a:lnTo>
                  <a:lnTo>
                    <a:pt x="92" y="528"/>
                  </a:lnTo>
                  <a:lnTo>
                    <a:pt x="157" y="552"/>
                  </a:lnTo>
                  <a:lnTo>
                    <a:pt x="160" y="556"/>
                  </a:lnTo>
                  <a:lnTo>
                    <a:pt x="157" y="563"/>
                  </a:lnTo>
                  <a:lnTo>
                    <a:pt x="157" y="570"/>
                  </a:lnTo>
                  <a:lnTo>
                    <a:pt x="149" y="574"/>
                  </a:lnTo>
                  <a:lnTo>
                    <a:pt x="142" y="581"/>
                  </a:lnTo>
                  <a:lnTo>
                    <a:pt x="128" y="585"/>
                  </a:lnTo>
                  <a:lnTo>
                    <a:pt x="114" y="610"/>
                  </a:lnTo>
                  <a:lnTo>
                    <a:pt x="114" y="620"/>
                  </a:lnTo>
                  <a:lnTo>
                    <a:pt x="103" y="642"/>
                  </a:lnTo>
                  <a:lnTo>
                    <a:pt x="96" y="656"/>
                  </a:lnTo>
                  <a:lnTo>
                    <a:pt x="85" y="667"/>
                  </a:lnTo>
                  <a:lnTo>
                    <a:pt x="71" y="681"/>
                  </a:lnTo>
                  <a:lnTo>
                    <a:pt x="53" y="688"/>
                  </a:lnTo>
                  <a:lnTo>
                    <a:pt x="99" y="720"/>
                  </a:lnTo>
                  <a:lnTo>
                    <a:pt x="99" y="724"/>
                  </a:lnTo>
                  <a:lnTo>
                    <a:pt x="96" y="734"/>
                  </a:lnTo>
                  <a:lnTo>
                    <a:pt x="85" y="749"/>
                  </a:lnTo>
                  <a:lnTo>
                    <a:pt x="60" y="770"/>
                  </a:lnTo>
                  <a:lnTo>
                    <a:pt x="17" y="798"/>
                  </a:lnTo>
                  <a:lnTo>
                    <a:pt x="7" y="806"/>
                  </a:lnTo>
                  <a:lnTo>
                    <a:pt x="3" y="813"/>
                  </a:lnTo>
                  <a:lnTo>
                    <a:pt x="0" y="823"/>
                  </a:lnTo>
                  <a:lnTo>
                    <a:pt x="0" y="838"/>
                  </a:lnTo>
                  <a:lnTo>
                    <a:pt x="3" y="855"/>
                  </a:lnTo>
                  <a:lnTo>
                    <a:pt x="14" y="877"/>
                  </a:lnTo>
                  <a:lnTo>
                    <a:pt x="35" y="902"/>
                  </a:lnTo>
                  <a:lnTo>
                    <a:pt x="67" y="927"/>
                  </a:lnTo>
                  <a:lnTo>
                    <a:pt x="135" y="977"/>
                  </a:lnTo>
                  <a:lnTo>
                    <a:pt x="185" y="1009"/>
                  </a:lnTo>
                  <a:lnTo>
                    <a:pt x="224" y="1027"/>
                  </a:lnTo>
                  <a:lnTo>
                    <a:pt x="260" y="1034"/>
                  </a:lnTo>
                  <a:lnTo>
                    <a:pt x="292" y="1044"/>
                  </a:lnTo>
                  <a:lnTo>
                    <a:pt x="306" y="1052"/>
                  </a:lnTo>
                  <a:lnTo>
                    <a:pt x="320" y="1059"/>
                  </a:lnTo>
                  <a:lnTo>
                    <a:pt x="335" y="1073"/>
                  </a:lnTo>
                  <a:lnTo>
                    <a:pt x="345" y="1087"/>
                  </a:lnTo>
                  <a:lnTo>
                    <a:pt x="353" y="1109"/>
                  </a:lnTo>
                  <a:lnTo>
                    <a:pt x="360" y="1134"/>
                  </a:lnTo>
                  <a:lnTo>
                    <a:pt x="367" y="1148"/>
                  </a:lnTo>
                  <a:lnTo>
                    <a:pt x="381" y="1176"/>
                  </a:lnTo>
                  <a:lnTo>
                    <a:pt x="402" y="1208"/>
                  </a:lnTo>
                  <a:lnTo>
                    <a:pt x="417" y="1219"/>
                  </a:lnTo>
                  <a:lnTo>
                    <a:pt x="431" y="1230"/>
                  </a:lnTo>
                  <a:lnTo>
                    <a:pt x="438" y="1237"/>
                  </a:lnTo>
                  <a:lnTo>
                    <a:pt x="445" y="1255"/>
                  </a:lnTo>
                  <a:lnTo>
                    <a:pt x="449" y="1269"/>
                  </a:lnTo>
                  <a:lnTo>
                    <a:pt x="449" y="1280"/>
                  </a:lnTo>
                  <a:lnTo>
                    <a:pt x="445" y="1294"/>
                  </a:lnTo>
                  <a:lnTo>
                    <a:pt x="438" y="1308"/>
                  </a:lnTo>
                  <a:lnTo>
                    <a:pt x="481" y="1369"/>
                  </a:lnTo>
                  <a:lnTo>
                    <a:pt x="517" y="1415"/>
                  </a:lnTo>
                  <a:lnTo>
                    <a:pt x="591" y="1490"/>
                  </a:lnTo>
                  <a:lnTo>
                    <a:pt x="652" y="1536"/>
                  </a:lnTo>
                  <a:lnTo>
                    <a:pt x="652" y="1543"/>
                  </a:lnTo>
                  <a:lnTo>
                    <a:pt x="652" y="1561"/>
                  </a:lnTo>
                  <a:lnTo>
                    <a:pt x="645" y="1576"/>
                  </a:lnTo>
                  <a:lnTo>
                    <a:pt x="638" y="1586"/>
                  </a:lnTo>
                  <a:lnTo>
                    <a:pt x="624" y="1597"/>
                  </a:lnTo>
                  <a:lnTo>
                    <a:pt x="606" y="1608"/>
                  </a:lnTo>
                  <a:lnTo>
                    <a:pt x="570" y="1583"/>
                  </a:lnTo>
                  <a:lnTo>
                    <a:pt x="563" y="1583"/>
                  </a:lnTo>
                  <a:lnTo>
                    <a:pt x="559" y="1583"/>
                  </a:lnTo>
                  <a:lnTo>
                    <a:pt x="552" y="1586"/>
                  </a:lnTo>
                  <a:lnTo>
                    <a:pt x="545" y="1593"/>
                  </a:lnTo>
                  <a:lnTo>
                    <a:pt x="542" y="1604"/>
                  </a:lnTo>
                  <a:lnTo>
                    <a:pt x="538" y="1618"/>
                  </a:lnTo>
                  <a:lnTo>
                    <a:pt x="542" y="1640"/>
                  </a:lnTo>
                  <a:lnTo>
                    <a:pt x="588" y="1675"/>
                  </a:lnTo>
                  <a:lnTo>
                    <a:pt x="595" y="1722"/>
                  </a:lnTo>
                  <a:lnTo>
                    <a:pt x="602" y="1725"/>
                  </a:lnTo>
                  <a:lnTo>
                    <a:pt x="620" y="1736"/>
                  </a:lnTo>
                  <a:lnTo>
                    <a:pt x="627" y="1747"/>
                  </a:lnTo>
                  <a:lnTo>
                    <a:pt x="631" y="1757"/>
                  </a:lnTo>
                  <a:lnTo>
                    <a:pt x="634" y="1768"/>
                  </a:lnTo>
                  <a:lnTo>
                    <a:pt x="627" y="1782"/>
                  </a:lnTo>
                  <a:lnTo>
                    <a:pt x="641" y="1807"/>
                  </a:lnTo>
                  <a:lnTo>
                    <a:pt x="688" y="1846"/>
                  </a:lnTo>
                  <a:lnTo>
                    <a:pt x="691" y="1850"/>
                  </a:lnTo>
                  <a:lnTo>
                    <a:pt x="691" y="1861"/>
                  </a:lnTo>
                  <a:lnTo>
                    <a:pt x="691" y="1882"/>
                  </a:lnTo>
                  <a:lnTo>
                    <a:pt x="688" y="1896"/>
                  </a:lnTo>
                  <a:lnTo>
                    <a:pt x="681" y="1911"/>
                  </a:lnTo>
                  <a:lnTo>
                    <a:pt x="695" y="1953"/>
                  </a:lnTo>
                  <a:lnTo>
                    <a:pt x="705" y="2043"/>
                  </a:lnTo>
                  <a:lnTo>
                    <a:pt x="720" y="2128"/>
                  </a:lnTo>
                  <a:lnTo>
                    <a:pt x="755" y="2253"/>
                  </a:lnTo>
                  <a:lnTo>
                    <a:pt x="755" y="2260"/>
                  </a:lnTo>
                  <a:lnTo>
                    <a:pt x="755" y="2281"/>
                  </a:lnTo>
                  <a:lnTo>
                    <a:pt x="748" y="2321"/>
                  </a:lnTo>
                  <a:lnTo>
                    <a:pt x="741" y="2342"/>
                  </a:lnTo>
                  <a:lnTo>
                    <a:pt x="730" y="2371"/>
                  </a:lnTo>
                  <a:lnTo>
                    <a:pt x="741" y="2456"/>
                  </a:lnTo>
                  <a:lnTo>
                    <a:pt x="763" y="2570"/>
                  </a:lnTo>
                  <a:lnTo>
                    <a:pt x="770" y="2581"/>
                  </a:lnTo>
                  <a:lnTo>
                    <a:pt x="780" y="2592"/>
                  </a:lnTo>
                  <a:lnTo>
                    <a:pt x="787" y="2609"/>
                  </a:lnTo>
                  <a:lnTo>
                    <a:pt x="795" y="2631"/>
                  </a:lnTo>
                  <a:lnTo>
                    <a:pt x="798" y="2656"/>
                  </a:lnTo>
                  <a:lnTo>
                    <a:pt x="798" y="2688"/>
                  </a:lnTo>
                  <a:lnTo>
                    <a:pt x="791" y="2723"/>
                  </a:lnTo>
                  <a:lnTo>
                    <a:pt x="791" y="2748"/>
                  </a:lnTo>
                  <a:lnTo>
                    <a:pt x="791" y="2805"/>
                  </a:lnTo>
                  <a:lnTo>
                    <a:pt x="795" y="2845"/>
                  </a:lnTo>
                  <a:lnTo>
                    <a:pt x="802" y="2880"/>
                  </a:lnTo>
                  <a:lnTo>
                    <a:pt x="812" y="2916"/>
                  </a:lnTo>
                  <a:lnTo>
                    <a:pt x="827" y="2944"/>
                  </a:lnTo>
                  <a:lnTo>
                    <a:pt x="823" y="3044"/>
                  </a:lnTo>
                  <a:lnTo>
                    <a:pt x="862" y="3069"/>
                  </a:lnTo>
                  <a:lnTo>
                    <a:pt x="891" y="3126"/>
                  </a:lnTo>
                  <a:lnTo>
                    <a:pt x="916" y="3133"/>
                  </a:lnTo>
                  <a:lnTo>
                    <a:pt x="927" y="3112"/>
                  </a:lnTo>
                  <a:lnTo>
                    <a:pt x="927" y="3037"/>
                  </a:lnTo>
                  <a:lnTo>
                    <a:pt x="937" y="3030"/>
                  </a:lnTo>
                  <a:lnTo>
                    <a:pt x="944" y="3026"/>
                  </a:lnTo>
                  <a:lnTo>
                    <a:pt x="948" y="3019"/>
                  </a:lnTo>
                  <a:lnTo>
                    <a:pt x="948" y="2991"/>
                  </a:lnTo>
                  <a:lnTo>
                    <a:pt x="934" y="2948"/>
                  </a:lnTo>
                  <a:lnTo>
                    <a:pt x="980" y="2912"/>
                  </a:lnTo>
                  <a:lnTo>
                    <a:pt x="994" y="2884"/>
                  </a:lnTo>
                  <a:lnTo>
                    <a:pt x="1012" y="2823"/>
                  </a:lnTo>
                  <a:lnTo>
                    <a:pt x="1062" y="2788"/>
                  </a:lnTo>
                  <a:lnTo>
                    <a:pt x="1066" y="2841"/>
                  </a:lnTo>
                  <a:lnTo>
                    <a:pt x="1087" y="2855"/>
                  </a:lnTo>
                  <a:lnTo>
                    <a:pt x="1108" y="2866"/>
                  </a:lnTo>
                  <a:lnTo>
                    <a:pt x="1130" y="2877"/>
                  </a:lnTo>
                  <a:lnTo>
                    <a:pt x="1126" y="2916"/>
                  </a:lnTo>
                  <a:lnTo>
                    <a:pt x="1133" y="2916"/>
                  </a:lnTo>
                  <a:lnTo>
                    <a:pt x="1140" y="2916"/>
                  </a:lnTo>
                  <a:lnTo>
                    <a:pt x="1151" y="2919"/>
                  </a:lnTo>
                  <a:lnTo>
                    <a:pt x="1162" y="2927"/>
                  </a:lnTo>
                  <a:lnTo>
                    <a:pt x="1172" y="2937"/>
                  </a:lnTo>
                  <a:lnTo>
                    <a:pt x="1180" y="2955"/>
                  </a:lnTo>
                  <a:lnTo>
                    <a:pt x="1183" y="2980"/>
                  </a:lnTo>
                  <a:lnTo>
                    <a:pt x="1187" y="2991"/>
                  </a:lnTo>
                  <a:lnTo>
                    <a:pt x="1201" y="3012"/>
                  </a:lnTo>
                  <a:lnTo>
                    <a:pt x="1208" y="3023"/>
                  </a:lnTo>
                  <a:lnTo>
                    <a:pt x="1219" y="3030"/>
                  </a:lnTo>
                  <a:lnTo>
                    <a:pt x="1230" y="3037"/>
                  </a:lnTo>
                  <a:lnTo>
                    <a:pt x="1244" y="3041"/>
                  </a:lnTo>
                  <a:lnTo>
                    <a:pt x="1247" y="3048"/>
                  </a:lnTo>
                  <a:lnTo>
                    <a:pt x="1254" y="3062"/>
                  </a:lnTo>
                  <a:lnTo>
                    <a:pt x="1254" y="3073"/>
                  </a:lnTo>
                  <a:lnTo>
                    <a:pt x="1251" y="3087"/>
                  </a:lnTo>
                  <a:lnTo>
                    <a:pt x="1247" y="3101"/>
                  </a:lnTo>
                  <a:lnTo>
                    <a:pt x="1233" y="3116"/>
                  </a:lnTo>
                  <a:lnTo>
                    <a:pt x="1212" y="3144"/>
                  </a:lnTo>
                  <a:lnTo>
                    <a:pt x="1205" y="3155"/>
                  </a:lnTo>
                  <a:lnTo>
                    <a:pt x="1205" y="3165"/>
                  </a:lnTo>
                  <a:lnTo>
                    <a:pt x="1208" y="3176"/>
                  </a:lnTo>
                  <a:lnTo>
                    <a:pt x="1215" y="3190"/>
                  </a:lnTo>
                  <a:lnTo>
                    <a:pt x="1247" y="3226"/>
                  </a:lnTo>
                  <a:lnTo>
                    <a:pt x="1279" y="3258"/>
                  </a:lnTo>
                  <a:lnTo>
                    <a:pt x="1301" y="3272"/>
                  </a:lnTo>
                  <a:lnTo>
                    <a:pt x="1312" y="3276"/>
                  </a:lnTo>
                  <a:lnTo>
                    <a:pt x="1312" y="3272"/>
                  </a:lnTo>
                  <a:lnTo>
                    <a:pt x="1322" y="3297"/>
                  </a:lnTo>
                  <a:lnTo>
                    <a:pt x="1326" y="3337"/>
                  </a:lnTo>
                  <a:lnTo>
                    <a:pt x="1326" y="3344"/>
                  </a:lnTo>
                  <a:lnTo>
                    <a:pt x="1329" y="3347"/>
                  </a:lnTo>
                  <a:lnTo>
                    <a:pt x="1336" y="3351"/>
                  </a:lnTo>
                  <a:lnTo>
                    <a:pt x="1344" y="3351"/>
                  </a:lnTo>
                  <a:lnTo>
                    <a:pt x="1351" y="3347"/>
                  </a:lnTo>
                  <a:lnTo>
                    <a:pt x="1361" y="3333"/>
                  </a:lnTo>
                  <a:lnTo>
                    <a:pt x="1379" y="3312"/>
                  </a:lnTo>
                  <a:lnTo>
                    <a:pt x="1394" y="3290"/>
                  </a:lnTo>
                  <a:lnTo>
                    <a:pt x="1404" y="3280"/>
                  </a:lnTo>
                  <a:lnTo>
                    <a:pt x="1411" y="3272"/>
                  </a:lnTo>
                  <a:lnTo>
                    <a:pt x="1418" y="3276"/>
                  </a:lnTo>
                  <a:lnTo>
                    <a:pt x="1426" y="3280"/>
                  </a:lnTo>
                  <a:lnTo>
                    <a:pt x="1429" y="3287"/>
                  </a:lnTo>
                  <a:lnTo>
                    <a:pt x="1440" y="3308"/>
                  </a:lnTo>
                  <a:lnTo>
                    <a:pt x="1500" y="3258"/>
                  </a:lnTo>
                  <a:lnTo>
                    <a:pt x="1518" y="3294"/>
                  </a:lnTo>
                  <a:lnTo>
                    <a:pt x="1536" y="3329"/>
                  </a:lnTo>
                  <a:lnTo>
                    <a:pt x="1536" y="3386"/>
                  </a:lnTo>
                  <a:lnTo>
                    <a:pt x="1565" y="3383"/>
                  </a:lnTo>
                  <a:lnTo>
                    <a:pt x="1590" y="3426"/>
                  </a:lnTo>
                  <a:lnTo>
                    <a:pt x="1590" y="3458"/>
                  </a:lnTo>
                  <a:lnTo>
                    <a:pt x="1622" y="3468"/>
                  </a:lnTo>
                  <a:lnTo>
                    <a:pt x="1632" y="3476"/>
                  </a:lnTo>
                  <a:lnTo>
                    <a:pt x="1647" y="3486"/>
                  </a:lnTo>
                  <a:lnTo>
                    <a:pt x="1657" y="3501"/>
                  </a:lnTo>
                  <a:lnTo>
                    <a:pt x="1668" y="3518"/>
                  </a:lnTo>
                  <a:lnTo>
                    <a:pt x="1675" y="3540"/>
                  </a:lnTo>
                  <a:lnTo>
                    <a:pt x="1679" y="3561"/>
                  </a:lnTo>
                  <a:lnTo>
                    <a:pt x="1675" y="3572"/>
                  </a:lnTo>
                  <a:lnTo>
                    <a:pt x="1672" y="3586"/>
                  </a:lnTo>
                  <a:lnTo>
                    <a:pt x="1682" y="3586"/>
                  </a:lnTo>
                  <a:lnTo>
                    <a:pt x="1693" y="3586"/>
                  </a:lnTo>
                  <a:lnTo>
                    <a:pt x="1707" y="3590"/>
                  </a:lnTo>
                  <a:lnTo>
                    <a:pt x="1718" y="3600"/>
                  </a:lnTo>
                  <a:lnTo>
                    <a:pt x="1725" y="3615"/>
                  </a:lnTo>
                  <a:lnTo>
                    <a:pt x="1729" y="3636"/>
                  </a:lnTo>
                  <a:lnTo>
                    <a:pt x="1725" y="3668"/>
                  </a:lnTo>
                  <a:lnTo>
                    <a:pt x="1779" y="3711"/>
                  </a:lnTo>
                  <a:lnTo>
                    <a:pt x="1782" y="3736"/>
                  </a:lnTo>
                  <a:lnTo>
                    <a:pt x="1846" y="3750"/>
                  </a:lnTo>
                  <a:lnTo>
                    <a:pt x="1843" y="3818"/>
                  </a:lnTo>
                  <a:lnTo>
                    <a:pt x="1853" y="3832"/>
                  </a:lnTo>
                  <a:lnTo>
                    <a:pt x="1893" y="3800"/>
                  </a:lnTo>
                  <a:lnTo>
                    <a:pt x="1896" y="3807"/>
                  </a:lnTo>
                  <a:lnTo>
                    <a:pt x="1900" y="3828"/>
                  </a:lnTo>
                  <a:lnTo>
                    <a:pt x="1900" y="3843"/>
                  </a:lnTo>
                  <a:lnTo>
                    <a:pt x="1896" y="3857"/>
                  </a:lnTo>
                  <a:lnTo>
                    <a:pt x="1889" y="3871"/>
                  </a:lnTo>
                  <a:lnTo>
                    <a:pt x="1878" y="3882"/>
                  </a:lnTo>
                  <a:lnTo>
                    <a:pt x="1857" y="3900"/>
                  </a:lnTo>
                  <a:lnTo>
                    <a:pt x="1850" y="3907"/>
                  </a:lnTo>
                  <a:lnTo>
                    <a:pt x="1846" y="3918"/>
                  </a:lnTo>
                  <a:lnTo>
                    <a:pt x="1846" y="3921"/>
                  </a:lnTo>
                  <a:lnTo>
                    <a:pt x="1853" y="3928"/>
                  </a:lnTo>
                  <a:lnTo>
                    <a:pt x="1861" y="3935"/>
                  </a:lnTo>
                  <a:lnTo>
                    <a:pt x="1878" y="3939"/>
                  </a:lnTo>
                  <a:lnTo>
                    <a:pt x="1893" y="3943"/>
                  </a:lnTo>
                  <a:lnTo>
                    <a:pt x="1910" y="3946"/>
                  </a:lnTo>
                  <a:lnTo>
                    <a:pt x="1925" y="3950"/>
                  </a:lnTo>
                  <a:lnTo>
                    <a:pt x="1943" y="3960"/>
                  </a:lnTo>
                  <a:lnTo>
                    <a:pt x="1957" y="3975"/>
                  </a:lnTo>
                  <a:lnTo>
                    <a:pt x="1960" y="3982"/>
                  </a:lnTo>
                  <a:lnTo>
                    <a:pt x="1964" y="3992"/>
                  </a:lnTo>
                  <a:lnTo>
                    <a:pt x="1967" y="4007"/>
                  </a:lnTo>
                  <a:lnTo>
                    <a:pt x="1964" y="4017"/>
                  </a:lnTo>
                  <a:lnTo>
                    <a:pt x="1953" y="4025"/>
                  </a:lnTo>
                  <a:lnTo>
                    <a:pt x="1943" y="4028"/>
                  </a:lnTo>
                  <a:lnTo>
                    <a:pt x="1935" y="4035"/>
                  </a:lnTo>
                  <a:lnTo>
                    <a:pt x="1935" y="4039"/>
                  </a:lnTo>
                  <a:lnTo>
                    <a:pt x="1935" y="4042"/>
                  </a:lnTo>
                  <a:lnTo>
                    <a:pt x="1946" y="4057"/>
                  </a:lnTo>
                  <a:lnTo>
                    <a:pt x="1967" y="4067"/>
                  </a:lnTo>
                  <a:lnTo>
                    <a:pt x="2010" y="4082"/>
                  </a:lnTo>
                  <a:lnTo>
                    <a:pt x="2007" y="4082"/>
                  </a:lnTo>
                  <a:close/>
                </a:path>
              </a:pathLst>
            </a:custGeom>
            <a:solidFill>
              <a:srgbClr val="C9CAC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 name="Freeform 8"/>
            <p:cNvSpPr>
              <a:spLocks/>
            </p:cNvSpPr>
            <p:nvPr/>
          </p:nvSpPr>
          <p:spPr bwMode="auto">
            <a:xfrm>
              <a:off x="36" y="25"/>
              <a:ext cx="4680" cy="4124"/>
            </a:xfrm>
            <a:custGeom>
              <a:avLst/>
              <a:gdLst>
                <a:gd name="T0" fmla="*/ 2288 w 4680"/>
                <a:gd name="T1" fmla="*/ 4017 h 4124"/>
                <a:gd name="T2" fmla="*/ 2552 w 4680"/>
                <a:gd name="T3" fmla="*/ 3935 h 4124"/>
                <a:gd name="T4" fmla="*/ 2488 w 4680"/>
                <a:gd name="T5" fmla="*/ 3504 h 4124"/>
                <a:gd name="T6" fmla="*/ 2684 w 4680"/>
                <a:gd name="T7" fmla="*/ 3091 h 4124"/>
                <a:gd name="T8" fmla="*/ 2862 w 4680"/>
                <a:gd name="T9" fmla="*/ 2923 h 4124"/>
                <a:gd name="T10" fmla="*/ 3058 w 4680"/>
                <a:gd name="T11" fmla="*/ 2777 h 4124"/>
                <a:gd name="T12" fmla="*/ 3122 w 4680"/>
                <a:gd name="T13" fmla="*/ 2969 h 4124"/>
                <a:gd name="T14" fmla="*/ 3226 w 4680"/>
                <a:gd name="T15" fmla="*/ 3176 h 4124"/>
                <a:gd name="T16" fmla="*/ 3497 w 4680"/>
                <a:gd name="T17" fmla="*/ 3066 h 4124"/>
                <a:gd name="T18" fmla="*/ 3525 w 4680"/>
                <a:gd name="T19" fmla="*/ 3201 h 4124"/>
                <a:gd name="T20" fmla="*/ 3800 w 4680"/>
                <a:gd name="T21" fmla="*/ 3165 h 4124"/>
                <a:gd name="T22" fmla="*/ 3857 w 4680"/>
                <a:gd name="T23" fmla="*/ 2948 h 4124"/>
                <a:gd name="T24" fmla="*/ 3654 w 4680"/>
                <a:gd name="T25" fmla="*/ 2755 h 4124"/>
                <a:gd name="T26" fmla="*/ 3939 w 4680"/>
                <a:gd name="T27" fmla="*/ 2780 h 4124"/>
                <a:gd name="T28" fmla="*/ 3714 w 4680"/>
                <a:gd name="T29" fmla="*/ 2556 h 4124"/>
                <a:gd name="T30" fmla="*/ 3508 w 4680"/>
                <a:gd name="T31" fmla="*/ 2374 h 4124"/>
                <a:gd name="T32" fmla="*/ 3543 w 4680"/>
                <a:gd name="T33" fmla="*/ 2018 h 4124"/>
                <a:gd name="T34" fmla="*/ 3732 w 4680"/>
                <a:gd name="T35" fmla="*/ 1882 h 4124"/>
                <a:gd name="T36" fmla="*/ 4049 w 4680"/>
                <a:gd name="T37" fmla="*/ 1982 h 4124"/>
                <a:gd name="T38" fmla="*/ 4270 w 4680"/>
                <a:gd name="T39" fmla="*/ 1586 h 4124"/>
                <a:gd name="T40" fmla="*/ 4417 w 4680"/>
                <a:gd name="T41" fmla="*/ 1568 h 4124"/>
                <a:gd name="T42" fmla="*/ 4506 w 4680"/>
                <a:gd name="T43" fmla="*/ 1362 h 4124"/>
                <a:gd name="T44" fmla="*/ 4559 w 4680"/>
                <a:gd name="T45" fmla="*/ 1205 h 4124"/>
                <a:gd name="T46" fmla="*/ 4534 w 4680"/>
                <a:gd name="T47" fmla="*/ 948 h 4124"/>
                <a:gd name="T48" fmla="*/ 4609 w 4680"/>
                <a:gd name="T49" fmla="*/ 806 h 4124"/>
                <a:gd name="T50" fmla="*/ 4220 w 4680"/>
                <a:gd name="T51" fmla="*/ 784 h 4124"/>
                <a:gd name="T52" fmla="*/ 4060 w 4680"/>
                <a:gd name="T53" fmla="*/ 784 h 4124"/>
                <a:gd name="T54" fmla="*/ 3860 w 4680"/>
                <a:gd name="T55" fmla="*/ 663 h 4124"/>
                <a:gd name="T56" fmla="*/ 3597 w 4680"/>
                <a:gd name="T57" fmla="*/ 624 h 4124"/>
                <a:gd name="T58" fmla="*/ 3408 w 4680"/>
                <a:gd name="T59" fmla="*/ 727 h 4124"/>
                <a:gd name="T60" fmla="*/ 3336 w 4680"/>
                <a:gd name="T61" fmla="*/ 709 h 4124"/>
                <a:gd name="T62" fmla="*/ 3005 w 4680"/>
                <a:gd name="T63" fmla="*/ 777 h 4124"/>
                <a:gd name="T64" fmla="*/ 2898 w 4680"/>
                <a:gd name="T65" fmla="*/ 610 h 4124"/>
                <a:gd name="T66" fmla="*/ 2894 w 4680"/>
                <a:gd name="T67" fmla="*/ 460 h 4124"/>
                <a:gd name="T68" fmla="*/ 2566 w 4680"/>
                <a:gd name="T69" fmla="*/ 285 h 4124"/>
                <a:gd name="T70" fmla="*/ 2392 w 4680"/>
                <a:gd name="T71" fmla="*/ 278 h 4124"/>
                <a:gd name="T72" fmla="*/ 2238 w 4680"/>
                <a:gd name="T73" fmla="*/ 0 h 4124"/>
                <a:gd name="T74" fmla="*/ 2053 w 4680"/>
                <a:gd name="T75" fmla="*/ 217 h 4124"/>
                <a:gd name="T76" fmla="*/ 2032 w 4680"/>
                <a:gd name="T77" fmla="*/ 492 h 4124"/>
                <a:gd name="T78" fmla="*/ 1836 w 4680"/>
                <a:gd name="T79" fmla="*/ 560 h 4124"/>
                <a:gd name="T80" fmla="*/ 1807 w 4680"/>
                <a:gd name="T81" fmla="*/ 563 h 4124"/>
                <a:gd name="T82" fmla="*/ 1615 w 4680"/>
                <a:gd name="T83" fmla="*/ 585 h 4124"/>
                <a:gd name="T84" fmla="*/ 1572 w 4680"/>
                <a:gd name="T85" fmla="*/ 777 h 4124"/>
                <a:gd name="T86" fmla="*/ 1376 w 4680"/>
                <a:gd name="T87" fmla="*/ 877 h 4124"/>
                <a:gd name="T88" fmla="*/ 1190 w 4680"/>
                <a:gd name="T89" fmla="*/ 855 h 4124"/>
                <a:gd name="T90" fmla="*/ 1012 w 4680"/>
                <a:gd name="T91" fmla="*/ 820 h 4124"/>
                <a:gd name="T92" fmla="*/ 631 w 4680"/>
                <a:gd name="T93" fmla="*/ 649 h 4124"/>
                <a:gd name="T94" fmla="*/ 449 w 4680"/>
                <a:gd name="T95" fmla="*/ 324 h 4124"/>
                <a:gd name="T96" fmla="*/ 224 w 4680"/>
                <a:gd name="T97" fmla="*/ 150 h 4124"/>
                <a:gd name="T98" fmla="*/ 39 w 4680"/>
                <a:gd name="T99" fmla="*/ 410 h 4124"/>
                <a:gd name="T100" fmla="*/ 71 w 4680"/>
                <a:gd name="T101" fmla="*/ 681 h 4124"/>
                <a:gd name="T102" fmla="*/ 185 w 4680"/>
                <a:gd name="T103" fmla="*/ 1009 h 4124"/>
                <a:gd name="T104" fmla="*/ 449 w 4680"/>
                <a:gd name="T105" fmla="*/ 1280 h 4124"/>
                <a:gd name="T106" fmla="*/ 538 w 4680"/>
                <a:gd name="T107" fmla="*/ 1618 h 4124"/>
                <a:gd name="T108" fmla="*/ 720 w 4680"/>
                <a:gd name="T109" fmla="*/ 2128 h 4124"/>
                <a:gd name="T110" fmla="*/ 795 w 4680"/>
                <a:gd name="T111" fmla="*/ 2845 h 4124"/>
                <a:gd name="T112" fmla="*/ 1066 w 4680"/>
                <a:gd name="T113" fmla="*/ 2841 h 4124"/>
                <a:gd name="T114" fmla="*/ 1244 w 4680"/>
                <a:gd name="T115" fmla="*/ 3041 h 4124"/>
                <a:gd name="T116" fmla="*/ 1326 w 4680"/>
                <a:gd name="T117" fmla="*/ 3337 h 4124"/>
                <a:gd name="T118" fmla="*/ 1590 w 4680"/>
                <a:gd name="T119" fmla="*/ 3426 h 4124"/>
                <a:gd name="T120" fmla="*/ 1782 w 4680"/>
                <a:gd name="T121" fmla="*/ 3736 h 4124"/>
                <a:gd name="T122" fmla="*/ 1893 w 4680"/>
                <a:gd name="T123" fmla="*/ 3943 h 412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680"/>
                <a:gd name="T187" fmla="*/ 0 h 4124"/>
                <a:gd name="T188" fmla="*/ 4680 w 4680"/>
                <a:gd name="T189" fmla="*/ 4124 h 412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680" h="4124">
                  <a:moveTo>
                    <a:pt x="2007" y="4082"/>
                  </a:moveTo>
                  <a:lnTo>
                    <a:pt x="2007" y="4082"/>
                  </a:lnTo>
                  <a:lnTo>
                    <a:pt x="2014" y="4092"/>
                  </a:lnTo>
                  <a:lnTo>
                    <a:pt x="2021" y="4103"/>
                  </a:lnTo>
                  <a:lnTo>
                    <a:pt x="2032" y="4114"/>
                  </a:lnTo>
                  <a:lnTo>
                    <a:pt x="2046" y="4121"/>
                  </a:lnTo>
                  <a:lnTo>
                    <a:pt x="2064" y="4124"/>
                  </a:lnTo>
                  <a:lnTo>
                    <a:pt x="2082" y="4117"/>
                  </a:lnTo>
                  <a:lnTo>
                    <a:pt x="2103" y="4107"/>
                  </a:lnTo>
                  <a:lnTo>
                    <a:pt x="2117" y="4110"/>
                  </a:lnTo>
                  <a:lnTo>
                    <a:pt x="2135" y="4114"/>
                  </a:lnTo>
                  <a:lnTo>
                    <a:pt x="2153" y="4117"/>
                  </a:lnTo>
                  <a:lnTo>
                    <a:pt x="2171" y="4114"/>
                  </a:lnTo>
                  <a:lnTo>
                    <a:pt x="2188" y="4107"/>
                  </a:lnTo>
                  <a:lnTo>
                    <a:pt x="2196" y="4099"/>
                  </a:lnTo>
                  <a:lnTo>
                    <a:pt x="2199" y="4089"/>
                  </a:lnTo>
                  <a:lnTo>
                    <a:pt x="2206" y="4078"/>
                  </a:lnTo>
                  <a:lnTo>
                    <a:pt x="2210" y="4060"/>
                  </a:lnTo>
                  <a:lnTo>
                    <a:pt x="2288" y="4017"/>
                  </a:lnTo>
                  <a:lnTo>
                    <a:pt x="2349" y="3989"/>
                  </a:lnTo>
                  <a:lnTo>
                    <a:pt x="2370" y="3978"/>
                  </a:lnTo>
                  <a:lnTo>
                    <a:pt x="2385" y="3978"/>
                  </a:lnTo>
                  <a:lnTo>
                    <a:pt x="2388" y="3992"/>
                  </a:lnTo>
                  <a:lnTo>
                    <a:pt x="2402" y="4021"/>
                  </a:lnTo>
                  <a:lnTo>
                    <a:pt x="2410" y="4032"/>
                  </a:lnTo>
                  <a:lnTo>
                    <a:pt x="2420" y="4035"/>
                  </a:lnTo>
                  <a:lnTo>
                    <a:pt x="2427" y="4032"/>
                  </a:lnTo>
                  <a:lnTo>
                    <a:pt x="2431" y="4028"/>
                  </a:lnTo>
                  <a:lnTo>
                    <a:pt x="2445" y="4010"/>
                  </a:lnTo>
                  <a:lnTo>
                    <a:pt x="2470" y="4000"/>
                  </a:lnTo>
                  <a:lnTo>
                    <a:pt x="2492" y="3992"/>
                  </a:lnTo>
                  <a:lnTo>
                    <a:pt x="2516" y="3989"/>
                  </a:lnTo>
                  <a:lnTo>
                    <a:pt x="2524" y="3989"/>
                  </a:lnTo>
                  <a:lnTo>
                    <a:pt x="2531" y="3985"/>
                  </a:lnTo>
                  <a:lnTo>
                    <a:pt x="2538" y="3971"/>
                  </a:lnTo>
                  <a:lnTo>
                    <a:pt x="2545" y="3957"/>
                  </a:lnTo>
                  <a:lnTo>
                    <a:pt x="2552" y="3935"/>
                  </a:lnTo>
                  <a:lnTo>
                    <a:pt x="2556" y="3896"/>
                  </a:lnTo>
                  <a:lnTo>
                    <a:pt x="2559" y="3878"/>
                  </a:lnTo>
                  <a:lnTo>
                    <a:pt x="2563" y="3875"/>
                  </a:lnTo>
                  <a:lnTo>
                    <a:pt x="2570" y="3868"/>
                  </a:lnTo>
                  <a:lnTo>
                    <a:pt x="2570" y="3864"/>
                  </a:lnTo>
                  <a:lnTo>
                    <a:pt x="2570" y="3857"/>
                  </a:lnTo>
                  <a:lnTo>
                    <a:pt x="2566" y="3850"/>
                  </a:lnTo>
                  <a:lnTo>
                    <a:pt x="2559" y="3843"/>
                  </a:lnTo>
                  <a:lnTo>
                    <a:pt x="2552" y="3807"/>
                  </a:lnTo>
                  <a:lnTo>
                    <a:pt x="2534" y="3750"/>
                  </a:lnTo>
                  <a:lnTo>
                    <a:pt x="2524" y="3729"/>
                  </a:lnTo>
                  <a:lnTo>
                    <a:pt x="2509" y="3711"/>
                  </a:lnTo>
                  <a:lnTo>
                    <a:pt x="2492" y="3697"/>
                  </a:lnTo>
                  <a:lnTo>
                    <a:pt x="2488" y="3650"/>
                  </a:lnTo>
                  <a:lnTo>
                    <a:pt x="2484" y="3604"/>
                  </a:lnTo>
                  <a:lnTo>
                    <a:pt x="2484" y="3550"/>
                  </a:lnTo>
                  <a:lnTo>
                    <a:pt x="2488" y="3504"/>
                  </a:lnTo>
                  <a:lnTo>
                    <a:pt x="2492" y="3483"/>
                  </a:lnTo>
                  <a:lnTo>
                    <a:pt x="2495" y="3468"/>
                  </a:lnTo>
                  <a:lnTo>
                    <a:pt x="2502" y="3458"/>
                  </a:lnTo>
                  <a:lnTo>
                    <a:pt x="2509" y="3451"/>
                  </a:lnTo>
                  <a:lnTo>
                    <a:pt x="2524" y="3451"/>
                  </a:lnTo>
                  <a:lnTo>
                    <a:pt x="2534" y="3461"/>
                  </a:lnTo>
                  <a:lnTo>
                    <a:pt x="2545" y="3458"/>
                  </a:lnTo>
                  <a:lnTo>
                    <a:pt x="2566" y="3451"/>
                  </a:lnTo>
                  <a:lnTo>
                    <a:pt x="2581" y="3440"/>
                  </a:lnTo>
                  <a:lnTo>
                    <a:pt x="2588" y="3429"/>
                  </a:lnTo>
                  <a:lnTo>
                    <a:pt x="2595" y="3411"/>
                  </a:lnTo>
                  <a:lnTo>
                    <a:pt x="2598" y="3390"/>
                  </a:lnTo>
                  <a:lnTo>
                    <a:pt x="2631" y="3340"/>
                  </a:lnTo>
                  <a:lnTo>
                    <a:pt x="2663" y="3301"/>
                  </a:lnTo>
                  <a:lnTo>
                    <a:pt x="2680" y="3283"/>
                  </a:lnTo>
                  <a:lnTo>
                    <a:pt x="2698" y="3269"/>
                  </a:lnTo>
                  <a:lnTo>
                    <a:pt x="2716" y="3247"/>
                  </a:lnTo>
                  <a:lnTo>
                    <a:pt x="2745" y="3144"/>
                  </a:lnTo>
                  <a:lnTo>
                    <a:pt x="2684" y="3091"/>
                  </a:lnTo>
                  <a:lnTo>
                    <a:pt x="2691" y="3073"/>
                  </a:lnTo>
                  <a:lnTo>
                    <a:pt x="2702" y="3055"/>
                  </a:lnTo>
                  <a:lnTo>
                    <a:pt x="2716" y="3037"/>
                  </a:lnTo>
                  <a:lnTo>
                    <a:pt x="2730" y="3019"/>
                  </a:lnTo>
                  <a:lnTo>
                    <a:pt x="2748" y="3009"/>
                  </a:lnTo>
                  <a:lnTo>
                    <a:pt x="2755" y="3005"/>
                  </a:lnTo>
                  <a:lnTo>
                    <a:pt x="2766" y="3005"/>
                  </a:lnTo>
                  <a:lnTo>
                    <a:pt x="2777" y="3005"/>
                  </a:lnTo>
                  <a:lnTo>
                    <a:pt x="2787" y="3012"/>
                  </a:lnTo>
                  <a:lnTo>
                    <a:pt x="2795" y="3012"/>
                  </a:lnTo>
                  <a:lnTo>
                    <a:pt x="2809" y="3012"/>
                  </a:lnTo>
                  <a:lnTo>
                    <a:pt x="2819" y="3009"/>
                  </a:lnTo>
                  <a:lnTo>
                    <a:pt x="2830" y="3001"/>
                  </a:lnTo>
                  <a:lnTo>
                    <a:pt x="2841" y="2991"/>
                  </a:lnTo>
                  <a:lnTo>
                    <a:pt x="2848" y="2973"/>
                  </a:lnTo>
                  <a:lnTo>
                    <a:pt x="2859" y="2944"/>
                  </a:lnTo>
                  <a:lnTo>
                    <a:pt x="2862" y="2930"/>
                  </a:lnTo>
                  <a:lnTo>
                    <a:pt x="2862" y="2923"/>
                  </a:lnTo>
                  <a:lnTo>
                    <a:pt x="2859" y="2916"/>
                  </a:lnTo>
                  <a:lnTo>
                    <a:pt x="2841" y="2898"/>
                  </a:lnTo>
                  <a:lnTo>
                    <a:pt x="2830" y="2884"/>
                  </a:lnTo>
                  <a:lnTo>
                    <a:pt x="2823" y="2866"/>
                  </a:lnTo>
                  <a:lnTo>
                    <a:pt x="2819" y="2848"/>
                  </a:lnTo>
                  <a:lnTo>
                    <a:pt x="2823" y="2830"/>
                  </a:lnTo>
                  <a:lnTo>
                    <a:pt x="2827" y="2816"/>
                  </a:lnTo>
                  <a:lnTo>
                    <a:pt x="2837" y="2805"/>
                  </a:lnTo>
                  <a:lnTo>
                    <a:pt x="2848" y="2802"/>
                  </a:lnTo>
                  <a:lnTo>
                    <a:pt x="2866" y="2802"/>
                  </a:lnTo>
                  <a:lnTo>
                    <a:pt x="2884" y="2809"/>
                  </a:lnTo>
                  <a:lnTo>
                    <a:pt x="2901" y="2809"/>
                  </a:lnTo>
                  <a:lnTo>
                    <a:pt x="2937" y="2805"/>
                  </a:lnTo>
                  <a:lnTo>
                    <a:pt x="2969" y="2795"/>
                  </a:lnTo>
                  <a:lnTo>
                    <a:pt x="2998" y="2788"/>
                  </a:lnTo>
                  <a:lnTo>
                    <a:pt x="3012" y="2780"/>
                  </a:lnTo>
                  <a:lnTo>
                    <a:pt x="3033" y="2780"/>
                  </a:lnTo>
                  <a:lnTo>
                    <a:pt x="3058" y="2777"/>
                  </a:lnTo>
                  <a:lnTo>
                    <a:pt x="3080" y="2780"/>
                  </a:lnTo>
                  <a:lnTo>
                    <a:pt x="3098" y="2784"/>
                  </a:lnTo>
                  <a:lnTo>
                    <a:pt x="3101" y="2788"/>
                  </a:lnTo>
                  <a:lnTo>
                    <a:pt x="3101" y="2791"/>
                  </a:lnTo>
                  <a:lnTo>
                    <a:pt x="3101" y="2798"/>
                  </a:lnTo>
                  <a:lnTo>
                    <a:pt x="3094" y="2809"/>
                  </a:lnTo>
                  <a:lnTo>
                    <a:pt x="3065" y="2827"/>
                  </a:lnTo>
                  <a:lnTo>
                    <a:pt x="3051" y="2837"/>
                  </a:lnTo>
                  <a:lnTo>
                    <a:pt x="3041" y="2848"/>
                  </a:lnTo>
                  <a:lnTo>
                    <a:pt x="3033" y="2859"/>
                  </a:lnTo>
                  <a:lnTo>
                    <a:pt x="3033" y="2870"/>
                  </a:lnTo>
                  <a:lnTo>
                    <a:pt x="3033" y="2880"/>
                  </a:lnTo>
                  <a:lnTo>
                    <a:pt x="3033" y="2891"/>
                  </a:lnTo>
                  <a:lnTo>
                    <a:pt x="3048" y="2909"/>
                  </a:lnTo>
                  <a:lnTo>
                    <a:pt x="3062" y="2927"/>
                  </a:lnTo>
                  <a:lnTo>
                    <a:pt x="3076" y="2937"/>
                  </a:lnTo>
                  <a:lnTo>
                    <a:pt x="3094" y="2948"/>
                  </a:lnTo>
                  <a:lnTo>
                    <a:pt x="3108" y="2959"/>
                  </a:lnTo>
                  <a:lnTo>
                    <a:pt x="3122" y="2969"/>
                  </a:lnTo>
                  <a:lnTo>
                    <a:pt x="3133" y="2984"/>
                  </a:lnTo>
                  <a:lnTo>
                    <a:pt x="3144" y="3001"/>
                  </a:lnTo>
                  <a:lnTo>
                    <a:pt x="3144" y="3012"/>
                  </a:lnTo>
                  <a:lnTo>
                    <a:pt x="3144" y="3019"/>
                  </a:lnTo>
                  <a:lnTo>
                    <a:pt x="3140" y="3030"/>
                  </a:lnTo>
                  <a:lnTo>
                    <a:pt x="3133" y="3041"/>
                  </a:lnTo>
                  <a:lnTo>
                    <a:pt x="3122" y="3051"/>
                  </a:lnTo>
                  <a:lnTo>
                    <a:pt x="3108" y="3062"/>
                  </a:lnTo>
                  <a:lnTo>
                    <a:pt x="3101" y="3062"/>
                  </a:lnTo>
                  <a:lnTo>
                    <a:pt x="3090" y="3069"/>
                  </a:lnTo>
                  <a:lnTo>
                    <a:pt x="3087" y="3073"/>
                  </a:lnTo>
                  <a:lnTo>
                    <a:pt x="3087" y="3083"/>
                  </a:lnTo>
                  <a:lnTo>
                    <a:pt x="3090" y="3094"/>
                  </a:lnTo>
                  <a:lnTo>
                    <a:pt x="3105" y="3108"/>
                  </a:lnTo>
                  <a:lnTo>
                    <a:pt x="3140" y="3140"/>
                  </a:lnTo>
                  <a:lnTo>
                    <a:pt x="3162" y="3155"/>
                  </a:lnTo>
                  <a:lnTo>
                    <a:pt x="3183" y="3165"/>
                  </a:lnTo>
                  <a:lnTo>
                    <a:pt x="3208" y="3173"/>
                  </a:lnTo>
                  <a:lnTo>
                    <a:pt x="3226" y="3176"/>
                  </a:lnTo>
                  <a:lnTo>
                    <a:pt x="3237" y="3173"/>
                  </a:lnTo>
                  <a:lnTo>
                    <a:pt x="3247" y="3169"/>
                  </a:lnTo>
                  <a:lnTo>
                    <a:pt x="3254" y="3162"/>
                  </a:lnTo>
                  <a:lnTo>
                    <a:pt x="3265" y="3151"/>
                  </a:lnTo>
                  <a:lnTo>
                    <a:pt x="3336" y="3140"/>
                  </a:lnTo>
                  <a:lnTo>
                    <a:pt x="3340" y="3112"/>
                  </a:lnTo>
                  <a:lnTo>
                    <a:pt x="3347" y="3087"/>
                  </a:lnTo>
                  <a:lnTo>
                    <a:pt x="3358" y="3058"/>
                  </a:lnTo>
                  <a:lnTo>
                    <a:pt x="3368" y="3048"/>
                  </a:lnTo>
                  <a:lnTo>
                    <a:pt x="3376" y="3041"/>
                  </a:lnTo>
                  <a:lnTo>
                    <a:pt x="3386" y="3034"/>
                  </a:lnTo>
                  <a:lnTo>
                    <a:pt x="3401" y="3030"/>
                  </a:lnTo>
                  <a:lnTo>
                    <a:pt x="3415" y="3034"/>
                  </a:lnTo>
                  <a:lnTo>
                    <a:pt x="3433" y="3041"/>
                  </a:lnTo>
                  <a:lnTo>
                    <a:pt x="3454" y="3055"/>
                  </a:lnTo>
                  <a:lnTo>
                    <a:pt x="3475" y="3073"/>
                  </a:lnTo>
                  <a:lnTo>
                    <a:pt x="3483" y="3069"/>
                  </a:lnTo>
                  <a:lnTo>
                    <a:pt x="3490" y="3069"/>
                  </a:lnTo>
                  <a:lnTo>
                    <a:pt x="3497" y="3066"/>
                  </a:lnTo>
                  <a:lnTo>
                    <a:pt x="3504" y="3069"/>
                  </a:lnTo>
                  <a:lnTo>
                    <a:pt x="3504" y="3080"/>
                  </a:lnTo>
                  <a:lnTo>
                    <a:pt x="3504" y="3094"/>
                  </a:lnTo>
                  <a:lnTo>
                    <a:pt x="3497" y="3119"/>
                  </a:lnTo>
                  <a:lnTo>
                    <a:pt x="3493" y="3126"/>
                  </a:lnTo>
                  <a:lnTo>
                    <a:pt x="3493" y="3140"/>
                  </a:lnTo>
                  <a:lnTo>
                    <a:pt x="3493" y="3148"/>
                  </a:lnTo>
                  <a:lnTo>
                    <a:pt x="3500" y="3151"/>
                  </a:lnTo>
                  <a:lnTo>
                    <a:pt x="3511" y="3151"/>
                  </a:lnTo>
                  <a:lnTo>
                    <a:pt x="3529" y="3148"/>
                  </a:lnTo>
                  <a:lnTo>
                    <a:pt x="3532" y="3148"/>
                  </a:lnTo>
                  <a:lnTo>
                    <a:pt x="3532" y="3158"/>
                  </a:lnTo>
                  <a:lnTo>
                    <a:pt x="3518" y="3183"/>
                  </a:lnTo>
                  <a:lnTo>
                    <a:pt x="3515" y="3190"/>
                  </a:lnTo>
                  <a:lnTo>
                    <a:pt x="3518" y="3194"/>
                  </a:lnTo>
                  <a:lnTo>
                    <a:pt x="3518" y="3201"/>
                  </a:lnTo>
                  <a:lnTo>
                    <a:pt x="3525" y="3201"/>
                  </a:lnTo>
                  <a:lnTo>
                    <a:pt x="3536" y="3205"/>
                  </a:lnTo>
                  <a:lnTo>
                    <a:pt x="3554" y="3198"/>
                  </a:lnTo>
                  <a:lnTo>
                    <a:pt x="3575" y="3190"/>
                  </a:lnTo>
                  <a:lnTo>
                    <a:pt x="3600" y="3180"/>
                  </a:lnTo>
                  <a:lnTo>
                    <a:pt x="3625" y="3180"/>
                  </a:lnTo>
                  <a:lnTo>
                    <a:pt x="3643" y="3183"/>
                  </a:lnTo>
                  <a:lnTo>
                    <a:pt x="3661" y="3190"/>
                  </a:lnTo>
                  <a:lnTo>
                    <a:pt x="3675" y="3201"/>
                  </a:lnTo>
                  <a:lnTo>
                    <a:pt x="3686" y="3208"/>
                  </a:lnTo>
                  <a:lnTo>
                    <a:pt x="3693" y="3219"/>
                  </a:lnTo>
                  <a:lnTo>
                    <a:pt x="3704" y="3215"/>
                  </a:lnTo>
                  <a:lnTo>
                    <a:pt x="3711" y="3208"/>
                  </a:lnTo>
                  <a:lnTo>
                    <a:pt x="3718" y="3194"/>
                  </a:lnTo>
                  <a:lnTo>
                    <a:pt x="3757" y="3194"/>
                  </a:lnTo>
                  <a:lnTo>
                    <a:pt x="3764" y="3187"/>
                  </a:lnTo>
                  <a:lnTo>
                    <a:pt x="3778" y="3176"/>
                  </a:lnTo>
                  <a:lnTo>
                    <a:pt x="3789" y="3169"/>
                  </a:lnTo>
                  <a:lnTo>
                    <a:pt x="3800" y="3165"/>
                  </a:lnTo>
                  <a:lnTo>
                    <a:pt x="3814" y="3165"/>
                  </a:lnTo>
                  <a:lnTo>
                    <a:pt x="3832" y="3169"/>
                  </a:lnTo>
                  <a:lnTo>
                    <a:pt x="3893" y="3137"/>
                  </a:lnTo>
                  <a:lnTo>
                    <a:pt x="3914" y="3144"/>
                  </a:lnTo>
                  <a:lnTo>
                    <a:pt x="3932" y="3144"/>
                  </a:lnTo>
                  <a:lnTo>
                    <a:pt x="3942" y="3144"/>
                  </a:lnTo>
                  <a:lnTo>
                    <a:pt x="3950" y="3140"/>
                  </a:lnTo>
                  <a:lnTo>
                    <a:pt x="3957" y="3133"/>
                  </a:lnTo>
                  <a:lnTo>
                    <a:pt x="3960" y="3123"/>
                  </a:lnTo>
                  <a:lnTo>
                    <a:pt x="3960" y="3108"/>
                  </a:lnTo>
                  <a:lnTo>
                    <a:pt x="3960" y="3091"/>
                  </a:lnTo>
                  <a:lnTo>
                    <a:pt x="3953" y="3069"/>
                  </a:lnTo>
                  <a:lnTo>
                    <a:pt x="3942" y="3041"/>
                  </a:lnTo>
                  <a:lnTo>
                    <a:pt x="3925" y="3009"/>
                  </a:lnTo>
                  <a:lnTo>
                    <a:pt x="3903" y="2966"/>
                  </a:lnTo>
                  <a:lnTo>
                    <a:pt x="3893" y="2959"/>
                  </a:lnTo>
                  <a:lnTo>
                    <a:pt x="3882" y="2955"/>
                  </a:lnTo>
                  <a:lnTo>
                    <a:pt x="3871" y="2952"/>
                  </a:lnTo>
                  <a:lnTo>
                    <a:pt x="3857" y="2948"/>
                  </a:lnTo>
                  <a:lnTo>
                    <a:pt x="3843" y="2955"/>
                  </a:lnTo>
                  <a:lnTo>
                    <a:pt x="3832" y="2969"/>
                  </a:lnTo>
                  <a:lnTo>
                    <a:pt x="3818" y="2991"/>
                  </a:lnTo>
                  <a:lnTo>
                    <a:pt x="3757" y="2973"/>
                  </a:lnTo>
                  <a:lnTo>
                    <a:pt x="3757" y="2962"/>
                  </a:lnTo>
                  <a:lnTo>
                    <a:pt x="3750" y="2941"/>
                  </a:lnTo>
                  <a:lnTo>
                    <a:pt x="3718" y="2895"/>
                  </a:lnTo>
                  <a:lnTo>
                    <a:pt x="3696" y="2891"/>
                  </a:lnTo>
                  <a:lnTo>
                    <a:pt x="3679" y="2895"/>
                  </a:lnTo>
                  <a:lnTo>
                    <a:pt x="3671" y="2898"/>
                  </a:lnTo>
                  <a:lnTo>
                    <a:pt x="3661" y="2905"/>
                  </a:lnTo>
                  <a:lnTo>
                    <a:pt x="3650" y="2884"/>
                  </a:lnTo>
                  <a:lnTo>
                    <a:pt x="3639" y="2859"/>
                  </a:lnTo>
                  <a:lnTo>
                    <a:pt x="3632" y="2830"/>
                  </a:lnTo>
                  <a:lnTo>
                    <a:pt x="3632" y="2802"/>
                  </a:lnTo>
                  <a:lnTo>
                    <a:pt x="3632" y="2788"/>
                  </a:lnTo>
                  <a:lnTo>
                    <a:pt x="3636" y="2777"/>
                  </a:lnTo>
                  <a:lnTo>
                    <a:pt x="3643" y="2766"/>
                  </a:lnTo>
                  <a:lnTo>
                    <a:pt x="3654" y="2755"/>
                  </a:lnTo>
                  <a:lnTo>
                    <a:pt x="3668" y="2748"/>
                  </a:lnTo>
                  <a:lnTo>
                    <a:pt x="3686" y="2745"/>
                  </a:lnTo>
                  <a:lnTo>
                    <a:pt x="3729" y="2738"/>
                  </a:lnTo>
                  <a:lnTo>
                    <a:pt x="3736" y="2716"/>
                  </a:lnTo>
                  <a:lnTo>
                    <a:pt x="3743" y="2698"/>
                  </a:lnTo>
                  <a:lnTo>
                    <a:pt x="3753" y="2681"/>
                  </a:lnTo>
                  <a:lnTo>
                    <a:pt x="3764" y="2670"/>
                  </a:lnTo>
                  <a:lnTo>
                    <a:pt x="3771" y="2666"/>
                  </a:lnTo>
                  <a:lnTo>
                    <a:pt x="3778" y="2666"/>
                  </a:lnTo>
                  <a:lnTo>
                    <a:pt x="3786" y="2666"/>
                  </a:lnTo>
                  <a:lnTo>
                    <a:pt x="3793" y="2674"/>
                  </a:lnTo>
                  <a:lnTo>
                    <a:pt x="3800" y="2688"/>
                  </a:lnTo>
                  <a:lnTo>
                    <a:pt x="3807" y="2702"/>
                  </a:lnTo>
                  <a:lnTo>
                    <a:pt x="3835" y="2713"/>
                  </a:lnTo>
                  <a:lnTo>
                    <a:pt x="3864" y="2738"/>
                  </a:lnTo>
                  <a:lnTo>
                    <a:pt x="3893" y="2759"/>
                  </a:lnTo>
                  <a:lnTo>
                    <a:pt x="3917" y="2777"/>
                  </a:lnTo>
                  <a:lnTo>
                    <a:pt x="3928" y="2780"/>
                  </a:lnTo>
                  <a:lnTo>
                    <a:pt x="3939" y="2780"/>
                  </a:lnTo>
                  <a:lnTo>
                    <a:pt x="3946" y="2777"/>
                  </a:lnTo>
                  <a:lnTo>
                    <a:pt x="3946" y="2766"/>
                  </a:lnTo>
                  <a:lnTo>
                    <a:pt x="3946" y="2748"/>
                  </a:lnTo>
                  <a:lnTo>
                    <a:pt x="3939" y="2720"/>
                  </a:lnTo>
                  <a:lnTo>
                    <a:pt x="3925" y="2688"/>
                  </a:lnTo>
                  <a:lnTo>
                    <a:pt x="3903" y="2645"/>
                  </a:lnTo>
                  <a:lnTo>
                    <a:pt x="3896" y="2627"/>
                  </a:lnTo>
                  <a:lnTo>
                    <a:pt x="3889" y="2613"/>
                  </a:lnTo>
                  <a:lnTo>
                    <a:pt x="3875" y="2599"/>
                  </a:lnTo>
                  <a:lnTo>
                    <a:pt x="3857" y="2581"/>
                  </a:lnTo>
                  <a:lnTo>
                    <a:pt x="3832" y="2570"/>
                  </a:lnTo>
                  <a:lnTo>
                    <a:pt x="3821" y="2567"/>
                  </a:lnTo>
                  <a:lnTo>
                    <a:pt x="3803" y="2563"/>
                  </a:lnTo>
                  <a:lnTo>
                    <a:pt x="3786" y="2563"/>
                  </a:lnTo>
                  <a:lnTo>
                    <a:pt x="3768" y="2567"/>
                  </a:lnTo>
                  <a:lnTo>
                    <a:pt x="3739" y="2563"/>
                  </a:lnTo>
                  <a:lnTo>
                    <a:pt x="3736" y="2559"/>
                  </a:lnTo>
                  <a:lnTo>
                    <a:pt x="3729" y="2556"/>
                  </a:lnTo>
                  <a:lnTo>
                    <a:pt x="3714" y="2556"/>
                  </a:lnTo>
                  <a:lnTo>
                    <a:pt x="3711" y="2559"/>
                  </a:lnTo>
                  <a:lnTo>
                    <a:pt x="3707" y="2567"/>
                  </a:lnTo>
                  <a:lnTo>
                    <a:pt x="3700" y="2570"/>
                  </a:lnTo>
                  <a:lnTo>
                    <a:pt x="3686" y="2570"/>
                  </a:lnTo>
                  <a:lnTo>
                    <a:pt x="3675" y="2570"/>
                  </a:lnTo>
                  <a:lnTo>
                    <a:pt x="3668" y="2563"/>
                  </a:lnTo>
                  <a:lnTo>
                    <a:pt x="3661" y="2552"/>
                  </a:lnTo>
                  <a:lnTo>
                    <a:pt x="3654" y="2534"/>
                  </a:lnTo>
                  <a:lnTo>
                    <a:pt x="3650" y="2520"/>
                  </a:lnTo>
                  <a:lnTo>
                    <a:pt x="3647" y="2488"/>
                  </a:lnTo>
                  <a:lnTo>
                    <a:pt x="3636" y="2456"/>
                  </a:lnTo>
                  <a:lnTo>
                    <a:pt x="3629" y="2445"/>
                  </a:lnTo>
                  <a:lnTo>
                    <a:pt x="3622" y="2438"/>
                  </a:lnTo>
                  <a:lnTo>
                    <a:pt x="3614" y="2420"/>
                  </a:lnTo>
                  <a:lnTo>
                    <a:pt x="3614" y="2399"/>
                  </a:lnTo>
                  <a:lnTo>
                    <a:pt x="3554" y="2410"/>
                  </a:lnTo>
                  <a:lnTo>
                    <a:pt x="3508" y="2410"/>
                  </a:lnTo>
                  <a:lnTo>
                    <a:pt x="3508" y="2399"/>
                  </a:lnTo>
                  <a:lnTo>
                    <a:pt x="3508" y="2374"/>
                  </a:lnTo>
                  <a:lnTo>
                    <a:pt x="3497" y="2353"/>
                  </a:lnTo>
                  <a:lnTo>
                    <a:pt x="3472" y="2338"/>
                  </a:lnTo>
                  <a:lnTo>
                    <a:pt x="3454" y="2321"/>
                  </a:lnTo>
                  <a:lnTo>
                    <a:pt x="3443" y="2289"/>
                  </a:lnTo>
                  <a:lnTo>
                    <a:pt x="3443" y="2256"/>
                  </a:lnTo>
                  <a:lnTo>
                    <a:pt x="3458" y="2249"/>
                  </a:lnTo>
                  <a:lnTo>
                    <a:pt x="3490" y="2228"/>
                  </a:lnTo>
                  <a:lnTo>
                    <a:pt x="3504" y="2214"/>
                  </a:lnTo>
                  <a:lnTo>
                    <a:pt x="3518" y="2192"/>
                  </a:lnTo>
                  <a:lnTo>
                    <a:pt x="3529" y="2171"/>
                  </a:lnTo>
                  <a:lnTo>
                    <a:pt x="3536" y="2149"/>
                  </a:lnTo>
                  <a:lnTo>
                    <a:pt x="3550" y="2139"/>
                  </a:lnTo>
                  <a:lnTo>
                    <a:pt x="3604" y="2139"/>
                  </a:lnTo>
                  <a:lnTo>
                    <a:pt x="3607" y="2125"/>
                  </a:lnTo>
                  <a:lnTo>
                    <a:pt x="3611" y="2103"/>
                  </a:lnTo>
                  <a:lnTo>
                    <a:pt x="3614" y="2078"/>
                  </a:lnTo>
                  <a:lnTo>
                    <a:pt x="3625" y="2057"/>
                  </a:lnTo>
                  <a:lnTo>
                    <a:pt x="3611" y="2039"/>
                  </a:lnTo>
                  <a:lnTo>
                    <a:pt x="3543" y="2018"/>
                  </a:lnTo>
                  <a:lnTo>
                    <a:pt x="3540" y="2010"/>
                  </a:lnTo>
                  <a:lnTo>
                    <a:pt x="3536" y="2007"/>
                  </a:lnTo>
                  <a:lnTo>
                    <a:pt x="3536" y="1996"/>
                  </a:lnTo>
                  <a:lnTo>
                    <a:pt x="3536" y="1986"/>
                  </a:lnTo>
                  <a:lnTo>
                    <a:pt x="3540" y="1971"/>
                  </a:lnTo>
                  <a:lnTo>
                    <a:pt x="3550" y="1957"/>
                  </a:lnTo>
                  <a:lnTo>
                    <a:pt x="3568" y="1939"/>
                  </a:lnTo>
                  <a:lnTo>
                    <a:pt x="3565" y="1925"/>
                  </a:lnTo>
                  <a:lnTo>
                    <a:pt x="3565" y="1911"/>
                  </a:lnTo>
                  <a:lnTo>
                    <a:pt x="3565" y="1893"/>
                  </a:lnTo>
                  <a:lnTo>
                    <a:pt x="3575" y="1879"/>
                  </a:lnTo>
                  <a:lnTo>
                    <a:pt x="3582" y="1871"/>
                  </a:lnTo>
                  <a:lnTo>
                    <a:pt x="3593" y="1864"/>
                  </a:lnTo>
                  <a:lnTo>
                    <a:pt x="3607" y="1861"/>
                  </a:lnTo>
                  <a:lnTo>
                    <a:pt x="3625" y="1857"/>
                  </a:lnTo>
                  <a:lnTo>
                    <a:pt x="3647" y="1857"/>
                  </a:lnTo>
                  <a:lnTo>
                    <a:pt x="3671" y="1861"/>
                  </a:lnTo>
                  <a:lnTo>
                    <a:pt x="3732" y="1882"/>
                  </a:lnTo>
                  <a:lnTo>
                    <a:pt x="3782" y="1900"/>
                  </a:lnTo>
                  <a:lnTo>
                    <a:pt x="3818" y="1918"/>
                  </a:lnTo>
                  <a:lnTo>
                    <a:pt x="3843" y="1904"/>
                  </a:lnTo>
                  <a:lnTo>
                    <a:pt x="3850" y="1889"/>
                  </a:lnTo>
                  <a:lnTo>
                    <a:pt x="3860" y="1879"/>
                  </a:lnTo>
                  <a:lnTo>
                    <a:pt x="3875" y="1868"/>
                  </a:lnTo>
                  <a:lnTo>
                    <a:pt x="3893" y="1864"/>
                  </a:lnTo>
                  <a:lnTo>
                    <a:pt x="3903" y="1864"/>
                  </a:lnTo>
                  <a:lnTo>
                    <a:pt x="3914" y="1864"/>
                  </a:lnTo>
                  <a:lnTo>
                    <a:pt x="3925" y="1871"/>
                  </a:lnTo>
                  <a:lnTo>
                    <a:pt x="3939" y="1879"/>
                  </a:lnTo>
                  <a:lnTo>
                    <a:pt x="3950" y="1889"/>
                  </a:lnTo>
                  <a:lnTo>
                    <a:pt x="3964" y="1907"/>
                  </a:lnTo>
                  <a:lnTo>
                    <a:pt x="3971" y="1918"/>
                  </a:lnTo>
                  <a:lnTo>
                    <a:pt x="3992" y="1946"/>
                  </a:lnTo>
                  <a:lnTo>
                    <a:pt x="4007" y="1957"/>
                  </a:lnTo>
                  <a:lnTo>
                    <a:pt x="4021" y="1971"/>
                  </a:lnTo>
                  <a:lnTo>
                    <a:pt x="4035" y="1978"/>
                  </a:lnTo>
                  <a:lnTo>
                    <a:pt x="4049" y="1982"/>
                  </a:lnTo>
                  <a:lnTo>
                    <a:pt x="4085" y="1975"/>
                  </a:lnTo>
                  <a:lnTo>
                    <a:pt x="4096" y="1975"/>
                  </a:lnTo>
                  <a:lnTo>
                    <a:pt x="4106" y="1986"/>
                  </a:lnTo>
                  <a:lnTo>
                    <a:pt x="4110" y="1989"/>
                  </a:lnTo>
                  <a:lnTo>
                    <a:pt x="4114" y="1989"/>
                  </a:lnTo>
                  <a:lnTo>
                    <a:pt x="4117" y="1978"/>
                  </a:lnTo>
                  <a:lnTo>
                    <a:pt x="4121" y="1957"/>
                  </a:lnTo>
                  <a:lnTo>
                    <a:pt x="4149" y="1964"/>
                  </a:lnTo>
                  <a:lnTo>
                    <a:pt x="4278" y="1722"/>
                  </a:lnTo>
                  <a:lnTo>
                    <a:pt x="4281" y="1715"/>
                  </a:lnTo>
                  <a:lnTo>
                    <a:pt x="4288" y="1693"/>
                  </a:lnTo>
                  <a:lnTo>
                    <a:pt x="4288" y="1679"/>
                  </a:lnTo>
                  <a:lnTo>
                    <a:pt x="4288" y="1661"/>
                  </a:lnTo>
                  <a:lnTo>
                    <a:pt x="4285" y="1643"/>
                  </a:lnTo>
                  <a:lnTo>
                    <a:pt x="4278" y="1622"/>
                  </a:lnTo>
                  <a:lnTo>
                    <a:pt x="4270" y="1604"/>
                  </a:lnTo>
                  <a:lnTo>
                    <a:pt x="4270" y="1586"/>
                  </a:lnTo>
                  <a:lnTo>
                    <a:pt x="4274" y="1576"/>
                  </a:lnTo>
                  <a:lnTo>
                    <a:pt x="4281" y="1565"/>
                  </a:lnTo>
                  <a:lnTo>
                    <a:pt x="4299" y="1551"/>
                  </a:lnTo>
                  <a:lnTo>
                    <a:pt x="4310" y="1543"/>
                  </a:lnTo>
                  <a:lnTo>
                    <a:pt x="4313" y="1547"/>
                  </a:lnTo>
                  <a:lnTo>
                    <a:pt x="4327" y="1551"/>
                  </a:lnTo>
                  <a:lnTo>
                    <a:pt x="4338" y="1547"/>
                  </a:lnTo>
                  <a:lnTo>
                    <a:pt x="4349" y="1543"/>
                  </a:lnTo>
                  <a:lnTo>
                    <a:pt x="4360" y="1536"/>
                  </a:lnTo>
                  <a:lnTo>
                    <a:pt x="4370" y="1526"/>
                  </a:lnTo>
                  <a:lnTo>
                    <a:pt x="4374" y="1526"/>
                  </a:lnTo>
                  <a:lnTo>
                    <a:pt x="4384" y="1529"/>
                  </a:lnTo>
                  <a:lnTo>
                    <a:pt x="4392" y="1533"/>
                  </a:lnTo>
                  <a:lnTo>
                    <a:pt x="4399" y="1540"/>
                  </a:lnTo>
                  <a:lnTo>
                    <a:pt x="4402" y="1547"/>
                  </a:lnTo>
                  <a:lnTo>
                    <a:pt x="4406" y="1561"/>
                  </a:lnTo>
                  <a:lnTo>
                    <a:pt x="4413" y="1565"/>
                  </a:lnTo>
                  <a:lnTo>
                    <a:pt x="4417" y="1568"/>
                  </a:lnTo>
                  <a:lnTo>
                    <a:pt x="4424" y="1568"/>
                  </a:lnTo>
                  <a:lnTo>
                    <a:pt x="4434" y="1568"/>
                  </a:lnTo>
                  <a:lnTo>
                    <a:pt x="4445" y="1561"/>
                  </a:lnTo>
                  <a:lnTo>
                    <a:pt x="4456" y="1547"/>
                  </a:lnTo>
                  <a:lnTo>
                    <a:pt x="4466" y="1522"/>
                  </a:lnTo>
                  <a:lnTo>
                    <a:pt x="4470" y="1519"/>
                  </a:lnTo>
                  <a:lnTo>
                    <a:pt x="4474" y="1511"/>
                  </a:lnTo>
                  <a:lnTo>
                    <a:pt x="4474" y="1504"/>
                  </a:lnTo>
                  <a:lnTo>
                    <a:pt x="4470" y="1497"/>
                  </a:lnTo>
                  <a:lnTo>
                    <a:pt x="4466" y="1490"/>
                  </a:lnTo>
                  <a:lnTo>
                    <a:pt x="4459" y="1486"/>
                  </a:lnTo>
                  <a:lnTo>
                    <a:pt x="4459" y="1479"/>
                  </a:lnTo>
                  <a:lnTo>
                    <a:pt x="4463" y="1469"/>
                  </a:lnTo>
                  <a:lnTo>
                    <a:pt x="4470" y="1458"/>
                  </a:lnTo>
                  <a:lnTo>
                    <a:pt x="4474" y="1454"/>
                  </a:lnTo>
                  <a:lnTo>
                    <a:pt x="4499" y="1426"/>
                  </a:lnTo>
                  <a:lnTo>
                    <a:pt x="4488" y="1397"/>
                  </a:lnTo>
                  <a:lnTo>
                    <a:pt x="4506" y="1362"/>
                  </a:lnTo>
                  <a:lnTo>
                    <a:pt x="4502" y="1355"/>
                  </a:lnTo>
                  <a:lnTo>
                    <a:pt x="4495" y="1347"/>
                  </a:lnTo>
                  <a:lnTo>
                    <a:pt x="4484" y="1337"/>
                  </a:lnTo>
                  <a:lnTo>
                    <a:pt x="4477" y="1330"/>
                  </a:lnTo>
                  <a:lnTo>
                    <a:pt x="4481" y="1322"/>
                  </a:lnTo>
                  <a:lnTo>
                    <a:pt x="4488" y="1315"/>
                  </a:lnTo>
                  <a:lnTo>
                    <a:pt x="4499" y="1305"/>
                  </a:lnTo>
                  <a:lnTo>
                    <a:pt x="4520" y="1290"/>
                  </a:lnTo>
                  <a:lnTo>
                    <a:pt x="4531" y="1283"/>
                  </a:lnTo>
                  <a:lnTo>
                    <a:pt x="4538" y="1265"/>
                  </a:lnTo>
                  <a:lnTo>
                    <a:pt x="4541" y="1248"/>
                  </a:lnTo>
                  <a:lnTo>
                    <a:pt x="4541" y="1226"/>
                  </a:lnTo>
                  <a:lnTo>
                    <a:pt x="4541" y="1219"/>
                  </a:lnTo>
                  <a:lnTo>
                    <a:pt x="4545" y="1216"/>
                  </a:lnTo>
                  <a:lnTo>
                    <a:pt x="4552" y="1212"/>
                  </a:lnTo>
                  <a:lnTo>
                    <a:pt x="4563" y="1212"/>
                  </a:lnTo>
                  <a:lnTo>
                    <a:pt x="4559" y="1205"/>
                  </a:lnTo>
                  <a:lnTo>
                    <a:pt x="4556" y="1198"/>
                  </a:lnTo>
                  <a:lnTo>
                    <a:pt x="4556" y="1191"/>
                  </a:lnTo>
                  <a:lnTo>
                    <a:pt x="4559" y="1183"/>
                  </a:lnTo>
                  <a:lnTo>
                    <a:pt x="4566" y="1176"/>
                  </a:lnTo>
                  <a:lnTo>
                    <a:pt x="4581" y="1173"/>
                  </a:lnTo>
                  <a:lnTo>
                    <a:pt x="4602" y="1173"/>
                  </a:lnTo>
                  <a:lnTo>
                    <a:pt x="4616" y="1155"/>
                  </a:lnTo>
                  <a:lnTo>
                    <a:pt x="4616" y="1137"/>
                  </a:lnTo>
                  <a:lnTo>
                    <a:pt x="4677" y="1109"/>
                  </a:lnTo>
                  <a:lnTo>
                    <a:pt x="4680" y="1105"/>
                  </a:lnTo>
                  <a:lnTo>
                    <a:pt x="4680" y="1091"/>
                  </a:lnTo>
                  <a:lnTo>
                    <a:pt x="4680" y="1084"/>
                  </a:lnTo>
                  <a:lnTo>
                    <a:pt x="4677" y="1077"/>
                  </a:lnTo>
                  <a:lnTo>
                    <a:pt x="4670" y="1069"/>
                  </a:lnTo>
                  <a:lnTo>
                    <a:pt x="4659" y="1066"/>
                  </a:lnTo>
                  <a:lnTo>
                    <a:pt x="4659" y="1044"/>
                  </a:lnTo>
                  <a:lnTo>
                    <a:pt x="4641" y="1041"/>
                  </a:lnTo>
                  <a:lnTo>
                    <a:pt x="4534" y="952"/>
                  </a:lnTo>
                  <a:lnTo>
                    <a:pt x="4534" y="948"/>
                  </a:lnTo>
                  <a:lnTo>
                    <a:pt x="4538" y="941"/>
                  </a:lnTo>
                  <a:lnTo>
                    <a:pt x="4541" y="941"/>
                  </a:lnTo>
                  <a:lnTo>
                    <a:pt x="4548" y="937"/>
                  </a:lnTo>
                  <a:lnTo>
                    <a:pt x="4559" y="937"/>
                  </a:lnTo>
                  <a:lnTo>
                    <a:pt x="4570" y="941"/>
                  </a:lnTo>
                  <a:lnTo>
                    <a:pt x="4577" y="930"/>
                  </a:lnTo>
                  <a:lnTo>
                    <a:pt x="4577" y="895"/>
                  </a:lnTo>
                  <a:lnTo>
                    <a:pt x="4588" y="895"/>
                  </a:lnTo>
                  <a:lnTo>
                    <a:pt x="4595" y="895"/>
                  </a:lnTo>
                  <a:lnTo>
                    <a:pt x="4605" y="891"/>
                  </a:lnTo>
                  <a:lnTo>
                    <a:pt x="4609" y="888"/>
                  </a:lnTo>
                  <a:lnTo>
                    <a:pt x="4605" y="877"/>
                  </a:lnTo>
                  <a:lnTo>
                    <a:pt x="4595" y="866"/>
                  </a:lnTo>
                  <a:lnTo>
                    <a:pt x="4573" y="845"/>
                  </a:lnTo>
                  <a:lnTo>
                    <a:pt x="4581" y="838"/>
                  </a:lnTo>
                  <a:lnTo>
                    <a:pt x="4609" y="831"/>
                  </a:lnTo>
                  <a:lnTo>
                    <a:pt x="4613" y="823"/>
                  </a:lnTo>
                  <a:lnTo>
                    <a:pt x="4613" y="813"/>
                  </a:lnTo>
                  <a:lnTo>
                    <a:pt x="4609" y="806"/>
                  </a:lnTo>
                  <a:lnTo>
                    <a:pt x="4602" y="802"/>
                  </a:lnTo>
                  <a:lnTo>
                    <a:pt x="4591" y="798"/>
                  </a:lnTo>
                  <a:lnTo>
                    <a:pt x="4573" y="802"/>
                  </a:lnTo>
                  <a:lnTo>
                    <a:pt x="4534" y="813"/>
                  </a:lnTo>
                  <a:lnTo>
                    <a:pt x="4513" y="809"/>
                  </a:lnTo>
                  <a:lnTo>
                    <a:pt x="4488" y="831"/>
                  </a:lnTo>
                  <a:lnTo>
                    <a:pt x="4438" y="855"/>
                  </a:lnTo>
                  <a:lnTo>
                    <a:pt x="4431" y="866"/>
                  </a:lnTo>
                  <a:lnTo>
                    <a:pt x="4420" y="873"/>
                  </a:lnTo>
                  <a:lnTo>
                    <a:pt x="4409" y="880"/>
                  </a:lnTo>
                  <a:lnTo>
                    <a:pt x="4395" y="884"/>
                  </a:lnTo>
                  <a:lnTo>
                    <a:pt x="4381" y="888"/>
                  </a:lnTo>
                  <a:lnTo>
                    <a:pt x="4363" y="880"/>
                  </a:lnTo>
                  <a:lnTo>
                    <a:pt x="4342" y="866"/>
                  </a:lnTo>
                  <a:lnTo>
                    <a:pt x="4306" y="834"/>
                  </a:lnTo>
                  <a:lnTo>
                    <a:pt x="4274" y="802"/>
                  </a:lnTo>
                  <a:lnTo>
                    <a:pt x="4256" y="791"/>
                  </a:lnTo>
                  <a:lnTo>
                    <a:pt x="4238" y="784"/>
                  </a:lnTo>
                  <a:lnTo>
                    <a:pt x="4220" y="784"/>
                  </a:lnTo>
                  <a:lnTo>
                    <a:pt x="4196" y="788"/>
                  </a:lnTo>
                  <a:lnTo>
                    <a:pt x="4188" y="791"/>
                  </a:lnTo>
                  <a:lnTo>
                    <a:pt x="4181" y="791"/>
                  </a:lnTo>
                  <a:lnTo>
                    <a:pt x="4171" y="791"/>
                  </a:lnTo>
                  <a:lnTo>
                    <a:pt x="4160" y="791"/>
                  </a:lnTo>
                  <a:lnTo>
                    <a:pt x="4153" y="784"/>
                  </a:lnTo>
                  <a:lnTo>
                    <a:pt x="4146" y="770"/>
                  </a:lnTo>
                  <a:lnTo>
                    <a:pt x="4142" y="749"/>
                  </a:lnTo>
                  <a:lnTo>
                    <a:pt x="4146" y="734"/>
                  </a:lnTo>
                  <a:lnTo>
                    <a:pt x="4117" y="734"/>
                  </a:lnTo>
                  <a:lnTo>
                    <a:pt x="4106" y="738"/>
                  </a:lnTo>
                  <a:lnTo>
                    <a:pt x="4099" y="741"/>
                  </a:lnTo>
                  <a:lnTo>
                    <a:pt x="4092" y="749"/>
                  </a:lnTo>
                  <a:lnTo>
                    <a:pt x="4089" y="777"/>
                  </a:lnTo>
                  <a:lnTo>
                    <a:pt x="4089" y="798"/>
                  </a:lnTo>
                  <a:lnTo>
                    <a:pt x="4078" y="795"/>
                  </a:lnTo>
                  <a:lnTo>
                    <a:pt x="4060" y="784"/>
                  </a:lnTo>
                  <a:lnTo>
                    <a:pt x="4007" y="759"/>
                  </a:lnTo>
                  <a:lnTo>
                    <a:pt x="3996" y="752"/>
                  </a:lnTo>
                  <a:lnTo>
                    <a:pt x="3999" y="731"/>
                  </a:lnTo>
                  <a:lnTo>
                    <a:pt x="3999" y="709"/>
                  </a:lnTo>
                  <a:lnTo>
                    <a:pt x="3999" y="688"/>
                  </a:lnTo>
                  <a:lnTo>
                    <a:pt x="3996" y="667"/>
                  </a:lnTo>
                  <a:lnTo>
                    <a:pt x="3992" y="659"/>
                  </a:lnTo>
                  <a:lnTo>
                    <a:pt x="3989" y="652"/>
                  </a:lnTo>
                  <a:lnTo>
                    <a:pt x="3982" y="649"/>
                  </a:lnTo>
                  <a:lnTo>
                    <a:pt x="3975" y="649"/>
                  </a:lnTo>
                  <a:lnTo>
                    <a:pt x="3964" y="652"/>
                  </a:lnTo>
                  <a:lnTo>
                    <a:pt x="3953" y="656"/>
                  </a:lnTo>
                  <a:lnTo>
                    <a:pt x="3928" y="670"/>
                  </a:lnTo>
                  <a:lnTo>
                    <a:pt x="3910" y="674"/>
                  </a:lnTo>
                  <a:lnTo>
                    <a:pt x="3893" y="677"/>
                  </a:lnTo>
                  <a:lnTo>
                    <a:pt x="3878" y="674"/>
                  </a:lnTo>
                  <a:lnTo>
                    <a:pt x="3868" y="670"/>
                  </a:lnTo>
                  <a:lnTo>
                    <a:pt x="3860" y="663"/>
                  </a:lnTo>
                  <a:lnTo>
                    <a:pt x="3857" y="659"/>
                  </a:lnTo>
                  <a:lnTo>
                    <a:pt x="3818" y="684"/>
                  </a:lnTo>
                  <a:lnTo>
                    <a:pt x="3807" y="688"/>
                  </a:lnTo>
                  <a:lnTo>
                    <a:pt x="3786" y="695"/>
                  </a:lnTo>
                  <a:lnTo>
                    <a:pt x="3768" y="706"/>
                  </a:lnTo>
                  <a:lnTo>
                    <a:pt x="3761" y="716"/>
                  </a:lnTo>
                  <a:lnTo>
                    <a:pt x="3757" y="724"/>
                  </a:lnTo>
                  <a:lnTo>
                    <a:pt x="3736" y="724"/>
                  </a:lnTo>
                  <a:lnTo>
                    <a:pt x="3714" y="720"/>
                  </a:lnTo>
                  <a:lnTo>
                    <a:pt x="3689" y="713"/>
                  </a:lnTo>
                  <a:lnTo>
                    <a:pt x="3661" y="702"/>
                  </a:lnTo>
                  <a:lnTo>
                    <a:pt x="3636" y="688"/>
                  </a:lnTo>
                  <a:lnTo>
                    <a:pt x="3625" y="677"/>
                  </a:lnTo>
                  <a:lnTo>
                    <a:pt x="3618" y="667"/>
                  </a:lnTo>
                  <a:lnTo>
                    <a:pt x="3611" y="652"/>
                  </a:lnTo>
                  <a:lnTo>
                    <a:pt x="3607" y="638"/>
                  </a:lnTo>
                  <a:lnTo>
                    <a:pt x="3604" y="631"/>
                  </a:lnTo>
                  <a:lnTo>
                    <a:pt x="3597" y="624"/>
                  </a:lnTo>
                  <a:lnTo>
                    <a:pt x="3589" y="620"/>
                  </a:lnTo>
                  <a:lnTo>
                    <a:pt x="3586" y="620"/>
                  </a:lnTo>
                  <a:lnTo>
                    <a:pt x="3579" y="620"/>
                  </a:lnTo>
                  <a:lnTo>
                    <a:pt x="3568" y="627"/>
                  </a:lnTo>
                  <a:lnTo>
                    <a:pt x="3554" y="642"/>
                  </a:lnTo>
                  <a:lnTo>
                    <a:pt x="3536" y="652"/>
                  </a:lnTo>
                  <a:lnTo>
                    <a:pt x="3522" y="656"/>
                  </a:lnTo>
                  <a:lnTo>
                    <a:pt x="3522" y="663"/>
                  </a:lnTo>
                  <a:lnTo>
                    <a:pt x="3518" y="667"/>
                  </a:lnTo>
                  <a:lnTo>
                    <a:pt x="3515" y="674"/>
                  </a:lnTo>
                  <a:lnTo>
                    <a:pt x="3508" y="677"/>
                  </a:lnTo>
                  <a:lnTo>
                    <a:pt x="3497" y="681"/>
                  </a:lnTo>
                  <a:lnTo>
                    <a:pt x="3479" y="684"/>
                  </a:lnTo>
                  <a:lnTo>
                    <a:pt x="3454" y="684"/>
                  </a:lnTo>
                  <a:lnTo>
                    <a:pt x="3433" y="716"/>
                  </a:lnTo>
                  <a:lnTo>
                    <a:pt x="3426" y="720"/>
                  </a:lnTo>
                  <a:lnTo>
                    <a:pt x="3415" y="727"/>
                  </a:lnTo>
                  <a:lnTo>
                    <a:pt x="3408" y="727"/>
                  </a:lnTo>
                  <a:lnTo>
                    <a:pt x="3401" y="724"/>
                  </a:lnTo>
                  <a:lnTo>
                    <a:pt x="3397" y="713"/>
                  </a:lnTo>
                  <a:lnTo>
                    <a:pt x="3393" y="699"/>
                  </a:lnTo>
                  <a:lnTo>
                    <a:pt x="3393" y="688"/>
                  </a:lnTo>
                  <a:lnTo>
                    <a:pt x="3390" y="667"/>
                  </a:lnTo>
                  <a:lnTo>
                    <a:pt x="3383" y="649"/>
                  </a:lnTo>
                  <a:lnTo>
                    <a:pt x="3372" y="634"/>
                  </a:lnTo>
                  <a:lnTo>
                    <a:pt x="3358" y="627"/>
                  </a:lnTo>
                  <a:lnTo>
                    <a:pt x="3344" y="627"/>
                  </a:lnTo>
                  <a:lnTo>
                    <a:pt x="3329" y="631"/>
                  </a:lnTo>
                  <a:lnTo>
                    <a:pt x="3319" y="645"/>
                  </a:lnTo>
                  <a:lnTo>
                    <a:pt x="3308" y="663"/>
                  </a:lnTo>
                  <a:lnTo>
                    <a:pt x="3315" y="677"/>
                  </a:lnTo>
                  <a:lnTo>
                    <a:pt x="3326" y="684"/>
                  </a:lnTo>
                  <a:lnTo>
                    <a:pt x="3340" y="695"/>
                  </a:lnTo>
                  <a:lnTo>
                    <a:pt x="3340" y="699"/>
                  </a:lnTo>
                  <a:lnTo>
                    <a:pt x="3336" y="709"/>
                  </a:lnTo>
                  <a:lnTo>
                    <a:pt x="3329" y="720"/>
                  </a:lnTo>
                  <a:lnTo>
                    <a:pt x="3311" y="734"/>
                  </a:lnTo>
                  <a:lnTo>
                    <a:pt x="3276" y="759"/>
                  </a:lnTo>
                  <a:lnTo>
                    <a:pt x="3262" y="770"/>
                  </a:lnTo>
                  <a:lnTo>
                    <a:pt x="3237" y="770"/>
                  </a:lnTo>
                  <a:lnTo>
                    <a:pt x="3237" y="788"/>
                  </a:lnTo>
                  <a:lnTo>
                    <a:pt x="3229" y="795"/>
                  </a:lnTo>
                  <a:lnTo>
                    <a:pt x="3212" y="802"/>
                  </a:lnTo>
                  <a:lnTo>
                    <a:pt x="3201" y="802"/>
                  </a:lnTo>
                  <a:lnTo>
                    <a:pt x="3190" y="802"/>
                  </a:lnTo>
                  <a:lnTo>
                    <a:pt x="3180" y="791"/>
                  </a:lnTo>
                  <a:lnTo>
                    <a:pt x="3169" y="777"/>
                  </a:lnTo>
                  <a:lnTo>
                    <a:pt x="3126" y="798"/>
                  </a:lnTo>
                  <a:lnTo>
                    <a:pt x="3115" y="795"/>
                  </a:lnTo>
                  <a:lnTo>
                    <a:pt x="3083" y="784"/>
                  </a:lnTo>
                  <a:lnTo>
                    <a:pt x="3048" y="777"/>
                  </a:lnTo>
                  <a:lnTo>
                    <a:pt x="3026" y="774"/>
                  </a:lnTo>
                  <a:lnTo>
                    <a:pt x="3005" y="777"/>
                  </a:lnTo>
                  <a:lnTo>
                    <a:pt x="2998" y="770"/>
                  </a:lnTo>
                  <a:lnTo>
                    <a:pt x="2980" y="756"/>
                  </a:lnTo>
                  <a:lnTo>
                    <a:pt x="2955" y="741"/>
                  </a:lnTo>
                  <a:lnTo>
                    <a:pt x="2941" y="734"/>
                  </a:lnTo>
                  <a:lnTo>
                    <a:pt x="2926" y="731"/>
                  </a:lnTo>
                  <a:lnTo>
                    <a:pt x="2909" y="727"/>
                  </a:lnTo>
                  <a:lnTo>
                    <a:pt x="2894" y="724"/>
                  </a:lnTo>
                  <a:lnTo>
                    <a:pt x="2884" y="713"/>
                  </a:lnTo>
                  <a:lnTo>
                    <a:pt x="2873" y="702"/>
                  </a:lnTo>
                  <a:lnTo>
                    <a:pt x="2866" y="692"/>
                  </a:lnTo>
                  <a:lnTo>
                    <a:pt x="2866" y="677"/>
                  </a:lnTo>
                  <a:lnTo>
                    <a:pt x="2873" y="663"/>
                  </a:lnTo>
                  <a:lnTo>
                    <a:pt x="2887" y="649"/>
                  </a:lnTo>
                  <a:lnTo>
                    <a:pt x="2901" y="638"/>
                  </a:lnTo>
                  <a:lnTo>
                    <a:pt x="2909" y="627"/>
                  </a:lnTo>
                  <a:lnTo>
                    <a:pt x="2909" y="620"/>
                  </a:lnTo>
                  <a:lnTo>
                    <a:pt x="2905" y="613"/>
                  </a:lnTo>
                  <a:lnTo>
                    <a:pt x="2898" y="610"/>
                  </a:lnTo>
                  <a:lnTo>
                    <a:pt x="2887" y="610"/>
                  </a:lnTo>
                  <a:lnTo>
                    <a:pt x="2862" y="606"/>
                  </a:lnTo>
                  <a:lnTo>
                    <a:pt x="2852" y="602"/>
                  </a:lnTo>
                  <a:lnTo>
                    <a:pt x="2844" y="599"/>
                  </a:lnTo>
                  <a:lnTo>
                    <a:pt x="2844" y="592"/>
                  </a:lnTo>
                  <a:lnTo>
                    <a:pt x="2848" y="588"/>
                  </a:lnTo>
                  <a:lnTo>
                    <a:pt x="2859" y="574"/>
                  </a:lnTo>
                  <a:lnTo>
                    <a:pt x="2877" y="560"/>
                  </a:lnTo>
                  <a:lnTo>
                    <a:pt x="2880" y="552"/>
                  </a:lnTo>
                  <a:lnTo>
                    <a:pt x="2880" y="542"/>
                  </a:lnTo>
                  <a:lnTo>
                    <a:pt x="2869" y="517"/>
                  </a:lnTo>
                  <a:lnTo>
                    <a:pt x="2859" y="492"/>
                  </a:lnTo>
                  <a:lnTo>
                    <a:pt x="2852" y="481"/>
                  </a:lnTo>
                  <a:lnTo>
                    <a:pt x="2891" y="478"/>
                  </a:lnTo>
                  <a:lnTo>
                    <a:pt x="2894" y="474"/>
                  </a:lnTo>
                  <a:lnTo>
                    <a:pt x="2898" y="470"/>
                  </a:lnTo>
                  <a:lnTo>
                    <a:pt x="2898" y="467"/>
                  </a:lnTo>
                  <a:lnTo>
                    <a:pt x="2894" y="460"/>
                  </a:lnTo>
                  <a:lnTo>
                    <a:pt x="2884" y="453"/>
                  </a:lnTo>
                  <a:lnTo>
                    <a:pt x="2873" y="446"/>
                  </a:lnTo>
                  <a:lnTo>
                    <a:pt x="2852" y="435"/>
                  </a:lnTo>
                  <a:lnTo>
                    <a:pt x="2827" y="424"/>
                  </a:lnTo>
                  <a:lnTo>
                    <a:pt x="2809" y="406"/>
                  </a:lnTo>
                  <a:lnTo>
                    <a:pt x="2795" y="389"/>
                  </a:lnTo>
                  <a:lnTo>
                    <a:pt x="2787" y="367"/>
                  </a:lnTo>
                  <a:lnTo>
                    <a:pt x="2773" y="328"/>
                  </a:lnTo>
                  <a:lnTo>
                    <a:pt x="2773" y="314"/>
                  </a:lnTo>
                  <a:lnTo>
                    <a:pt x="2759" y="307"/>
                  </a:lnTo>
                  <a:lnTo>
                    <a:pt x="2730" y="296"/>
                  </a:lnTo>
                  <a:lnTo>
                    <a:pt x="2705" y="296"/>
                  </a:lnTo>
                  <a:lnTo>
                    <a:pt x="2680" y="296"/>
                  </a:lnTo>
                  <a:lnTo>
                    <a:pt x="2648" y="299"/>
                  </a:lnTo>
                  <a:lnTo>
                    <a:pt x="2613" y="310"/>
                  </a:lnTo>
                  <a:lnTo>
                    <a:pt x="2595" y="303"/>
                  </a:lnTo>
                  <a:lnTo>
                    <a:pt x="2577" y="296"/>
                  </a:lnTo>
                  <a:lnTo>
                    <a:pt x="2566" y="285"/>
                  </a:lnTo>
                  <a:lnTo>
                    <a:pt x="2563" y="282"/>
                  </a:lnTo>
                  <a:lnTo>
                    <a:pt x="2556" y="282"/>
                  </a:lnTo>
                  <a:lnTo>
                    <a:pt x="2538" y="289"/>
                  </a:lnTo>
                  <a:lnTo>
                    <a:pt x="2520" y="303"/>
                  </a:lnTo>
                  <a:lnTo>
                    <a:pt x="2520" y="289"/>
                  </a:lnTo>
                  <a:lnTo>
                    <a:pt x="2520" y="274"/>
                  </a:lnTo>
                  <a:lnTo>
                    <a:pt x="2516" y="264"/>
                  </a:lnTo>
                  <a:lnTo>
                    <a:pt x="2509" y="253"/>
                  </a:lnTo>
                  <a:lnTo>
                    <a:pt x="2506" y="249"/>
                  </a:lnTo>
                  <a:lnTo>
                    <a:pt x="2502" y="249"/>
                  </a:lnTo>
                  <a:lnTo>
                    <a:pt x="2495" y="249"/>
                  </a:lnTo>
                  <a:lnTo>
                    <a:pt x="2488" y="253"/>
                  </a:lnTo>
                  <a:lnTo>
                    <a:pt x="2467" y="271"/>
                  </a:lnTo>
                  <a:lnTo>
                    <a:pt x="2456" y="278"/>
                  </a:lnTo>
                  <a:lnTo>
                    <a:pt x="2442" y="282"/>
                  </a:lnTo>
                  <a:lnTo>
                    <a:pt x="2424" y="285"/>
                  </a:lnTo>
                  <a:lnTo>
                    <a:pt x="2406" y="285"/>
                  </a:lnTo>
                  <a:lnTo>
                    <a:pt x="2392" y="278"/>
                  </a:lnTo>
                  <a:lnTo>
                    <a:pt x="2385" y="274"/>
                  </a:lnTo>
                  <a:lnTo>
                    <a:pt x="2377" y="267"/>
                  </a:lnTo>
                  <a:lnTo>
                    <a:pt x="2370" y="257"/>
                  </a:lnTo>
                  <a:lnTo>
                    <a:pt x="2367" y="242"/>
                  </a:lnTo>
                  <a:lnTo>
                    <a:pt x="2352" y="196"/>
                  </a:lnTo>
                  <a:lnTo>
                    <a:pt x="2342" y="175"/>
                  </a:lnTo>
                  <a:lnTo>
                    <a:pt x="2335" y="167"/>
                  </a:lnTo>
                  <a:lnTo>
                    <a:pt x="2342" y="153"/>
                  </a:lnTo>
                  <a:lnTo>
                    <a:pt x="2352" y="143"/>
                  </a:lnTo>
                  <a:lnTo>
                    <a:pt x="2356" y="128"/>
                  </a:lnTo>
                  <a:lnTo>
                    <a:pt x="2356" y="114"/>
                  </a:lnTo>
                  <a:lnTo>
                    <a:pt x="2352" y="107"/>
                  </a:lnTo>
                  <a:lnTo>
                    <a:pt x="2345" y="100"/>
                  </a:lnTo>
                  <a:lnTo>
                    <a:pt x="2335" y="93"/>
                  </a:lnTo>
                  <a:lnTo>
                    <a:pt x="2324" y="86"/>
                  </a:lnTo>
                  <a:lnTo>
                    <a:pt x="2285" y="78"/>
                  </a:lnTo>
                  <a:lnTo>
                    <a:pt x="2270" y="32"/>
                  </a:lnTo>
                  <a:lnTo>
                    <a:pt x="2238" y="0"/>
                  </a:lnTo>
                  <a:lnTo>
                    <a:pt x="2238" y="4"/>
                  </a:lnTo>
                  <a:lnTo>
                    <a:pt x="2238" y="14"/>
                  </a:lnTo>
                  <a:lnTo>
                    <a:pt x="2231" y="28"/>
                  </a:lnTo>
                  <a:lnTo>
                    <a:pt x="2213" y="46"/>
                  </a:lnTo>
                  <a:lnTo>
                    <a:pt x="2185" y="61"/>
                  </a:lnTo>
                  <a:lnTo>
                    <a:pt x="2160" y="78"/>
                  </a:lnTo>
                  <a:lnTo>
                    <a:pt x="2153" y="89"/>
                  </a:lnTo>
                  <a:lnTo>
                    <a:pt x="2142" y="100"/>
                  </a:lnTo>
                  <a:lnTo>
                    <a:pt x="2139" y="118"/>
                  </a:lnTo>
                  <a:lnTo>
                    <a:pt x="2139" y="135"/>
                  </a:lnTo>
                  <a:lnTo>
                    <a:pt x="2128" y="132"/>
                  </a:lnTo>
                  <a:lnTo>
                    <a:pt x="2117" y="132"/>
                  </a:lnTo>
                  <a:lnTo>
                    <a:pt x="2103" y="132"/>
                  </a:lnTo>
                  <a:lnTo>
                    <a:pt x="2092" y="139"/>
                  </a:lnTo>
                  <a:lnTo>
                    <a:pt x="2078" y="153"/>
                  </a:lnTo>
                  <a:lnTo>
                    <a:pt x="2071" y="178"/>
                  </a:lnTo>
                  <a:lnTo>
                    <a:pt x="2067" y="214"/>
                  </a:lnTo>
                  <a:lnTo>
                    <a:pt x="2053" y="217"/>
                  </a:lnTo>
                  <a:lnTo>
                    <a:pt x="1950" y="196"/>
                  </a:lnTo>
                  <a:lnTo>
                    <a:pt x="1950" y="217"/>
                  </a:lnTo>
                  <a:lnTo>
                    <a:pt x="2010" y="307"/>
                  </a:lnTo>
                  <a:lnTo>
                    <a:pt x="2010" y="321"/>
                  </a:lnTo>
                  <a:lnTo>
                    <a:pt x="2014" y="335"/>
                  </a:lnTo>
                  <a:lnTo>
                    <a:pt x="2017" y="349"/>
                  </a:lnTo>
                  <a:lnTo>
                    <a:pt x="2028" y="367"/>
                  </a:lnTo>
                  <a:lnTo>
                    <a:pt x="2042" y="381"/>
                  </a:lnTo>
                  <a:lnTo>
                    <a:pt x="2060" y="392"/>
                  </a:lnTo>
                  <a:lnTo>
                    <a:pt x="2085" y="399"/>
                  </a:lnTo>
                  <a:lnTo>
                    <a:pt x="2089" y="413"/>
                  </a:lnTo>
                  <a:lnTo>
                    <a:pt x="2089" y="442"/>
                  </a:lnTo>
                  <a:lnTo>
                    <a:pt x="2085" y="456"/>
                  </a:lnTo>
                  <a:lnTo>
                    <a:pt x="2078" y="470"/>
                  </a:lnTo>
                  <a:lnTo>
                    <a:pt x="2067" y="481"/>
                  </a:lnTo>
                  <a:lnTo>
                    <a:pt x="2049" y="485"/>
                  </a:lnTo>
                  <a:lnTo>
                    <a:pt x="2039" y="488"/>
                  </a:lnTo>
                  <a:lnTo>
                    <a:pt x="2032" y="492"/>
                  </a:lnTo>
                  <a:lnTo>
                    <a:pt x="2021" y="503"/>
                  </a:lnTo>
                  <a:lnTo>
                    <a:pt x="2010" y="520"/>
                  </a:lnTo>
                  <a:lnTo>
                    <a:pt x="2007" y="538"/>
                  </a:lnTo>
                  <a:lnTo>
                    <a:pt x="2000" y="570"/>
                  </a:lnTo>
                  <a:lnTo>
                    <a:pt x="2000" y="585"/>
                  </a:lnTo>
                  <a:lnTo>
                    <a:pt x="1960" y="552"/>
                  </a:lnTo>
                  <a:lnTo>
                    <a:pt x="1950" y="563"/>
                  </a:lnTo>
                  <a:lnTo>
                    <a:pt x="1946" y="592"/>
                  </a:lnTo>
                  <a:lnTo>
                    <a:pt x="1914" y="606"/>
                  </a:lnTo>
                  <a:lnTo>
                    <a:pt x="1889" y="624"/>
                  </a:lnTo>
                  <a:lnTo>
                    <a:pt x="1882" y="631"/>
                  </a:lnTo>
                  <a:lnTo>
                    <a:pt x="1878" y="642"/>
                  </a:lnTo>
                  <a:lnTo>
                    <a:pt x="1861" y="645"/>
                  </a:lnTo>
                  <a:lnTo>
                    <a:pt x="1846" y="631"/>
                  </a:lnTo>
                  <a:lnTo>
                    <a:pt x="1846" y="610"/>
                  </a:lnTo>
                  <a:lnTo>
                    <a:pt x="1846" y="595"/>
                  </a:lnTo>
                  <a:lnTo>
                    <a:pt x="1839" y="592"/>
                  </a:lnTo>
                  <a:lnTo>
                    <a:pt x="1825" y="574"/>
                  </a:lnTo>
                  <a:lnTo>
                    <a:pt x="1836" y="560"/>
                  </a:lnTo>
                  <a:lnTo>
                    <a:pt x="1846" y="542"/>
                  </a:lnTo>
                  <a:lnTo>
                    <a:pt x="1857" y="520"/>
                  </a:lnTo>
                  <a:lnTo>
                    <a:pt x="1864" y="499"/>
                  </a:lnTo>
                  <a:lnTo>
                    <a:pt x="1864" y="470"/>
                  </a:lnTo>
                  <a:lnTo>
                    <a:pt x="1864" y="456"/>
                  </a:lnTo>
                  <a:lnTo>
                    <a:pt x="1857" y="442"/>
                  </a:lnTo>
                  <a:lnTo>
                    <a:pt x="1846" y="424"/>
                  </a:lnTo>
                  <a:lnTo>
                    <a:pt x="1836" y="410"/>
                  </a:lnTo>
                  <a:lnTo>
                    <a:pt x="1821" y="417"/>
                  </a:lnTo>
                  <a:lnTo>
                    <a:pt x="1807" y="492"/>
                  </a:lnTo>
                  <a:lnTo>
                    <a:pt x="1796" y="503"/>
                  </a:lnTo>
                  <a:lnTo>
                    <a:pt x="1771" y="520"/>
                  </a:lnTo>
                  <a:lnTo>
                    <a:pt x="1764" y="535"/>
                  </a:lnTo>
                  <a:lnTo>
                    <a:pt x="1764" y="545"/>
                  </a:lnTo>
                  <a:lnTo>
                    <a:pt x="1768" y="549"/>
                  </a:lnTo>
                  <a:lnTo>
                    <a:pt x="1771" y="552"/>
                  </a:lnTo>
                  <a:lnTo>
                    <a:pt x="1793" y="556"/>
                  </a:lnTo>
                  <a:lnTo>
                    <a:pt x="1796" y="560"/>
                  </a:lnTo>
                  <a:lnTo>
                    <a:pt x="1807" y="563"/>
                  </a:lnTo>
                  <a:lnTo>
                    <a:pt x="1807" y="570"/>
                  </a:lnTo>
                  <a:lnTo>
                    <a:pt x="1803" y="574"/>
                  </a:lnTo>
                  <a:lnTo>
                    <a:pt x="1800" y="581"/>
                  </a:lnTo>
                  <a:lnTo>
                    <a:pt x="1789" y="588"/>
                  </a:lnTo>
                  <a:lnTo>
                    <a:pt x="1771" y="613"/>
                  </a:lnTo>
                  <a:lnTo>
                    <a:pt x="1764" y="627"/>
                  </a:lnTo>
                  <a:lnTo>
                    <a:pt x="1761" y="638"/>
                  </a:lnTo>
                  <a:lnTo>
                    <a:pt x="1761" y="642"/>
                  </a:lnTo>
                  <a:lnTo>
                    <a:pt x="1750" y="642"/>
                  </a:lnTo>
                  <a:lnTo>
                    <a:pt x="1721" y="617"/>
                  </a:lnTo>
                  <a:lnTo>
                    <a:pt x="1714" y="606"/>
                  </a:lnTo>
                  <a:lnTo>
                    <a:pt x="1707" y="599"/>
                  </a:lnTo>
                  <a:lnTo>
                    <a:pt x="1697" y="592"/>
                  </a:lnTo>
                  <a:lnTo>
                    <a:pt x="1686" y="592"/>
                  </a:lnTo>
                  <a:lnTo>
                    <a:pt x="1682" y="592"/>
                  </a:lnTo>
                  <a:lnTo>
                    <a:pt x="1675" y="599"/>
                  </a:lnTo>
                  <a:lnTo>
                    <a:pt x="1668" y="613"/>
                  </a:lnTo>
                  <a:lnTo>
                    <a:pt x="1661" y="645"/>
                  </a:lnTo>
                  <a:lnTo>
                    <a:pt x="1615" y="585"/>
                  </a:lnTo>
                  <a:lnTo>
                    <a:pt x="1607" y="585"/>
                  </a:lnTo>
                  <a:lnTo>
                    <a:pt x="1590" y="585"/>
                  </a:lnTo>
                  <a:lnTo>
                    <a:pt x="1579" y="588"/>
                  </a:lnTo>
                  <a:lnTo>
                    <a:pt x="1568" y="592"/>
                  </a:lnTo>
                  <a:lnTo>
                    <a:pt x="1561" y="602"/>
                  </a:lnTo>
                  <a:lnTo>
                    <a:pt x="1561" y="617"/>
                  </a:lnTo>
                  <a:lnTo>
                    <a:pt x="1565" y="638"/>
                  </a:lnTo>
                  <a:lnTo>
                    <a:pt x="1575" y="677"/>
                  </a:lnTo>
                  <a:lnTo>
                    <a:pt x="1582" y="684"/>
                  </a:lnTo>
                  <a:lnTo>
                    <a:pt x="1590" y="692"/>
                  </a:lnTo>
                  <a:lnTo>
                    <a:pt x="1597" y="699"/>
                  </a:lnTo>
                  <a:lnTo>
                    <a:pt x="1597" y="709"/>
                  </a:lnTo>
                  <a:lnTo>
                    <a:pt x="1593" y="720"/>
                  </a:lnTo>
                  <a:lnTo>
                    <a:pt x="1575" y="727"/>
                  </a:lnTo>
                  <a:lnTo>
                    <a:pt x="1547" y="734"/>
                  </a:lnTo>
                  <a:lnTo>
                    <a:pt x="1550" y="756"/>
                  </a:lnTo>
                  <a:lnTo>
                    <a:pt x="1561" y="766"/>
                  </a:lnTo>
                  <a:lnTo>
                    <a:pt x="1572" y="777"/>
                  </a:lnTo>
                  <a:lnTo>
                    <a:pt x="1582" y="791"/>
                  </a:lnTo>
                  <a:lnTo>
                    <a:pt x="1586" y="806"/>
                  </a:lnTo>
                  <a:lnTo>
                    <a:pt x="1586" y="827"/>
                  </a:lnTo>
                  <a:lnTo>
                    <a:pt x="1582" y="838"/>
                  </a:lnTo>
                  <a:lnTo>
                    <a:pt x="1579" y="848"/>
                  </a:lnTo>
                  <a:lnTo>
                    <a:pt x="1572" y="859"/>
                  </a:lnTo>
                  <a:lnTo>
                    <a:pt x="1561" y="870"/>
                  </a:lnTo>
                  <a:lnTo>
                    <a:pt x="1550" y="873"/>
                  </a:lnTo>
                  <a:lnTo>
                    <a:pt x="1533" y="880"/>
                  </a:lnTo>
                  <a:lnTo>
                    <a:pt x="1518" y="888"/>
                  </a:lnTo>
                  <a:lnTo>
                    <a:pt x="1511" y="898"/>
                  </a:lnTo>
                  <a:lnTo>
                    <a:pt x="1500" y="905"/>
                  </a:lnTo>
                  <a:lnTo>
                    <a:pt x="1497" y="920"/>
                  </a:lnTo>
                  <a:lnTo>
                    <a:pt x="1486" y="909"/>
                  </a:lnTo>
                  <a:lnTo>
                    <a:pt x="1451" y="891"/>
                  </a:lnTo>
                  <a:lnTo>
                    <a:pt x="1433" y="884"/>
                  </a:lnTo>
                  <a:lnTo>
                    <a:pt x="1411" y="877"/>
                  </a:lnTo>
                  <a:lnTo>
                    <a:pt x="1390" y="873"/>
                  </a:lnTo>
                  <a:lnTo>
                    <a:pt x="1376" y="877"/>
                  </a:lnTo>
                  <a:lnTo>
                    <a:pt x="1372" y="898"/>
                  </a:lnTo>
                  <a:lnTo>
                    <a:pt x="1372" y="916"/>
                  </a:lnTo>
                  <a:lnTo>
                    <a:pt x="1369" y="937"/>
                  </a:lnTo>
                  <a:lnTo>
                    <a:pt x="1361" y="952"/>
                  </a:lnTo>
                  <a:lnTo>
                    <a:pt x="1354" y="955"/>
                  </a:lnTo>
                  <a:lnTo>
                    <a:pt x="1351" y="955"/>
                  </a:lnTo>
                  <a:lnTo>
                    <a:pt x="1344" y="952"/>
                  </a:lnTo>
                  <a:lnTo>
                    <a:pt x="1333" y="945"/>
                  </a:lnTo>
                  <a:lnTo>
                    <a:pt x="1315" y="916"/>
                  </a:lnTo>
                  <a:lnTo>
                    <a:pt x="1297" y="895"/>
                  </a:lnTo>
                  <a:lnTo>
                    <a:pt x="1279" y="880"/>
                  </a:lnTo>
                  <a:lnTo>
                    <a:pt x="1272" y="873"/>
                  </a:lnTo>
                  <a:lnTo>
                    <a:pt x="1262" y="870"/>
                  </a:lnTo>
                  <a:lnTo>
                    <a:pt x="1258" y="852"/>
                  </a:lnTo>
                  <a:lnTo>
                    <a:pt x="1226" y="848"/>
                  </a:lnTo>
                  <a:lnTo>
                    <a:pt x="1205" y="848"/>
                  </a:lnTo>
                  <a:lnTo>
                    <a:pt x="1197" y="852"/>
                  </a:lnTo>
                  <a:lnTo>
                    <a:pt x="1190" y="855"/>
                  </a:lnTo>
                  <a:lnTo>
                    <a:pt x="1187" y="888"/>
                  </a:lnTo>
                  <a:lnTo>
                    <a:pt x="1183" y="909"/>
                  </a:lnTo>
                  <a:lnTo>
                    <a:pt x="1133" y="895"/>
                  </a:lnTo>
                  <a:lnTo>
                    <a:pt x="1140" y="888"/>
                  </a:lnTo>
                  <a:lnTo>
                    <a:pt x="1144" y="877"/>
                  </a:lnTo>
                  <a:lnTo>
                    <a:pt x="1151" y="863"/>
                  </a:lnTo>
                  <a:lnTo>
                    <a:pt x="1151" y="845"/>
                  </a:lnTo>
                  <a:lnTo>
                    <a:pt x="1151" y="827"/>
                  </a:lnTo>
                  <a:lnTo>
                    <a:pt x="1144" y="809"/>
                  </a:lnTo>
                  <a:lnTo>
                    <a:pt x="1126" y="791"/>
                  </a:lnTo>
                  <a:lnTo>
                    <a:pt x="1080" y="745"/>
                  </a:lnTo>
                  <a:lnTo>
                    <a:pt x="1069" y="734"/>
                  </a:lnTo>
                  <a:lnTo>
                    <a:pt x="1055" y="713"/>
                  </a:lnTo>
                  <a:lnTo>
                    <a:pt x="1030" y="713"/>
                  </a:lnTo>
                  <a:lnTo>
                    <a:pt x="1016" y="781"/>
                  </a:lnTo>
                  <a:lnTo>
                    <a:pt x="1016" y="791"/>
                  </a:lnTo>
                  <a:lnTo>
                    <a:pt x="1012" y="820"/>
                  </a:lnTo>
                  <a:lnTo>
                    <a:pt x="1009" y="834"/>
                  </a:lnTo>
                  <a:lnTo>
                    <a:pt x="1001" y="845"/>
                  </a:lnTo>
                  <a:lnTo>
                    <a:pt x="994" y="852"/>
                  </a:lnTo>
                  <a:lnTo>
                    <a:pt x="987" y="852"/>
                  </a:lnTo>
                  <a:lnTo>
                    <a:pt x="948" y="845"/>
                  </a:lnTo>
                  <a:lnTo>
                    <a:pt x="916" y="834"/>
                  </a:lnTo>
                  <a:lnTo>
                    <a:pt x="884" y="823"/>
                  </a:lnTo>
                  <a:lnTo>
                    <a:pt x="852" y="809"/>
                  </a:lnTo>
                  <a:lnTo>
                    <a:pt x="820" y="791"/>
                  </a:lnTo>
                  <a:lnTo>
                    <a:pt x="795" y="766"/>
                  </a:lnTo>
                  <a:lnTo>
                    <a:pt x="784" y="752"/>
                  </a:lnTo>
                  <a:lnTo>
                    <a:pt x="777" y="738"/>
                  </a:lnTo>
                  <a:lnTo>
                    <a:pt x="741" y="720"/>
                  </a:lnTo>
                  <a:lnTo>
                    <a:pt x="709" y="706"/>
                  </a:lnTo>
                  <a:lnTo>
                    <a:pt x="684" y="699"/>
                  </a:lnTo>
                  <a:lnTo>
                    <a:pt x="673" y="692"/>
                  </a:lnTo>
                  <a:lnTo>
                    <a:pt x="648" y="667"/>
                  </a:lnTo>
                  <a:lnTo>
                    <a:pt x="631" y="649"/>
                  </a:lnTo>
                  <a:lnTo>
                    <a:pt x="613" y="627"/>
                  </a:lnTo>
                  <a:lnTo>
                    <a:pt x="595" y="599"/>
                  </a:lnTo>
                  <a:lnTo>
                    <a:pt x="581" y="570"/>
                  </a:lnTo>
                  <a:lnTo>
                    <a:pt x="538" y="478"/>
                  </a:lnTo>
                  <a:lnTo>
                    <a:pt x="542" y="467"/>
                  </a:lnTo>
                  <a:lnTo>
                    <a:pt x="542" y="449"/>
                  </a:lnTo>
                  <a:lnTo>
                    <a:pt x="542" y="435"/>
                  </a:lnTo>
                  <a:lnTo>
                    <a:pt x="534" y="417"/>
                  </a:lnTo>
                  <a:lnTo>
                    <a:pt x="524" y="399"/>
                  </a:lnTo>
                  <a:lnTo>
                    <a:pt x="506" y="385"/>
                  </a:lnTo>
                  <a:lnTo>
                    <a:pt x="495" y="378"/>
                  </a:lnTo>
                  <a:lnTo>
                    <a:pt x="481" y="374"/>
                  </a:lnTo>
                  <a:lnTo>
                    <a:pt x="477" y="374"/>
                  </a:lnTo>
                  <a:lnTo>
                    <a:pt x="463" y="367"/>
                  </a:lnTo>
                  <a:lnTo>
                    <a:pt x="460" y="360"/>
                  </a:lnTo>
                  <a:lnTo>
                    <a:pt x="452" y="349"/>
                  </a:lnTo>
                  <a:lnTo>
                    <a:pt x="449" y="339"/>
                  </a:lnTo>
                  <a:lnTo>
                    <a:pt x="449" y="324"/>
                  </a:lnTo>
                  <a:lnTo>
                    <a:pt x="452" y="285"/>
                  </a:lnTo>
                  <a:lnTo>
                    <a:pt x="449" y="264"/>
                  </a:lnTo>
                  <a:lnTo>
                    <a:pt x="445" y="242"/>
                  </a:lnTo>
                  <a:lnTo>
                    <a:pt x="438" y="225"/>
                  </a:lnTo>
                  <a:lnTo>
                    <a:pt x="427" y="210"/>
                  </a:lnTo>
                  <a:lnTo>
                    <a:pt x="420" y="207"/>
                  </a:lnTo>
                  <a:lnTo>
                    <a:pt x="410" y="203"/>
                  </a:lnTo>
                  <a:lnTo>
                    <a:pt x="399" y="203"/>
                  </a:lnTo>
                  <a:lnTo>
                    <a:pt x="388" y="203"/>
                  </a:lnTo>
                  <a:lnTo>
                    <a:pt x="363" y="207"/>
                  </a:lnTo>
                  <a:lnTo>
                    <a:pt x="338" y="207"/>
                  </a:lnTo>
                  <a:lnTo>
                    <a:pt x="317" y="203"/>
                  </a:lnTo>
                  <a:lnTo>
                    <a:pt x="296" y="200"/>
                  </a:lnTo>
                  <a:lnTo>
                    <a:pt x="267" y="189"/>
                  </a:lnTo>
                  <a:lnTo>
                    <a:pt x="256" y="185"/>
                  </a:lnTo>
                  <a:lnTo>
                    <a:pt x="249" y="175"/>
                  </a:lnTo>
                  <a:lnTo>
                    <a:pt x="235" y="157"/>
                  </a:lnTo>
                  <a:lnTo>
                    <a:pt x="224" y="150"/>
                  </a:lnTo>
                  <a:lnTo>
                    <a:pt x="214" y="146"/>
                  </a:lnTo>
                  <a:lnTo>
                    <a:pt x="199" y="150"/>
                  </a:lnTo>
                  <a:lnTo>
                    <a:pt x="185" y="164"/>
                  </a:lnTo>
                  <a:lnTo>
                    <a:pt x="164" y="192"/>
                  </a:lnTo>
                  <a:lnTo>
                    <a:pt x="149" y="203"/>
                  </a:lnTo>
                  <a:lnTo>
                    <a:pt x="139" y="210"/>
                  </a:lnTo>
                  <a:lnTo>
                    <a:pt x="149" y="239"/>
                  </a:lnTo>
                  <a:lnTo>
                    <a:pt x="139" y="253"/>
                  </a:lnTo>
                  <a:lnTo>
                    <a:pt x="142" y="296"/>
                  </a:lnTo>
                  <a:lnTo>
                    <a:pt x="57" y="317"/>
                  </a:lnTo>
                  <a:lnTo>
                    <a:pt x="50" y="321"/>
                  </a:lnTo>
                  <a:lnTo>
                    <a:pt x="35" y="331"/>
                  </a:lnTo>
                  <a:lnTo>
                    <a:pt x="28" y="342"/>
                  </a:lnTo>
                  <a:lnTo>
                    <a:pt x="25" y="353"/>
                  </a:lnTo>
                  <a:lnTo>
                    <a:pt x="25" y="371"/>
                  </a:lnTo>
                  <a:lnTo>
                    <a:pt x="32" y="389"/>
                  </a:lnTo>
                  <a:lnTo>
                    <a:pt x="39" y="410"/>
                  </a:lnTo>
                  <a:lnTo>
                    <a:pt x="42" y="424"/>
                  </a:lnTo>
                  <a:lnTo>
                    <a:pt x="42" y="449"/>
                  </a:lnTo>
                  <a:lnTo>
                    <a:pt x="39" y="467"/>
                  </a:lnTo>
                  <a:lnTo>
                    <a:pt x="35" y="470"/>
                  </a:lnTo>
                  <a:lnTo>
                    <a:pt x="78" y="478"/>
                  </a:lnTo>
                  <a:lnTo>
                    <a:pt x="92" y="528"/>
                  </a:lnTo>
                  <a:lnTo>
                    <a:pt x="157" y="552"/>
                  </a:lnTo>
                  <a:lnTo>
                    <a:pt x="160" y="556"/>
                  </a:lnTo>
                  <a:lnTo>
                    <a:pt x="157" y="563"/>
                  </a:lnTo>
                  <a:lnTo>
                    <a:pt x="157" y="570"/>
                  </a:lnTo>
                  <a:lnTo>
                    <a:pt x="149" y="574"/>
                  </a:lnTo>
                  <a:lnTo>
                    <a:pt x="142" y="581"/>
                  </a:lnTo>
                  <a:lnTo>
                    <a:pt x="128" y="585"/>
                  </a:lnTo>
                  <a:lnTo>
                    <a:pt x="114" y="610"/>
                  </a:lnTo>
                  <a:lnTo>
                    <a:pt x="114" y="620"/>
                  </a:lnTo>
                  <a:lnTo>
                    <a:pt x="103" y="642"/>
                  </a:lnTo>
                  <a:lnTo>
                    <a:pt x="96" y="656"/>
                  </a:lnTo>
                  <a:lnTo>
                    <a:pt x="85" y="667"/>
                  </a:lnTo>
                  <a:lnTo>
                    <a:pt x="71" y="681"/>
                  </a:lnTo>
                  <a:lnTo>
                    <a:pt x="53" y="688"/>
                  </a:lnTo>
                  <a:lnTo>
                    <a:pt x="99" y="720"/>
                  </a:lnTo>
                  <a:lnTo>
                    <a:pt x="99" y="724"/>
                  </a:lnTo>
                  <a:lnTo>
                    <a:pt x="96" y="734"/>
                  </a:lnTo>
                  <a:lnTo>
                    <a:pt x="85" y="749"/>
                  </a:lnTo>
                  <a:lnTo>
                    <a:pt x="60" y="770"/>
                  </a:lnTo>
                  <a:lnTo>
                    <a:pt x="17" y="798"/>
                  </a:lnTo>
                  <a:lnTo>
                    <a:pt x="7" y="806"/>
                  </a:lnTo>
                  <a:lnTo>
                    <a:pt x="3" y="813"/>
                  </a:lnTo>
                  <a:lnTo>
                    <a:pt x="0" y="823"/>
                  </a:lnTo>
                  <a:lnTo>
                    <a:pt x="0" y="838"/>
                  </a:lnTo>
                  <a:lnTo>
                    <a:pt x="3" y="855"/>
                  </a:lnTo>
                  <a:lnTo>
                    <a:pt x="14" y="877"/>
                  </a:lnTo>
                  <a:lnTo>
                    <a:pt x="35" y="902"/>
                  </a:lnTo>
                  <a:lnTo>
                    <a:pt x="67" y="927"/>
                  </a:lnTo>
                  <a:lnTo>
                    <a:pt x="135" y="977"/>
                  </a:lnTo>
                  <a:lnTo>
                    <a:pt x="185" y="1009"/>
                  </a:lnTo>
                  <a:lnTo>
                    <a:pt x="224" y="1027"/>
                  </a:lnTo>
                  <a:lnTo>
                    <a:pt x="260" y="1034"/>
                  </a:lnTo>
                  <a:lnTo>
                    <a:pt x="292" y="1044"/>
                  </a:lnTo>
                  <a:lnTo>
                    <a:pt x="306" y="1052"/>
                  </a:lnTo>
                  <a:lnTo>
                    <a:pt x="320" y="1059"/>
                  </a:lnTo>
                  <a:lnTo>
                    <a:pt x="335" y="1073"/>
                  </a:lnTo>
                  <a:lnTo>
                    <a:pt x="345" y="1087"/>
                  </a:lnTo>
                  <a:lnTo>
                    <a:pt x="353" y="1109"/>
                  </a:lnTo>
                  <a:lnTo>
                    <a:pt x="360" y="1134"/>
                  </a:lnTo>
                  <a:lnTo>
                    <a:pt x="367" y="1148"/>
                  </a:lnTo>
                  <a:lnTo>
                    <a:pt x="381" y="1176"/>
                  </a:lnTo>
                  <a:lnTo>
                    <a:pt x="402" y="1208"/>
                  </a:lnTo>
                  <a:lnTo>
                    <a:pt x="417" y="1219"/>
                  </a:lnTo>
                  <a:lnTo>
                    <a:pt x="431" y="1230"/>
                  </a:lnTo>
                  <a:lnTo>
                    <a:pt x="438" y="1237"/>
                  </a:lnTo>
                  <a:lnTo>
                    <a:pt x="445" y="1255"/>
                  </a:lnTo>
                  <a:lnTo>
                    <a:pt x="449" y="1269"/>
                  </a:lnTo>
                  <a:lnTo>
                    <a:pt x="449" y="1280"/>
                  </a:lnTo>
                  <a:lnTo>
                    <a:pt x="445" y="1294"/>
                  </a:lnTo>
                  <a:lnTo>
                    <a:pt x="438" y="1308"/>
                  </a:lnTo>
                  <a:lnTo>
                    <a:pt x="481" y="1369"/>
                  </a:lnTo>
                  <a:lnTo>
                    <a:pt x="517" y="1415"/>
                  </a:lnTo>
                  <a:lnTo>
                    <a:pt x="591" y="1490"/>
                  </a:lnTo>
                  <a:lnTo>
                    <a:pt x="652" y="1536"/>
                  </a:lnTo>
                  <a:lnTo>
                    <a:pt x="652" y="1543"/>
                  </a:lnTo>
                  <a:lnTo>
                    <a:pt x="652" y="1561"/>
                  </a:lnTo>
                  <a:lnTo>
                    <a:pt x="645" y="1576"/>
                  </a:lnTo>
                  <a:lnTo>
                    <a:pt x="638" y="1586"/>
                  </a:lnTo>
                  <a:lnTo>
                    <a:pt x="624" y="1597"/>
                  </a:lnTo>
                  <a:lnTo>
                    <a:pt x="606" y="1608"/>
                  </a:lnTo>
                  <a:lnTo>
                    <a:pt x="570" y="1583"/>
                  </a:lnTo>
                  <a:lnTo>
                    <a:pt x="563" y="1583"/>
                  </a:lnTo>
                  <a:lnTo>
                    <a:pt x="559" y="1583"/>
                  </a:lnTo>
                  <a:lnTo>
                    <a:pt x="552" y="1586"/>
                  </a:lnTo>
                  <a:lnTo>
                    <a:pt x="545" y="1593"/>
                  </a:lnTo>
                  <a:lnTo>
                    <a:pt x="542" y="1604"/>
                  </a:lnTo>
                  <a:lnTo>
                    <a:pt x="538" y="1618"/>
                  </a:lnTo>
                  <a:lnTo>
                    <a:pt x="542" y="1640"/>
                  </a:lnTo>
                  <a:lnTo>
                    <a:pt x="588" y="1675"/>
                  </a:lnTo>
                  <a:lnTo>
                    <a:pt x="595" y="1722"/>
                  </a:lnTo>
                  <a:lnTo>
                    <a:pt x="602" y="1725"/>
                  </a:lnTo>
                  <a:lnTo>
                    <a:pt x="620" y="1736"/>
                  </a:lnTo>
                  <a:lnTo>
                    <a:pt x="627" y="1747"/>
                  </a:lnTo>
                  <a:lnTo>
                    <a:pt x="631" y="1757"/>
                  </a:lnTo>
                  <a:lnTo>
                    <a:pt x="634" y="1768"/>
                  </a:lnTo>
                  <a:lnTo>
                    <a:pt x="627" y="1782"/>
                  </a:lnTo>
                  <a:lnTo>
                    <a:pt x="641" y="1807"/>
                  </a:lnTo>
                  <a:lnTo>
                    <a:pt x="688" y="1846"/>
                  </a:lnTo>
                  <a:lnTo>
                    <a:pt x="691" y="1850"/>
                  </a:lnTo>
                  <a:lnTo>
                    <a:pt x="691" y="1861"/>
                  </a:lnTo>
                  <a:lnTo>
                    <a:pt x="691" y="1882"/>
                  </a:lnTo>
                  <a:lnTo>
                    <a:pt x="688" y="1896"/>
                  </a:lnTo>
                  <a:lnTo>
                    <a:pt x="681" y="1911"/>
                  </a:lnTo>
                  <a:lnTo>
                    <a:pt x="695" y="1953"/>
                  </a:lnTo>
                  <a:lnTo>
                    <a:pt x="705" y="2043"/>
                  </a:lnTo>
                  <a:lnTo>
                    <a:pt x="720" y="2128"/>
                  </a:lnTo>
                  <a:lnTo>
                    <a:pt x="755" y="2253"/>
                  </a:lnTo>
                  <a:lnTo>
                    <a:pt x="755" y="2260"/>
                  </a:lnTo>
                  <a:lnTo>
                    <a:pt x="755" y="2281"/>
                  </a:lnTo>
                  <a:lnTo>
                    <a:pt x="748" y="2321"/>
                  </a:lnTo>
                  <a:lnTo>
                    <a:pt x="741" y="2342"/>
                  </a:lnTo>
                  <a:lnTo>
                    <a:pt x="730" y="2371"/>
                  </a:lnTo>
                  <a:lnTo>
                    <a:pt x="741" y="2456"/>
                  </a:lnTo>
                  <a:lnTo>
                    <a:pt x="763" y="2570"/>
                  </a:lnTo>
                  <a:lnTo>
                    <a:pt x="770" y="2581"/>
                  </a:lnTo>
                  <a:lnTo>
                    <a:pt x="780" y="2592"/>
                  </a:lnTo>
                  <a:lnTo>
                    <a:pt x="787" y="2609"/>
                  </a:lnTo>
                  <a:lnTo>
                    <a:pt x="795" y="2631"/>
                  </a:lnTo>
                  <a:lnTo>
                    <a:pt x="798" y="2656"/>
                  </a:lnTo>
                  <a:lnTo>
                    <a:pt x="798" y="2688"/>
                  </a:lnTo>
                  <a:lnTo>
                    <a:pt x="791" y="2723"/>
                  </a:lnTo>
                  <a:lnTo>
                    <a:pt x="791" y="2748"/>
                  </a:lnTo>
                  <a:lnTo>
                    <a:pt x="791" y="2805"/>
                  </a:lnTo>
                  <a:lnTo>
                    <a:pt x="795" y="2845"/>
                  </a:lnTo>
                  <a:lnTo>
                    <a:pt x="802" y="2880"/>
                  </a:lnTo>
                  <a:lnTo>
                    <a:pt x="812" y="2916"/>
                  </a:lnTo>
                  <a:lnTo>
                    <a:pt x="827" y="2944"/>
                  </a:lnTo>
                  <a:lnTo>
                    <a:pt x="823" y="3044"/>
                  </a:lnTo>
                  <a:lnTo>
                    <a:pt x="862" y="3069"/>
                  </a:lnTo>
                  <a:lnTo>
                    <a:pt x="891" y="3126"/>
                  </a:lnTo>
                  <a:lnTo>
                    <a:pt x="916" y="3133"/>
                  </a:lnTo>
                  <a:lnTo>
                    <a:pt x="927" y="3112"/>
                  </a:lnTo>
                  <a:lnTo>
                    <a:pt x="927" y="3037"/>
                  </a:lnTo>
                  <a:lnTo>
                    <a:pt x="937" y="3030"/>
                  </a:lnTo>
                  <a:lnTo>
                    <a:pt x="944" y="3026"/>
                  </a:lnTo>
                  <a:lnTo>
                    <a:pt x="948" y="3019"/>
                  </a:lnTo>
                  <a:lnTo>
                    <a:pt x="948" y="2991"/>
                  </a:lnTo>
                  <a:lnTo>
                    <a:pt x="934" y="2948"/>
                  </a:lnTo>
                  <a:lnTo>
                    <a:pt x="980" y="2912"/>
                  </a:lnTo>
                  <a:lnTo>
                    <a:pt x="994" y="2884"/>
                  </a:lnTo>
                  <a:lnTo>
                    <a:pt x="1012" y="2823"/>
                  </a:lnTo>
                  <a:lnTo>
                    <a:pt x="1062" y="2788"/>
                  </a:lnTo>
                  <a:lnTo>
                    <a:pt x="1066" y="2841"/>
                  </a:lnTo>
                  <a:lnTo>
                    <a:pt x="1087" y="2855"/>
                  </a:lnTo>
                  <a:lnTo>
                    <a:pt x="1108" y="2866"/>
                  </a:lnTo>
                  <a:lnTo>
                    <a:pt x="1130" y="2877"/>
                  </a:lnTo>
                  <a:lnTo>
                    <a:pt x="1126" y="2916"/>
                  </a:lnTo>
                  <a:lnTo>
                    <a:pt x="1133" y="2916"/>
                  </a:lnTo>
                  <a:lnTo>
                    <a:pt x="1140" y="2916"/>
                  </a:lnTo>
                  <a:lnTo>
                    <a:pt x="1151" y="2919"/>
                  </a:lnTo>
                  <a:lnTo>
                    <a:pt x="1162" y="2927"/>
                  </a:lnTo>
                  <a:lnTo>
                    <a:pt x="1172" y="2937"/>
                  </a:lnTo>
                  <a:lnTo>
                    <a:pt x="1180" y="2955"/>
                  </a:lnTo>
                  <a:lnTo>
                    <a:pt x="1183" y="2980"/>
                  </a:lnTo>
                  <a:lnTo>
                    <a:pt x="1187" y="2991"/>
                  </a:lnTo>
                  <a:lnTo>
                    <a:pt x="1201" y="3012"/>
                  </a:lnTo>
                  <a:lnTo>
                    <a:pt x="1208" y="3023"/>
                  </a:lnTo>
                  <a:lnTo>
                    <a:pt x="1219" y="3030"/>
                  </a:lnTo>
                  <a:lnTo>
                    <a:pt x="1230" y="3037"/>
                  </a:lnTo>
                  <a:lnTo>
                    <a:pt x="1244" y="3041"/>
                  </a:lnTo>
                  <a:lnTo>
                    <a:pt x="1247" y="3048"/>
                  </a:lnTo>
                  <a:lnTo>
                    <a:pt x="1254" y="3062"/>
                  </a:lnTo>
                  <a:lnTo>
                    <a:pt x="1254" y="3073"/>
                  </a:lnTo>
                  <a:lnTo>
                    <a:pt x="1251" y="3087"/>
                  </a:lnTo>
                  <a:lnTo>
                    <a:pt x="1247" y="3101"/>
                  </a:lnTo>
                  <a:lnTo>
                    <a:pt x="1233" y="3116"/>
                  </a:lnTo>
                  <a:lnTo>
                    <a:pt x="1212" y="3144"/>
                  </a:lnTo>
                  <a:lnTo>
                    <a:pt x="1205" y="3155"/>
                  </a:lnTo>
                  <a:lnTo>
                    <a:pt x="1205" y="3165"/>
                  </a:lnTo>
                  <a:lnTo>
                    <a:pt x="1208" y="3176"/>
                  </a:lnTo>
                  <a:lnTo>
                    <a:pt x="1215" y="3190"/>
                  </a:lnTo>
                  <a:lnTo>
                    <a:pt x="1247" y="3226"/>
                  </a:lnTo>
                  <a:lnTo>
                    <a:pt x="1279" y="3258"/>
                  </a:lnTo>
                  <a:lnTo>
                    <a:pt x="1301" y="3272"/>
                  </a:lnTo>
                  <a:lnTo>
                    <a:pt x="1312" y="3276"/>
                  </a:lnTo>
                  <a:lnTo>
                    <a:pt x="1312" y="3272"/>
                  </a:lnTo>
                  <a:lnTo>
                    <a:pt x="1322" y="3297"/>
                  </a:lnTo>
                  <a:lnTo>
                    <a:pt x="1326" y="3337"/>
                  </a:lnTo>
                  <a:lnTo>
                    <a:pt x="1326" y="3344"/>
                  </a:lnTo>
                  <a:lnTo>
                    <a:pt x="1329" y="3347"/>
                  </a:lnTo>
                  <a:lnTo>
                    <a:pt x="1336" y="3351"/>
                  </a:lnTo>
                  <a:lnTo>
                    <a:pt x="1344" y="3351"/>
                  </a:lnTo>
                  <a:lnTo>
                    <a:pt x="1351" y="3347"/>
                  </a:lnTo>
                  <a:lnTo>
                    <a:pt x="1361" y="3333"/>
                  </a:lnTo>
                  <a:lnTo>
                    <a:pt x="1379" y="3312"/>
                  </a:lnTo>
                  <a:lnTo>
                    <a:pt x="1394" y="3290"/>
                  </a:lnTo>
                  <a:lnTo>
                    <a:pt x="1404" y="3280"/>
                  </a:lnTo>
                  <a:lnTo>
                    <a:pt x="1411" y="3272"/>
                  </a:lnTo>
                  <a:lnTo>
                    <a:pt x="1418" y="3276"/>
                  </a:lnTo>
                  <a:lnTo>
                    <a:pt x="1426" y="3280"/>
                  </a:lnTo>
                  <a:lnTo>
                    <a:pt x="1429" y="3287"/>
                  </a:lnTo>
                  <a:lnTo>
                    <a:pt x="1440" y="3308"/>
                  </a:lnTo>
                  <a:lnTo>
                    <a:pt x="1500" y="3258"/>
                  </a:lnTo>
                  <a:lnTo>
                    <a:pt x="1518" y="3294"/>
                  </a:lnTo>
                  <a:lnTo>
                    <a:pt x="1536" y="3329"/>
                  </a:lnTo>
                  <a:lnTo>
                    <a:pt x="1536" y="3386"/>
                  </a:lnTo>
                  <a:lnTo>
                    <a:pt x="1565" y="3383"/>
                  </a:lnTo>
                  <a:lnTo>
                    <a:pt x="1590" y="3426"/>
                  </a:lnTo>
                  <a:lnTo>
                    <a:pt x="1590" y="3458"/>
                  </a:lnTo>
                  <a:lnTo>
                    <a:pt x="1622" y="3468"/>
                  </a:lnTo>
                  <a:lnTo>
                    <a:pt x="1632" y="3476"/>
                  </a:lnTo>
                  <a:lnTo>
                    <a:pt x="1647" y="3486"/>
                  </a:lnTo>
                  <a:lnTo>
                    <a:pt x="1657" y="3501"/>
                  </a:lnTo>
                  <a:lnTo>
                    <a:pt x="1668" y="3518"/>
                  </a:lnTo>
                  <a:lnTo>
                    <a:pt x="1675" y="3540"/>
                  </a:lnTo>
                  <a:lnTo>
                    <a:pt x="1679" y="3561"/>
                  </a:lnTo>
                  <a:lnTo>
                    <a:pt x="1675" y="3572"/>
                  </a:lnTo>
                  <a:lnTo>
                    <a:pt x="1672" y="3586"/>
                  </a:lnTo>
                  <a:lnTo>
                    <a:pt x="1682" y="3586"/>
                  </a:lnTo>
                  <a:lnTo>
                    <a:pt x="1693" y="3586"/>
                  </a:lnTo>
                  <a:lnTo>
                    <a:pt x="1707" y="3590"/>
                  </a:lnTo>
                  <a:lnTo>
                    <a:pt x="1718" y="3600"/>
                  </a:lnTo>
                  <a:lnTo>
                    <a:pt x="1725" y="3615"/>
                  </a:lnTo>
                  <a:lnTo>
                    <a:pt x="1729" y="3636"/>
                  </a:lnTo>
                  <a:lnTo>
                    <a:pt x="1725" y="3668"/>
                  </a:lnTo>
                  <a:lnTo>
                    <a:pt x="1779" y="3711"/>
                  </a:lnTo>
                  <a:lnTo>
                    <a:pt x="1782" y="3736"/>
                  </a:lnTo>
                  <a:lnTo>
                    <a:pt x="1846" y="3750"/>
                  </a:lnTo>
                  <a:lnTo>
                    <a:pt x="1843" y="3818"/>
                  </a:lnTo>
                  <a:lnTo>
                    <a:pt x="1853" y="3832"/>
                  </a:lnTo>
                  <a:lnTo>
                    <a:pt x="1893" y="3800"/>
                  </a:lnTo>
                  <a:lnTo>
                    <a:pt x="1896" y="3807"/>
                  </a:lnTo>
                  <a:lnTo>
                    <a:pt x="1900" y="3828"/>
                  </a:lnTo>
                  <a:lnTo>
                    <a:pt x="1900" y="3843"/>
                  </a:lnTo>
                  <a:lnTo>
                    <a:pt x="1896" y="3857"/>
                  </a:lnTo>
                  <a:lnTo>
                    <a:pt x="1889" y="3871"/>
                  </a:lnTo>
                  <a:lnTo>
                    <a:pt x="1878" y="3882"/>
                  </a:lnTo>
                  <a:lnTo>
                    <a:pt x="1857" y="3900"/>
                  </a:lnTo>
                  <a:lnTo>
                    <a:pt x="1850" y="3907"/>
                  </a:lnTo>
                  <a:lnTo>
                    <a:pt x="1846" y="3918"/>
                  </a:lnTo>
                  <a:lnTo>
                    <a:pt x="1846" y="3921"/>
                  </a:lnTo>
                  <a:lnTo>
                    <a:pt x="1853" y="3928"/>
                  </a:lnTo>
                  <a:lnTo>
                    <a:pt x="1861" y="3935"/>
                  </a:lnTo>
                  <a:lnTo>
                    <a:pt x="1878" y="3939"/>
                  </a:lnTo>
                  <a:lnTo>
                    <a:pt x="1893" y="3943"/>
                  </a:lnTo>
                  <a:lnTo>
                    <a:pt x="1910" y="3946"/>
                  </a:lnTo>
                  <a:lnTo>
                    <a:pt x="1925" y="3950"/>
                  </a:lnTo>
                  <a:lnTo>
                    <a:pt x="1943" y="3960"/>
                  </a:lnTo>
                  <a:lnTo>
                    <a:pt x="1957" y="3975"/>
                  </a:lnTo>
                  <a:lnTo>
                    <a:pt x="1960" y="3982"/>
                  </a:lnTo>
                  <a:lnTo>
                    <a:pt x="1964" y="3992"/>
                  </a:lnTo>
                  <a:lnTo>
                    <a:pt x="1967" y="4007"/>
                  </a:lnTo>
                  <a:lnTo>
                    <a:pt x="1964" y="4017"/>
                  </a:lnTo>
                  <a:lnTo>
                    <a:pt x="1953" y="4025"/>
                  </a:lnTo>
                  <a:lnTo>
                    <a:pt x="1943" y="4028"/>
                  </a:lnTo>
                  <a:lnTo>
                    <a:pt x="1935" y="4035"/>
                  </a:lnTo>
                  <a:lnTo>
                    <a:pt x="1935" y="4039"/>
                  </a:lnTo>
                  <a:lnTo>
                    <a:pt x="1935" y="4042"/>
                  </a:lnTo>
                  <a:lnTo>
                    <a:pt x="1946" y="4057"/>
                  </a:lnTo>
                  <a:lnTo>
                    <a:pt x="1967" y="4067"/>
                  </a:lnTo>
                  <a:lnTo>
                    <a:pt x="2010" y="4082"/>
                  </a:lnTo>
                </a:path>
              </a:pathLst>
            </a:custGeom>
            <a:noFill/>
            <a:ln w="112713" cmpd="sng">
              <a:solidFill>
                <a:srgbClr val="C9CAC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 name="Freeform 9"/>
            <p:cNvSpPr>
              <a:spLocks/>
            </p:cNvSpPr>
            <p:nvPr/>
          </p:nvSpPr>
          <p:spPr bwMode="auto">
            <a:xfrm>
              <a:off x="36" y="168"/>
              <a:ext cx="2181" cy="3083"/>
            </a:xfrm>
            <a:custGeom>
              <a:avLst/>
              <a:gdLst>
                <a:gd name="T0" fmla="*/ 2053 w 2181"/>
                <a:gd name="T1" fmla="*/ 1718 h 3083"/>
                <a:gd name="T2" fmla="*/ 2003 w 2181"/>
                <a:gd name="T3" fmla="*/ 1629 h 3083"/>
                <a:gd name="T4" fmla="*/ 2028 w 2181"/>
                <a:gd name="T5" fmla="*/ 1468 h 3083"/>
                <a:gd name="T6" fmla="*/ 1800 w 2181"/>
                <a:gd name="T7" fmla="*/ 1351 h 3083"/>
                <a:gd name="T8" fmla="*/ 1650 w 2181"/>
                <a:gd name="T9" fmla="*/ 1351 h 3083"/>
                <a:gd name="T10" fmla="*/ 1479 w 2181"/>
                <a:gd name="T11" fmla="*/ 1172 h 3083"/>
                <a:gd name="T12" fmla="*/ 1518 w 2181"/>
                <a:gd name="T13" fmla="*/ 1080 h 3083"/>
                <a:gd name="T14" fmla="*/ 1333 w 2181"/>
                <a:gd name="T15" fmla="*/ 866 h 3083"/>
                <a:gd name="T16" fmla="*/ 1315 w 2181"/>
                <a:gd name="T17" fmla="*/ 770 h 3083"/>
                <a:gd name="T18" fmla="*/ 1194 w 2181"/>
                <a:gd name="T19" fmla="*/ 705 h 3083"/>
                <a:gd name="T20" fmla="*/ 1148 w 2181"/>
                <a:gd name="T21" fmla="*/ 716 h 3083"/>
                <a:gd name="T22" fmla="*/ 1026 w 2181"/>
                <a:gd name="T23" fmla="*/ 566 h 3083"/>
                <a:gd name="T24" fmla="*/ 987 w 2181"/>
                <a:gd name="T25" fmla="*/ 705 h 3083"/>
                <a:gd name="T26" fmla="*/ 773 w 2181"/>
                <a:gd name="T27" fmla="*/ 591 h 3083"/>
                <a:gd name="T28" fmla="*/ 595 w 2181"/>
                <a:gd name="T29" fmla="*/ 452 h 3083"/>
                <a:gd name="T30" fmla="*/ 524 w 2181"/>
                <a:gd name="T31" fmla="*/ 253 h 3083"/>
                <a:gd name="T32" fmla="*/ 449 w 2181"/>
                <a:gd name="T33" fmla="*/ 192 h 3083"/>
                <a:gd name="T34" fmla="*/ 410 w 2181"/>
                <a:gd name="T35" fmla="*/ 57 h 3083"/>
                <a:gd name="T36" fmla="*/ 256 w 2181"/>
                <a:gd name="T37" fmla="*/ 39 h 3083"/>
                <a:gd name="T38" fmla="*/ 164 w 2181"/>
                <a:gd name="T39" fmla="*/ 46 h 3083"/>
                <a:gd name="T40" fmla="*/ 50 w 2181"/>
                <a:gd name="T41" fmla="*/ 174 h 3083"/>
                <a:gd name="T42" fmla="*/ 42 w 2181"/>
                <a:gd name="T43" fmla="*/ 303 h 3083"/>
                <a:gd name="T44" fmla="*/ 157 w 2181"/>
                <a:gd name="T45" fmla="*/ 424 h 3083"/>
                <a:gd name="T46" fmla="*/ 85 w 2181"/>
                <a:gd name="T47" fmla="*/ 520 h 3083"/>
                <a:gd name="T48" fmla="*/ 60 w 2181"/>
                <a:gd name="T49" fmla="*/ 623 h 3083"/>
                <a:gd name="T50" fmla="*/ 35 w 2181"/>
                <a:gd name="T51" fmla="*/ 755 h 3083"/>
                <a:gd name="T52" fmla="*/ 306 w 2181"/>
                <a:gd name="T53" fmla="*/ 905 h 3083"/>
                <a:gd name="T54" fmla="*/ 402 w 2181"/>
                <a:gd name="T55" fmla="*/ 1062 h 3083"/>
                <a:gd name="T56" fmla="*/ 438 w 2181"/>
                <a:gd name="T57" fmla="*/ 1162 h 3083"/>
                <a:gd name="T58" fmla="*/ 638 w 2181"/>
                <a:gd name="T59" fmla="*/ 1440 h 3083"/>
                <a:gd name="T60" fmla="*/ 542 w 2181"/>
                <a:gd name="T61" fmla="*/ 1458 h 3083"/>
                <a:gd name="T62" fmla="*/ 631 w 2181"/>
                <a:gd name="T63" fmla="*/ 1611 h 3083"/>
                <a:gd name="T64" fmla="*/ 688 w 2181"/>
                <a:gd name="T65" fmla="*/ 1750 h 3083"/>
                <a:gd name="T66" fmla="*/ 748 w 2181"/>
                <a:gd name="T67" fmla="*/ 2174 h 3083"/>
                <a:gd name="T68" fmla="*/ 795 w 2181"/>
                <a:gd name="T69" fmla="*/ 2484 h 3083"/>
                <a:gd name="T70" fmla="*/ 809 w 2181"/>
                <a:gd name="T71" fmla="*/ 2769 h 3083"/>
                <a:gd name="T72" fmla="*/ 937 w 2181"/>
                <a:gd name="T73" fmla="*/ 2883 h 3083"/>
                <a:gd name="T74" fmla="*/ 1058 w 2181"/>
                <a:gd name="T75" fmla="*/ 2641 h 3083"/>
                <a:gd name="T76" fmla="*/ 1140 w 2181"/>
                <a:gd name="T77" fmla="*/ 2769 h 3083"/>
                <a:gd name="T78" fmla="*/ 1208 w 2181"/>
                <a:gd name="T79" fmla="*/ 2876 h 3083"/>
                <a:gd name="T80" fmla="*/ 1244 w 2181"/>
                <a:gd name="T81" fmla="*/ 2955 h 3083"/>
                <a:gd name="T82" fmla="*/ 1244 w 2181"/>
                <a:gd name="T83" fmla="*/ 3079 h 3083"/>
                <a:gd name="T84" fmla="*/ 1344 w 2181"/>
                <a:gd name="T85" fmla="*/ 3033 h 3083"/>
                <a:gd name="T86" fmla="*/ 1365 w 2181"/>
                <a:gd name="T87" fmla="*/ 2823 h 3083"/>
                <a:gd name="T88" fmla="*/ 1369 w 2181"/>
                <a:gd name="T89" fmla="*/ 2705 h 3083"/>
                <a:gd name="T90" fmla="*/ 1454 w 2181"/>
                <a:gd name="T91" fmla="*/ 2552 h 3083"/>
                <a:gd name="T92" fmla="*/ 1525 w 2181"/>
                <a:gd name="T93" fmla="*/ 2481 h 3083"/>
                <a:gd name="T94" fmla="*/ 1629 w 2181"/>
                <a:gd name="T95" fmla="*/ 2495 h 3083"/>
                <a:gd name="T96" fmla="*/ 1836 w 2181"/>
                <a:gd name="T97" fmla="*/ 2741 h 3083"/>
                <a:gd name="T98" fmla="*/ 1828 w 2181"/>
                <a:gd name="T99" fmla="*/ 2794 h 3083"/>
                <a:gd name="T100" fmla="*/ 1818 w 2181"/>
                <a:gd name="T101" fmla="*/ 2869 h 3083"/>
                <a:gd name="T102" fmla="*/ 1925 w 2181"/>
                <a:gd name="T103" fmla="*/ 2844 h 3083"/>
                <a:gd name="T104" fmla="*/ 2010 w 2181"/>
                <a:gd name="T105" fmla="*/ 2702 h 3083"/>
                <a:gd name="T106" fmla="*/ 2053 w 2181"/>
                <a:gd name="T107" fmla="*/ 2545 h 3083"/>
                <a:gd name="T108" fmla="*/ 1992 w 2181"/>
                <a:gd name="T109" fmla="*/ 2317 h 3083"/>
                <a:gd name="T110" fmla="*/ 2139 w 2181"/>
                <a:gd name="T111" fmla="*/ 2267 h 3083"/>
                <a:gd name="T112" fmla="*/ 2131 w 2181"/>
                <a:gd name="T113" fmla="*/ 2078 h 3083"/>
                <a:gd name="T114" fmla="*/ 2146 w 2181"/>
                <a:gd name="T115" fmla="*/ 1914 h 3083"/>
                <a:gd name="T116" fmla="*/ 2181 w 2181"/>
                <a:gd name="T117" fmla="*/ 1707 h 308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181"/>
                <a:gd name="T178" fmla="*/ 0 h 3083"/>
                <a:gd name="T179" fmla="*/ 2181 w 2181"/>
                <a:gd name="T180" fmla="*/ 3083 h 3083"/>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181" h="3083">
                  <a:moveTo>
                    <a:pt x="2124" y="1671"/>
                  </a:moveTo>
                  <a:lnTo>
                    <a:pt x="2124" y="1671"/>
                  </a:lnTo>
                  <a:lnTo>
                    <a:pt x="2117" y="1686"/>
                  </a:lnTo>
                  <a:lnTo>
                    <a:pt x="2106" y="1696"/>
                  </a:lnTo>
                  <a:lnTo>
                    <a:pt x="2096" y="1707"/>
                  </a:lnTo>
                  <a:lnTo>
                    <a:pt x="2082" y="1711"/>
                  </a:lnTo>
                  <a:lnTo>
                    <a:pt x="2060" y="1718"/>
                  </a:lnTo>
                  <a:lnTo>
                    <a:pt x="2053" y="1718"/>
                  </a:lnTo>
                  <a:lnTo>
                    <a:pt x="2032" y="1714"/>
                  </a:lnTo>
                  <a:lnTo>
                    <a:pt x="2014" y="1707"/>
                  </a:lnTo>
                  <a:lnTo>
                    <a:pt x="2003" y="1700"/>
                  </a:lnTo>
                  <a:lnTo>
                    <a:pt x="1992" y="1693"/>
                  </a:lnTo>
                  <a:lnTo>
                    <a:pt x="1989" y="1686"/>
                  </a:lnTo>
                  <a:lnTo>
                    <a:pt x="1989" y="1675"/>
                  </a:lnTo>
                  <a:lnTo>
                    <a:pt x="1989" y="1664"/>
                  </a:lnTo>
                  <a:lnTo>
                    <a:pt x="1992" y="1654"/>
                  </a:lnTo>
                  <a:lnTo>
                    <a:pt x="2003" y="1629"/>
                  </a:lnTo>
                  <a:lnTo>
                    <a:pt x="2017" y="1607"/>
                  </a:lnTo>
                  <a:lnTo>
                    <a:pt x="2032" y="1586"/>
                  </a:lnTo>
                  <a:lnTo>
                    <a:pt x="2042" y="1568"/>
                  </a:lnTo>
                  <a:lnTo>
                    <a:pt x="2046" y="1550"/>
                  </a:lnTo>
                  <a:lnTo>
                    <a:pt x="2046" y="1536"/>
                  </a:lnTo>
                  <a:lnTo>
                    <a:pt x="2042" y="1504"/>
                  </a:lnTo>
                  <a:lnTo>
                    <a:pt x="2035" y="1479"/>
                  </a:lnTo>
                  <a:lnTo>
                    <a:pt x="2028" y="1468"/>
                  </a:lnTo>
                  <a:lnTo>
                    <a:pt x="2010" y="1482"/>
                  </a:lnTo>
                  <a:lnTo>
                    <a:pt x="1985" y="1479"/>
                  </a:lnTo>
                  <a:lnTo>
                    <a:pt x="1946" y="1450"/>
                  </a:lnTo>
                  <a:lnTo>
                    <a:pt x="1907" y="1422"/>
                  </a:lnTo>
                  <a:lnTo>
                    <a:pt x="1853" y="1379"/>
                  </a:lnTo>
                  <a:lnTo>
                    <a:pt x="1825" y="1361"/>
                  </a:lnTo>
                  <a:lnTo>
                    <a:pt x="1800" y="1351"/>
                  </a:lnTo>
                  <a:lnTo>
                    <a:pt x="1779" y="1347"/>
                  </a:lnTo>
                  <a:lnTo>
                    <a:pt x="1761" y="1347"/>
                  </a:lnTo>
                  <a:lnTo>
                    <a:pt x="1743" y="1351"/>
                  </a:lnTo>
                  <a:lnTo>
                    <a:pt x="1732" y="1358"/>
                  </a:lnTo>
                  <a:lnTo>
                    <a:pt x="1721" y="1365"/>
                  </a:lnTo>
                  <a:lnTo>
                    <a:pt x="1693" y="1365"/>
                  </a:lnTo>
                  <a:lnTo>
                    <a:pt x="1668" y="1361"/>
                  </a:lnTo>
                  <a:lnTo>
                    <a:pt x="1650" y="1351"/>
                  </a:lnTo>
                  <a:lnTo>
                    <a:pt x="1639" y="1336"/>
                  </a:lnTo>
                  <a:lnTo>
                    <a:pt x="1632" y="1322"/>
                  </a:lnTo>
                  <a:lnTo>
                    <a:pt x="1625" y="1311"/>
                  </a:lnTo>
                  <a:lnTo>
                    <a:pt x="1625" y="1297"/>
                  </a:lnTo>
                  <a:lnTo>
                    <a:pt x="1561" y="1290"/>
                  </a:lnTo>
                  <a:lnTo>
                    <a:pt x="1518" y="1194"/>
                  </a:lnTo>
                  <a:lnTo>
                    <a:pt x="1493" y="1183"/>
                  </a:lnTo>
                  <a:lnTo>
                    <a:pt x="1479" y="1172"/>
                  </a:lnTo>
                  <a:lnTo>
                    <a:pt x="1476" y="1162"/>
                  </a:lnTo>
                  <a:lnTo>
                    <a:pt x="1476" y="1158"/>
                  </a:lnTo>
                  <a:lnTo>
                    <a:pt x="1490" y="1144"/>
                  </a:lnTo>
                  <a:lnTo>
                    <a:pt x="1500" y="1133"/>
                  </a:lnTo>
                  <a:lnTo>
                    <a:pt x="1511" y="1105"/>
                  </a:lnTo>
                  <a:lnTo>
                    <a:pt x="1518" y="1087"/>
                  </a:lnTo>
                  <a:lnTo>
                    <a:pt x="1518" y="1080"/>
                  </a:lnTo>
                  <a:lnTo>
                    <a:pt x="1508" y="1073"/>
                  </a:lnTo>
                  <a:lnTo>
                    <a:pt x="1476" y="1051"/>
                  </a:lnTo>
                  <a:lnTo>
                    <a:pt x="1433" y="1015"/>
                  </a:lnTo>
                  <a:lnTo>
                    <a:pt x="1404" y="987"/>
                  </a:lnTo>
                  <a:lnTo>
                    <a:pt x="1376" y="955"/>
                  </a:lnTo>
                  <a:lnTo>
                    <a:pt x="1354" y="919"/>
                  </a:lnTo>
                  <a:lnTo>
                    <a:pt x="1340" y="891"/>
                  </a:lnTo>
                  <a:lnTo>
                    <a:pt x="1333" y="866"/>
                  </a:lnTo>
                  <a:lnTo>
                    <a:pt x="1329" y="844"/>
                  </a:lnTo>
                  <a:lnTo>
                    <a:pt x="1329" y="827"/>
                  </a:lnTo>
                  <a:lnTo>
                    <a:pt x="1333" y="816"/>
                  </a:lnTo>
                  <a:lnTo>
                    <a:pt x="1336" y="805"/>
                  </a:lnTo>
                  <a:lnTo>
                    <a:pt x="1336" y="802"/>
                  </a:lnTo>
                  <a:lnTo>
                    <a:pt x="1326" y="791"/>
                  </a:lnTo>
                  <a:lnTo>
                    <a:pt x="1315" y="770"/>
                  </a:lnTo>
                  <a:lnTo>
                    <a:pt x="1297" y="748"/>
                  </a:lnTo>
                  <a:lnTo>
                    <a:pt x="1279" y="730"/>
                  </a:lnTo>
                  <a:lnTo>
                    <a:pt x="1269" y="727"/>
                  </a:lnTo>
                  <a:lnTo>
                    <a:pt x="1262" y="723"/>
                  </a:lnTo>
                  <a:lnTo>
                    <a:pt x="1258" y="705"/>
                  </a:lnTo>
                  <a:lnTo>
                    <a:pt x="1226" y="702"/>
                  </a:lnTo>
                  <a:lnTo>
                    <a:pt x="1205" y="702"/>
                  </a:lnTo>
                  <a:lnTo>
                    <a:pt x="1194" y="705"/>
                  </a:lnTo>
                  <a:lnTo>
                    <a:pt x="1190" y="709"/>
                  </a:lnTo>
                  <a:lnTo>
                    <a:pt x="1183" y="741"/>
                  </a:lnTo>
                  <a:lnTo>
                    <a:pt x="1183" y="762"/>
                  </a:lnTo>
                  <a:lnTo>
                    <a:pt x="1133" y="748"/>
                  </a:lnTo>
                  <a:lnTo>
                    <a:pt x="1137" y="741"/>
                  </a:lnTo>
                  <a:lnTo>
                    <a:pt x="1144" y="730"/>
                  </a:lnTo>
                  <a:lnTo>
                    <a:pt x="1148" y="716"/>
                  </a:lnTo>
                  <a:lnTo>
                    <a:pt x="1151" y="698"/>
                  </a:lnTo>
                  <a:lnTo>
                    <a:pt x="1151" y="680"/>
                  </a:lnTo>
                  <a:lnTo>
                    <a:pt x="1140" y="663"/>
                  </a:lnTo>
                  <a:lnTo>
                    <a:pt x="1126" y="645"/>
                  </a:lnTo>
                  <a:lnTo>
                    <a:pt x="1080" y="598"/>
                  </a:lnTo>
                  <a:lnTo>
                    <a:pt x="1069" y="588"/>
                  </a:lnTo>
                  <a:lnTo>
                    <a:pt x="1055" y="566"/>
                  </a:lnTo>
                  <a:lnTo>
                    <a:pt x="1026" y="566"/>
                  </a:lnTo>
                  <a:lnTo>
                    <a:pt x="1012" y="634"/>
                  </a:lnTo>
                  <a:lnTo>
                    <a:pt x="1012" y="645"/>
                  </a:lnTo>
                  <a:lnTo>
                    <a:pt x="1009" y="673"/>
                  </a:lnTo>
                  <a:lnTo>
                    <a:pt x="1009" y="688"/>
                  </a:lnTo>
                  <a:lnTo>
                    <a:pt x="1001" y="698"/>
                  </a:lnTo>
                  <a:lnTo>
                    <a:pt x="994" y="705"/>
                  </a:lnTo>
                  <a:lnTo>
                    <a:pt x="987" y="705"/>
                  </a:lnTo>
                  <a:lnTo>
                    <a:pt x="944" y="698"/>
                  </a:lnTo>
                  <a:lnTo>
                    <a:pt x="916" y="688"/>
                  </a:lnTo>
                  <a:lnTo>
                    <a:pt x="884" y="677"/>
                  </a:lnTo>
                  <a:lnTo>
                    <a:pt x="852" y="663"/>
                  </a:lnTo>
                  <a:lnTo>
                    <a:pt x="820" y="645"/>
                  </a:lnTo>
                  <a:lnTo>
                    <a:pt x="795" y="620"/>
                  </a:lnTo>
                  <a:lnTo>
                    <a:pt x="784" y="606"/>
                  </a:lnTo>
                  <a:lnTo>
                    <a:pt x="773" y="591"/>
                  </a:lnTo>
                  <a:lnTo>
                    <a:pt x="741" y="573"/>
                  </a:lnTo>
                  <a:lnTo>
                    <a:pt x="709" y="559"/>
                  </a:lnTo>
                  <a:lnTo>
                    <a:pt x="684" y="552"/>
                  </a:lnTo>
                  <a:lnTo>
                    <a:pt x="673" y="545"/>
                  </a:lnTo>
                  <a:lnTo>
                    <a:pt x="648" y="520"/>
                  </a:lnTo>
                  <a:lnTo>
                    <a:pt x="631" y="502"/>
                  </a:lnTo>
                  <a:lnTo>
                    <a:pt x="613" y="481"/>
                  </a:lnTo>
                  <a:lnTo>
                    <a:pt x="595" y="452"/>
                  </a:lnTo>
                  <a:lnTo>
                    <a:pt x="577" y="424"/>
                  </a:lnTo>
                  <a:lnTo>
                    <a:pt x="538" y="331"/>
                  </a:lnTo>
                  <a:lnTo>
                    <a:pt x="538" y="320"/>
                  </a:lnTo>
                  <a:lnTo>
                    <a:pt x="542" y="303"/>
                  </a:lnTo>
                  <a:lnTo>
                    <a:pt x="542" y="288"/>
                  </a:lnTo>
                  <a:lnTo>
                    <a:pt x="534" y="270"/>
                  </a:lnTo>
                  <a:lnTo>
                    <a:pt x="524" y="253"/>
                  </a:lnTo>
                  <a:lnTo>
                    <a:pt x="506" y="238"/>
                  </a:lnTo>
                  <a:lnTo>
                    <a:pt x="495" y="231"/>
                  </a:lnTo>
                  <a:lnTo>
                    <a:pt x="481" y="228"/>
                  </a:lnTo>
                  <a:lnTo>
                    <a:pt x="474" y="228"/>
                  </a:lnTo>
                  <a:lnTo>
                    <a:pt x="463" y="221"/>
                  </a:lnTo>
                  <a:lnTo>
                    <a:pt x="460" y="213"/>
                  </a:lnTo>
                  <a:lnTo>
                    <a:pt x="452" y="203"/>
                  </a:lnTo>
                  <a:lnTo>
                    <a:pt x="449" y="192"/>
                  </a:lnTo>
                  <a:lnTo>
                    <a:pt x="449" y="178"/>
                  </a:lnTo>
                  <a:lnTo>
                    <a:pt x="452" y="139"/>
                  </a:lnTo>
                  <a:lnTo>
                    <a:pt x="449" y="117"/>
                  </a:lnTo>
                  <a:lnTo>
                    <a:pt x="445" y="96"/>
                  </a:lnTo>
                  <a:lnTo>
                    <a:pt x="438" y="78"/>
                  </a:lnTo>
                  <a:lnTo>
                    <a:pt x="427" y="64"/>
                  </a:lnTo>
                  <a:lnTo>
                    <a:pt x="420" y="60"/>
                  </a:lnTo>
                  <a:lnTo>
                    <a:pt x="410" y="57"/>
                  </a:lnTo>
                  <a:lnTo>
                    <a:pt x="399" y="57"/>
                  </a:lnTo>
                  <a:lnTo>
                    <a:pt x="388" y="57"/>
                  </a:lnTo>
                  <a:lnTo>
                    <a:pt x="363" y="60"/>
                  </a:lnTo>
                  <a:lnTo>
                    <a:pt x="338" y="60"/>
                  </a:lnTo>
                  <a:lnTo>
                    <a:pt x="313" y="57"/>
                  </a:lnTo>
                  <a:lnTo>
                    <a:pt x="296" y="53"/>
                  </a:lnTo>
                  <a:lnTo>
                    <a:pt x="267" y="42"/>
                  </a:lnTo>
                  <a:lnTo>
                    <a:pt x="256" y="39"/>
                  </a:lnTo>
                  <a:lnTo>
                    <a:pt x="249" y="28"/>
                  </a:lnTo>
                  <a:lnTo>
                    <a:pt x="235" y="10"/>
                  </a:lnTo>
                  <a:lnTo>
                    <a:pt x="224" y="3"/>
                  </a:lnTo>
                  <a:lnTo>
                    <a:pt x="210" y="0"/>
                  </a:lnTo>
                  <a:lnTo>
                    <a:pt x="199" y="3"/>
                  </a:lnTo>
                  <a:lnTo>
                    <a:pt x="185" y="17"/>
                  </a:lnTo>
                  <a:lnTo>
                    <a:pt x="164" y="46"/>
                  </a:lnTo>
                  <a:lnTo>
                    <a:pt x="146" y="57"/>
                  </a:lnTo>
                  <a:lnTo>
                    <a:pt x="139" y="64"/>
                  </a:lnTo>
                  <a:lnTo>
                    <a:pt x="149" y="89"/>
                  </a:lnTo>
                  <a:lnTo>
                    <a:pt x="139" y="106"/>
                  </a:lnTo>
                  <a:lnTo>
                    <a:pt x="139" y="149"/>
                  </a:lnTo>
                  <a:lnTo>
                    <a:pt x="57" y="171"/>
                  </a:lnTo>
                  <a:lnTo>
                    <a:pt x="50" y="174"/>
                  </a:lnTo>
                  <a:lnTo>
                    <a:pt x="35" y="185"/>
                  </a:lnTo>
                  <a:lnTo>
                    <a:pt x="28" y="196"/>
                  </a:lnTo>
                  <a:lnTo>
                    <a:pt x="25" y="206"/>
                  </a:lnTo>
                  <a:lnTo>
                    <a:pt x="25" y="224"/>
                  </a:lnTo>
                  <a:lnTo>
                    <a:pt x="32" y="242"/>
                  </a:lnTo>
                  <a:lnTo>
                    <a:pt x="35" y="263"/>
                  </a:lnTo>
                  <a:lnTo>
                    <a:pt x="42" y="278"/>
                  </a:lnTo>
                  <a:lnTo>
                    <a:pt x="42" y="303"/>
                  </a:lnTo>
                  <a:lnTo>
                    <a:pt x="39" y="320"/>
                  </a:lnTo>
                  <a:lnTo>
                    <a:pt x="35" y="324"/>
                  </a:lnTo>
                  <a:lnTo>
                    <a:pt x="78" y="327"/>
                  </a:lnTo>
                  <a:lnTo>
                    <a:pt x="92" y="381"/>
                  </a:lnTo>
                  <a:lnTo>
                    <a:pt x="157" y="406"/>
                  </a:lnTo>
                  <a:lnTo>
                    <a:pt x="157" y="409"/>
                  </a:lnTo>
                  <a:lnTo>
                    <a:pt x="157" y="417"/>
                  </a:lnTo>
                  <a:lnTo>
                    <a:pt x="157" y="424"/>
                  </a:lnTo>
                  <a:lnTo>
                    <a:pt x="149" y="427"/>
                  </a:lnTo>
                  <a:lnTo>
                    <a:pt x="142" y="434"/>
                  </a:lnTo>
                  <a:lnTo>
                    <a:pt x="128" y="438"/>
                  </a:lnTo>
                  <a:lnTo>
                    <a:pt x="114" y="463"/>
                  </a:lnTo>
                  <a:lnTo>
                    <a:pt x="114" y="474"/>
                  </a:lnTo>
                  <a:lnTo>
                    <a:pt x="103" y="495"/>
                  </a:lnTo>
                  <a:lnTo>
                    <a:pt x="96" y="509"/>
                  </a:lnTo>
                  <a:lnTo>
                    <a:pt x="85" y="520"/>
                  </a:lnTo>
                  <a:lnTo>
                    <a:pt x="71" y="534"/>
                  </a:lnTo>
                  <a:lnTo>
                    <a:pt x="53" y="541"/>
                  </a:lnTo>
                  <a:lnTo>
                    <a:pt x="96" y="573"/>
                  </a:lnTo>
                  <a:lnTo>
                    <a:pt x="99" y="577"/>
                  </a:lnTo>
                  <a:lnTo>
                    <a:pt x="96" y="588"/>
                  </a:lnTo>
                  <a:lnTo>
                    <a:pt x="85" y="602"/>
                  </a:lnTo>
                  <a:lnTo>
                    <a:pt x="60" y="623"/>
                  </a:lnTo>
                  <a:lnTo>
                    <a:pt x="17" y="652"/>
                  </a:lnTo>
                  <a:lnTo>
                    <a:pt x="7" y="659"/>
                  </a:lnTo>
                  <a:lnTo>
                    <a:pt x="3" y="666"/>
                  </a:lnTo>
                  <a:lnTo>
                    <a:pt x="0" y="677"/>
                  </a:lnTo>
                  <a:lnTo>
                    <a:pt x="0" y="691"/>
                  </a:lnTo>
                  <a:lnTo>
                    <a:pt x="3" y="709"/>
                  </a:lnTo>
                  <a:lnTo>
                    <a:pt x="14" y="730"/>
                  </a:lnTo>
                  <a:lnTo>
                    <a:pt x="35" y="755"/>
                  </a:lnTo>
                  <a:lnTo>
                    <a:pt x="67" y="780"/>
                  </a:lnTo>
                  <a:lnTo>
                    <a:pt x="135" y="830"/>
                  </a:lnTo>
                  <a:lnTo>
                    <a:pt x="185" y="862"/>
                  </a:lnTo>
                  <a:lnTo>
                    <a:pt x="224" y="880"/>
                  </a:lnTo>
                  <a:lnTo>
                    <a:pt x="256" y="887"/>
                  </a:lnTo>
                  <a:lnTo>
                    <a:pt x="288" y="898"/>
                  </a:lnTo>
                  <a:lnTo>
                    <a:pt x="306" y="905"/>
                  </a:lnTo>
                  <a:lnTo>
                    <a:pt x="320" y="912"/>
                  </a:lnTo>
                  <a:lnTo>
                    <a:pt x="331" y="926"/>
                  </a:lnTo>
                  <a:lnTo>
                    <a:pt x="345" y="941"/>
                  </a:lnTo>
                  <a:lnTo>
                    <a:pt x="353" y="962"/>
                  </a:lnTo>
                  <a:lnTo>
                    <a:pt x="360" y="987"/>
                  </a:lnTo>
                  <a:lnTo>
                    <a:pt x="363" y="1001"/>
                  </a:lnTo>
                  <a:lnTo>
                    <a:pt x="381" y="1030"/>
                  </a:lnTo>
                  <a:lnTo>
                    <a:pt x="402" y="1062"/>
                  </a:lnTo>
                  <a:lnTo>
                    <a:pt x="417" y="1073"/>
                  </a:lnTo>
                  <a:lnTo>
                    <a:pt x="431" y="1083"/>
                  </a:lnTo>
                  <a:lnTo>
                    <a:pt x="435" y="1090"/>
                  </a:lnTo>
                  <a:lnTo>
                    <a:pt x="445" y="1108"/>
                  </a:lnTo>
                  <a:lnTo>
                    <a:pt x="445" y="1119"/>
                  </a:lnTo>
                  <a:lnTo>
                    <a:pt x="445" y="1133"/>
                  </a:lnTo>
                  <a:lnTo>
                    <a:pt x="445" y="1147"/>
                  </a:lnTo>
                  <a:lnTo>
                    <a:pt x="438" y="1162"/>
                  </a:lnTo>
                  <a:lnTo>
                    <a:pt x="481" y="1222"/>
                  </a:lnTo>
                  <a:lnTo>
                    <a:pt x="517" y="1269"/>
                  </a:lnTo>
                  <a:lnTo>
                    <a:pt x="591" y="1343"/>
                  </a:lnTo>
                  <a:lnTo>
                    <a:pt x="652" y="1390"/>
                  </a:lnTo>
                  <a:lnTo>
                    <a:pt x="652" y="1397"/>
                  </a:lnTo>
                  <a:lnTo>
                    <a:pt x="648" y="1415"/>
                  </a:lnTo>
                  <a:lnTo>
                    <a:pt x="645" y="1429"/>
                  </a:lnTo>
                  <a:lnTo>
                    <a:pt x="638" y="1440"/>
                  </a:lnTo>
                  <a:lnTo>
                    <a:pt x="624" y="1450"/>
                  </a:lnTo>
                  <a:lnTo>
                    <a:pt x="606" y="1461"/>
                  </a:lnTo>
                  <a:lnTo>
                    <a:pt x="570" y="1436"/>
                  </a:lnTo>
                  <a:lnTo>
                    <a:pt x="563" y="1436"/>
                  </a:lnTo>
                  <a:lnTo>
                    <a:pt x="556" y="1436"/>
                  </a:lnTo>
                  <a:lnTo>
                    <a:pt x="552" y="1440"/>
                  </a:lnTo>
                  <a:lnTo>
                    <a:pt x="545" y="1447"/>
                  </a:lnTo>
                  <a:lnTo>
                    <a:pt x="542" y="1458"/>
                  </a:lnTo>
                  <a:lnTo>
                    <a:pt x="538" y="1472"/>
                  </a:lnTo>
                  <a:lnTo>
                    <a:pt x="542" y="1493"/>
                  </a:lnTo>
                  <a:lnTo>
                    <a:pt x="588" y="1529"/>
                  </a:lnTo>
                  <a:lnTo>
                    <a:pt x="595" y="1575"/>
                  </a:lnTo>
                  <a:lnTo>
                    <a:pt x="602" y="1579"/>
                  </a:lnTo>
                  <a:lnTo>
                    <a:pt x="620" y="1589"/>
                  </a:lnTo>
                  <a:lnTo>
                    <a:pt x="627" y="1600"/>
                  </a:lnTo>
                  <a:lnTo>
                    <a:pt x="631" y="1611"/>
                  </a:lnTo>
                  <a:lnTo>
                    <a:pt x="631" y="1621"/>
                  </a:lnTo>
                  <a:lnTo>
                    <a:pt x="627" y="1636"/>
                  </a:lnTo>
                  <a:lnTo>
                    <a:pt x="638" y="1661"/>
                  </a:lnTo>
                  <a:lnTo>
                    <a:pt x="688" y="1700"/>
                  </a:lnTo>
                  <a:lnTo>
                    <a:pt x="688" y="1703"/>
                  </a:lnTo>
                  <a:lnTo>
                    <a:pt x="691" y="1714"/>
                  </a:lnTo>
                  <a:lnTo>
                    <a:pt x="691" y="1736"/>
                  </a:lnTo>
                  <a:lnTo>
                    <a:pt x="688" y="1750"/>
                  </a:lnTo>
                  <a:lnTo>
                    <a:pt x="677" y="1764"/>
                  </a:lnTo>
                  <a:lnTo>
                    <a:pt x="695" y="1807"/>
                  </a:lnTo>
                  <a:lnTo>
                    <a:pt x="702" y="1896"/>
                  </a:lnTo>
                  <a:lnTo>
                    <a:pt x="720" y="1978"/>
                  </a:lnTo>
                  <a:lnTo>
                    <a:pt x="755" y="2106"/>
                  </a:lnTo>
                  <a:lnTo>
                    <a:pt x="755" y="2113"/>
                  </a:lnTo>
                  <a:lnTo>
                    <a:pt x="755" y="2135"/>
                  </a:lnTo>
                  <a:lnTo>
                    <a:pt x="748" y="2174"/>
                  </a:lnTo>
                  <a:lnTo>
                    <a:pt x="741" y="2195"/>
                  </a:lnTo>
                  <a:lnTo>
                    <a:pt x="727" y="2224"/>
                  </a:lnTo>
                  <a:lnTo>
                    <a:pt x="741" y="2309"/>
                  </a:lnTo>
                  <a:lnTo>
                    <a:pt x="763" y="2424"/>
                  </a:lnTo>
                  <a:lnTo>
                    <a:pt x="770" y="2434"/>
                  </a:lnTo>
                  <a:lnTo>
                    <a:pt x="777" y="2445"/>
                  </a:lnTo>
                  <a:lnTo>
                    <a:pt x="787" y="2463"/>
                  </a:lnTo>
                  <a:lnTo>
                    <a:pt x="795" y="2484"/>
                  </a:lnTo>
                  <a:lnTo>
                    <a:pt x="798" y="2509"/>
                  </a:lnTo>
                  <a:lnTo>
                    <a:pt x="798" y="2541"/>
                  </a:lnTo>
                  <a:lnTo>
                    <a:pt x="791" y="2577"/>
                  </a:lnTo>
                  <a:lnTo>
                    <a:pt x="787" y="2602"/>
                  </a:lnTo>
                  <a:lnTo>
                    <a:pt x="787" y="2659"/>
                  </a:lnTo>
                  <a:lnTo>
                    <a:pt x="791" y="2698"/>
                  </a:lnTo>
                  <a:lnTo>
                    <a:pt x="798" y="2734"/>
                  </a:lnTo>
                  <a:lnTo>
                    <a:pt x="809" y="2769"/>
                  </a:lnTo>
                  <a:lnTo>
                    <a:pt x="827" y="2798"/>
                  </a:lnTo>
                  <a:lnTo>
                    <a:pt x="823" y="2898"/>
                  </a:lnTo>
                  <a:lnTo>
                    <a:pt x="859" y="2923"/>
                  </a:lnTo>
                  <a:lnTo>
                    <a:pt x="891" y="2980"/>
                  </a:lnTo>
                  <a:lnTo>
                    <a:pt x="916" y="2987"/>
                  </a:lnTo>
                  <a:lnTo>
                    <a:pt x="923" y="2965"/>
                  </a:lnTo>
                  <a:lnTo>
                    <a:pt x="923" y="2891"/>
                  </a:lnTo>
                  <a:lnTo>
                    <a:pt x="937" y="2883"/>
                  </a:lnTo>
                  <a:lnTo>
                    <a:pt x="944" y="2880"/>
                  </a:lnTo>
                  <a:lnTo>
                    <a:pt x="948" y="2873"/>
                  </a:lnTo>
                  <a:lnTo>
                    <a:pt x="948" y="2844"/>
                  </a:lnTo>
                  <a:lnTo>
                    <a:pt x="934" y="2801"/>
                  </a:lnTo>
                  <a:lnTo>
                    <a:pt x="980" y="2766"/>
                  </a:lnTo>
                  <a:lnTo>
                    <a:pt x="994" y="2737"/>
                  </a:lnTo>
                  <a:lnTo>
                    <a:pt x="1012" y="2677"/>
                  </a:lnTo>
                  <a:lnTo>
                    <a:pt x="1058" y="2641"/>
                  </a:lnTo>
                  <a:lnTo>
                    <a:pt x="1066" y="2694"/>
                  </a:lnTo>
                  <a:lnTo>
                    <a:pt x="1087" y="2709"/>
                  </a:lnTo>
                  <a:lnTo>
                    <a:pt x="1108" y="2719"/>
                  </a:lnTo>
                  <a:lnTo>
                    <a:pt x="1130" y="2730"/>
                  </a:lnTo>
                  <a:lnTo>
                    <a:pt x="1123" y="2769"/>
                  </a:lnTo>
                  <a:lnTo>
                    <a:pt x="1133" y="2769"/>
                  </a:lnTo>
                  <a:lnTo>
                    <a:pt x="1140" y="2769"/>
                  </a:lnTo>
                  <a:lnTo>
                    <a:pt x="1151" y="2773"/>
                  </a:lnTo>
                  <a:lnTo>
                    <a:pt x="1162" y="2780"/>
                  </a:lnTo>
                  <a:lnTo>
                    <a:pt x="1169" y="2791"/>
                  </a:lnTo>
                  <a:lnTo>
                    <a:pt x="1180" y="2809"/>
                  </a:lnTo>
                  <a:lnTo>
                    <a:pt x="1183" y="2834"/>
                  </a:lnTo>
                  <a:lnTo>
                    <a:pt x="1187" y="2844"/>
                  </a:lnTo>
                  <a:lnTo>
                    <a:pt x="1201" y="2866"/>
                  </a:lnTo>
                  <a:lnTo>
                    <a:pt x="1208" y="2876"/>
                  </a:lnTo>
                  <a:lnTo>
                    <a:pt x="1219" y="2883"/>
                  </a:lnTo>
                  <a:lnTo>
                    <a:pt x="1230" y="2891"/>
                  </a:lnTo>
                  <a:lnTo>
                    <a:pt x="1244" y="2894"/>
                  </a:lnTo>
                  <a:lnTo>
                    <a:pt x="1247" y="2901"/>
                  </a:lnTo>
                  <a:lnTo>
                    <a:pt x="1254" y="2915"/>
                  </a:lnTo>
                  <a:lnTo>
                    <a:pt x="1254" y="2926"/>
                  </a:lnTo>
                  <a:lnTo>
                    <a:pt x="1251" y="2940"/>
                  </a:lnTo>
                  <a:lnTo>
                    <a:pt x="1244" y="2955"/>
                  </a:lnTo>
                  <a:lnTo>
                    <a:pt x="1233" y="2969"/>
                  </a:lnTo>
                  <a:lnTo>
                    <a:pt x="1212" y="2997"/>
                  </a:lnTo>
                  <a:lnTo>
                    <a:pt x="1205" y="3008"/>
                  </a:lnTo>
                  <a:lnTo>
                    <a:pt x="1205" y="3019"/>
                  </a:lnTo>
                  <a:lnTo>
                    <a:pt x="1205" y="3030"/>
                  </a:lnTo>
                  <a:lnTo>
                    <a:pt x="1215" y="3044"/>
                  </a:lnTo>
                  <a:lnTo>
                    <a:pt x="1244" y="3079"/>
                  </a:lnTo>
                  <a:lnTo>
                    <a:pt x="1247" y="3083"/>
                  </a:lnTo>
                  <a:lnTo>
                    <a:pt x="1265" y="3072"/>
                  </a:lnTo>
                  <a:lnTo>
                    <a:pt x="1279" y="3065"/>
                  </a:lnTo>
                  <a:lnTo>
                    <a:pt x="1301" y="3062"/>
                  </a:lnTo>
                  <a:lnTo>
                    <a:pt x="1326" y="3055"/>
                  </a:lnTo>
                  <a:lnTo>
                    <a:pt x="1336" y="3044"/>
                  </a:lnTo>
                  <a:lnTo>
                    <a:pt x="1344" y="3033"/>
                  </a:lnTo>
                  <a:lnTo>
                    <a:pt x="1344" y="3030"/>
                  </a:lnTo>
                  <a:lnTo>
                    <a:pt x="1333" y="2990"/>
                  </a:lnTo>
                  <a:lnTo>
                    <a:pt x="1329" y="2951"/>
                  </a:lnTo>
                  <a:lnTo>
                    <a:pt x="1333" y="2915"/>
                  </a:lnTo>
                  <a:lnTo>
                    <a:pt x="1336" y="2883"/>
                  </a:lnTo>
                  <a:lnTo>
                    <a:pt x="1347" y="2858"/>
                  </a:lnTo>
                  <a:lnTo>
                    <a:pt x="1354" y="2837"/>
                  </a:lnTo>
                  <a:lnTo>
                    <a:pt x="1365" y="2823"/>
                  </a:lnTo>
                  <a:lnTo>
                    <a:pt x="1376" y="2805"/>
                  </a:lnTo>
                  <a:lnTo>
                    <a:pt x="1379" y="2787"/>
                  </a:lnTo>
                  <a:lnTo>
                    <a:pt x="1379" y="2769"/>
                  </a:lnTo>
                  <a:lnTo>
                    <a:pt x="1376" y="2752"/>
                  </a:lnTo>
                  <a:lnTo>
                    <a:pt x="1365" y="2723"/>
                  </a:lnTo>
                  <a:lnTo>
                    <a:pt x="1361" y="2712"/>
                  </a:lnTo>
                  <a:lnTo>
                    <a:pt x="1369" y="2705"/>
                  </a:lnTo>
                  <a:lnTo>
                    <a:pt x="1376" y="2698"/>
                  </a:lnTo>
                  <a:lnTo>
                    <a:pt x="1390" y="2680"/>
                  </a:lnTo>
                  <a:lnTo>
                    <a:pt x="1401" y="2655"/>
                  </a:lnTo>
                  <a:lnTo>
                    <a:pt x="1401" y="2620"/>
                  </a:lnTo>
                  <a:lnTo>
                    <a:pt x="1411" y="2595"/>
                  </a:lnTo>
                  <a:lnTo>
                    <a:pt x="1426" y="2573"/>
                  </a:lnTo>
                  <a:lnTo>
                    <a:pt x="1440" y="2559"/>
                  </a:lnTo>
                  <a:lnTo>
                    <a:pt x="1454" y="2552"/>
                  </a:lnTo>
                  <a:lnTo>
                    <a:pt x="1468" y="2545"/>
                  </a:lnTo>
                  <a:lnTo>
                    <a:pt x="1483" y="2541"/>
                  </a:lnTo>
                  <a:lnTo>
                    <a:pt x="1500" y="2548"/>
                  </a:lnTo>
                  <a:lnTo>
                    <a:pt x="1518" y="2534"/>
                  </a:lnTo>
                  <a:lnTo>
                    <a:pt x="1515" y="2509"/>
                  </a:lnTo>
                  <a:lnTo>
                    <a:pt x="1515" y="2491"/>
                  </a:lnTo>
                  <a:lnTo>
                    <a:pt x="1518" y="2484"/>
                  </a:lnTo>
                  <a:lnTo>
                    <a:pt x="1525" y="2481"/>
                  </a:lnTo>
                  <a:lnTo>
                    <a:pt x="1533" y="2481"/>
                  </a:lnTo>
                  <a:lnTo>
                    <a:pt x="1540" y="2484"/>
                  </a:lnTo>
                  <a:lnTo>
                    <a:pt x="1547" y="2488"/>
                  </a:lnTo>
                  <a:lnTo>
                    <a:pt x="1568" y="2498"/>
                  </a:lnTo>
                  <a:lnTo>
                    <a:pt x="1586" y="2488"/>
                  </a:lnTo>
                  <a:lnTo>
                    <a:pt x="1604" y="2484"/>
                  </a:lnTo>
                  <a:lnTo>
                    <a:pt x="1618" y="2488"/>
                  </a:lnTo>
                  <a:lnTo>
                    <a:pt x="1629" y="2495"/>
                  </a:lnTo>
                  <a:lnTo>
                    <a:pt x="1639" y="2509"/>
                  </a:lnTo>
                  <a:lnTo>
                    <a:pt x="1650" y="2523"/>
                  </a:lnTo>
                  <a:lnTo>
                    <a:pt x="1661" y="2559"/>
                  </a:lnTo>
                  <a:lnTo>
                    <a:pt x="1668" y="2602"/>
                  </a:lnTo>
                  <a:lnTo>
                    <a:pt x="1672" y="2637"/>
                  </a:lnTo>
                  <a:lnTo>
                    <a:pt x="1675" y="2677"/>
                  </a:lnTo>
                  <a:lnTo>
                    <a:pt x="1682" y="2691"/>
                  </a:lnTo>
                  <a:lnTo>
                    <a:pt x="1711" y="2712"/>
                  </a:lnTo>
                  <a:lnTo>
                    <a:pt x="1836" y="2741"/>
                  </a:lnTo>
                  <a:lnTo>
                    <a:pt x="1853" y="2755"/>
                  </a:lnTo>
                  <a:lnTo>
                    <a:pt x="1861" y="2769"/>
                  </a:lnTo>
                  <a:lnTo>
                    <a:pt x="1864" y="2780"/>
                  </a:lnTo>
                  <a:lnTo>
                    <a:pt x="1864" y="2791"/>
                  </a:lnTo>
                  <a:lnTo>
                    <a:pt x="1857" y="2798"/>
                  </a:lnTo>
                  <a:lnTo>
                    <a:pt x="1850" y="2801"/>
                  </a:lnTo>
                  <a:lnTo>
                    <a:pt x="1839" y="2798"/>
                  </a:lnTo>
                  <a:lnTo>
                    <a:pt x="1828" y="2794"/>
                  </a:lnTo>
                  <a:lnTo>
                    <a:pt x="1818" y="2791"/>
                  </a:lnTo>
                  <a:lnTo>
                    <a:pt x="1807" y="2791"/>
                  </a:lnTo>
                  <a:lnTo>
                    <a:pt x="1800" y="2798"/>
                  </a:lnTo>
                  <a:lnTo>
                    <a:pt x="1796" y="2809"/>
                  </a:lnTo>
                  <a:lnTo>
                    <a:pt x="1793" y="2823"/>
                  </a:lnTo>
                  <a:lnTo>
                    <a:pt x="1796" y="2837"/>
                  </a:lnTo>
                  <a:lnTo>
                    <a:pt x="1803" y="2851"/>
                  </a:lnTo>
                  <a:lnTo>
                    <a:pt x="1818" y="2869"/>
                  </a:lnTo>
                  <a:lnTo>
                    <a:pt x="1825" y="2876"/>
                  </a:lnTo>
                  <a:lnTo>
                    <a:pt x="1832" y="2880"/>
                  </a:lnTo>
                  <a:lnTo>
                    <a:pt x="1850" y="2883"/>
                  </a:lnTo>
                  <a:lnTo>
                    <a:pt x="1871" y="2880"/>
                  </a:lnTo>
                  <a:lnTo>
                    <a:pt x="1889" y="2873"/>
                  </a:lnTo>
                  <a:lnTo>
                    <a:pt x="1914" y="2855"/>
                  </a:lnTo>
                  <a:lnTo>
                    <a:pt x="1925" y="2844"/>
                  </a:lnTo>
                  <a:lnTo>
                    <a:pt x="1928" y="2819"/>
                  </a:lnTo>
                  <a:lnTo>
                    <a:pt x="1932" y="2798"/>
                  </a:lnTo>
                  <a:lnTo>
                    <a:pt x="1943" y="2766"/>
                  </a:lnTo>
                  <a:lnTo>
                    <a:pt x="1953" y="2744"/>
                  </a:lnTo>
                  <a:lnTo>
                    <a:pt x="1957" y="2741"/>
                  </a:lnTo>
                  <a:lnTo>
                    <a:pt x="1978" y="2730"/>
                  </a:lnTo>
                  <a:lnTo>
                    <a:pt x="1996" y="2716"/>
                  </a:lnTo>
                  <a:lnTo>
                    <a:pt x="2010" y="2702"/>
                  </a:lnTo>
                  <a:lnTo>
                    <a:pt x="2017" y="2687"/>
                  </a:lnTo>
                  <a:lnTo>
                    <a:pt x="2032" y="2662"/>
                  </a:lnTo>
                  <a:lnTo>
                    <a:pt x="2035" y="2652"/>
                  </a:lnTo>
                  <a:lnTo>
                    <a:pt x="2032" y="2616"/>
                  </a:lnTo>
                  <a:lnTo>
                    <a:pt x="2032" y="2591"/>
                  </a:lnTo>
                  <a:lnTo>
                    <a:pt x="2039" y="2570"/>
                  </a:lnTo>
                  <a:lnTo>
                    <a:pt x="2046" y="2555"/>
                  </a:lnTo>
                  <a:lnTo>
                    <a:pt x="2053" y="2545"/>
                  </a:lnTo>
                  <a:lnTo>
                    <a:pt x="2060" y="2538"/>
                  </a:lnTo>
                  <a:lnTo>
                    <a:pt x="2067" y="2534"/>
                  </a:lnTo>
                  <a:lnTo>
                    <a:pt x="2082" y="2498"/>
                  </a:lnTo>
                  <a:lnTo>
                    <a:pt x="2064" y="2456"/>
                  </a:lnTo>
                  <a:lnTo>
                    <a:pt x="2035" y="2391"/>
                  </a:lnTo>
                  <a:lnTo>
                    <a:pt x="2000" y="2363"/>
                  </a:lnTo>
                  <a:lnTo>
                    <a:pt x="1996" y="2334"/>
                  </a:lnTo>
                  <a:lnTo>
                    <a:pt x="1992" y="2317"/>
                  </a:lnTo>
                  <a:lnTo>
                    <a:pt x="1992" y="2302"/>
                  </a:lnTo>
                  <a:lnTo>
                    <a:pt x="2000" y="2292"/>
                  </a:lnTo>
                  <a:lnTo>
                    <a:pt x="2010" y="2285"/>
                  </a:lnTo>
                  <a:lnTo>
                    <a:pt x="2028" y="2281"/>
                  </a:lnTo>
                  <a:lnTo>
                    <a:pt x="2082" y="2285"/>
                  </a:lnTo>
                  <a:lnTo>
                    <a:pt x="2110" y="2285"/>
                  </a:lnTo>
                  <a:lnTo>
                    <a:pt x="2128" y="2277"/>
                  </a:lnTo>
                  <a:lnTo>
                    <a:pt x="2139" y="2267"/>
                  </a:lnTo>
                  <a:lnTo>
                    <a:pt x="2142" y="2252"/>
                  </a:lnTo>
                  <a:lnTo>
                    <a:pt x="2142" y="2242"/>
                  </a:lnTo>
                  <a:lnTo>
                    <a:pt x="2139" y="2228"/>
                  </a:lnTo>
                  <a:lnTo>
                    <a:pt x="2135" y="2217"/>
                  </a:lnTo>
                  <a:lnTo>
                    <a:pt x="2142" y="2192"/>
                  </a:lnTo>
                  <a:lnTo>
                    <a:pt x="2153" y="2167"/>
                  </a:lnTo>
                  <a:lnTo>
                    <a:pt x="2160" y="2135"/>
                  </a:lnTo>
                  <a:lnTo>
                    <a:pt x="2131" y="2078"/>
                  </a:lnTo>
                  <a:lnTo>
                    <a:pt x="2121" y="2017"/>
                  </a:lnTo>
                  <a:lnTo>
                    <a:pt x="2110" y="1996"/>
                  </a:lnTo>
                  <a:lnTo>
                    <a:pt x="2110" y="1978"/>
                  </a:lnTo>
                  <a:lnTo>
                    <a:pt x="2114" y="1960"/>
                  </a:lnTo>
                  <a:lnTo>
                    <a:pt x="2121" y="1946"/>
                  </a:lnTo>
                  <a:lnTo>
                    <a:pt x="2139" y="1921"/>
                  </a:lnTo>
                  <a:lnTo>
                    <a:pt x="2146" y="1914"/>
                  </a:lnTo>
                  <a:lnTo>
                    <a:pt x="2156" y="1907"/>
                  </a:lnTo>
                  <a:lnTo>
                    <a:pt x="2164" y="1900"/>
                  </a:lnTo>
                  <a:lnTo>
                    <a:pt x="2171" y="1878"/>
                  </a:lnTo>
                  <a:lnTo>
                    <a:pt x="2174" y="1857"/>
                  </a:lnTo>
                  <a:lnTo>
                    <a:pt x="2171" y="1832"/>
                  </a:lnTo>
                  <a:lnTo>
                    <a:pt x="2164" y="1793"/>
                  </a:lnTo>
                  <a:lnTo>
                    <a:pt x="2160" y="1778"/>
                  </a:lnTo>
                  <a:lnTo>
                    <a:pt x="2181" y="1707"/>
                  </a:lnTo>
                  <a:lnTo>
                    <a:pt x="2181" y="1693"/>
                  </a:lnTo>
                  <a:lnTo>
                    <a:pt x="2174" y="1686"/>
                  </a:lnTo>
                  <a:lnTo>
                    <a:pt x="2164" y="1679"/>
                  </a:lnTo>
                  <a:lnTo>
                    <a:pt x="2153" y="1675"/>
                  </a:lnTo>
                  <a:lnTo>
                    <a:pt x="2131" y="1671"/>
                  </a:lnTo>
                  <a:lnTo>
                    <a:pt x="2124" y="1671"/>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 name="Freeform 10"/>
            <p:cNvSpPr>
              <a:spLocks/>
            </p:cNvSpPr>
            <p:nvPr/>
          </p:nvSpPr>
          <p:spPr bwMode="auto">
            <a:xfrm>
              <a:off x="1365" y="25"/>
              <a:ext cx="1580" cy="1861"/>
            </a:xfrm>
            <a:custGeom>
              <a:avLst/>
              <a:gdLst>
                <a:gd name="T0" fmla="*/ 1558 w 1580"/>
                <a:gd name="T1" fmla="*/ 649 h 1861"/>
                <a:gd name="T2" fmla="*/ 1533 w 1580"/>
                <a:gd name="T3" fmla="*/ 606 h 1861"/>
                <a:gd name="T4" fmla="*/ 1551 w 1580"/>
                <a:gd name="T5" fmla="*/ 552 h 1861"/>
                <a:gd name="T6" fmla="*/ 1569 w 1580"/>
                <a:gd name="T7" fmla="*/ 470 h 1861"/>
                <a:gd name="T8" fmla="*/ 1480 w 1580"/>
                <a:gd name="T9" fmla="*/ 406 h 1861"/>
                <a:gd name="T10" fmla="*/ 1376 w 1580"/>
                <a:gd name="T11" fmla="*/ 296 h 1861"/>
                <a:gd name="T12" fmla="*/ 1237 w 1580"/>
                <a:gd name="T13" fmla="*/ 285 h 1861"/>
                <a:gd name="T14" fmla="*/ 1187 w 1580"/>
                <a:gd name="T15" fmla="*/ 264 h 1861"/>
                <a:gd name="T16" fmla="*/ 1127 w 1580"/>
                <a:gd name="T17" fmla="*/ 278 h 1861"/>
                <a:gd name="T18" fmla="*/ 1038 w 1580"/>
                <a:gd name="T19" fmla="*/ 242 h 1861"/>
                <a:gd name="T20" fmla="*/ 1023 w 1580"/>
                <a:gd name="T21" fmla="*/ 143 h 1861"/>
                <a:gd name="T22" fmla="*/ 941 w 1580"/>
                <a:gd name="T23" fmla="*/ 32 h 1861"/>
                <a:gd name="T24" fmla="*/ 856 w 1580"/>
                <a:gd name="T25" fmla="*/ 61 h 1861"/>
                <a:gd name="T26" fmla="*/ 788 w 1580"/>
                <a:gd name="T27" fmla="*/ 132 h 1861"/>
                <a:gd name="T28" fmla="*/ 621 w 1580"/>
                <a:gd name="T29" fmla="*/ 217 h 1861"/>
                <a:gd name="T30" fmla="*/ 731 w 1580"/>
                <a:gd name="T31" fmla="*/ 392 h 1861"/>
                <a:gd name="T32" fmla="*/ 720 w 1580"/>
                <a:gd name="T33" fmla="*/ 485 h 1861"/>
                <a:gd name="T34" fmla="*/ 671 w 1580"/>
                <a:gd name="T35" fmla="*/ 585 h 1861"/>
                <a:gd name="T36" fmla="*/ 549 w 1580"/>
                <a:gd name="T37" fmla="*/ 642 h 1861"/>
                <a:gd name="T38" fmla="*/ 507 w 1580"/>
                <a:gd name="T39" fmla="*/ 560 h 1861"/>
                <a:gd name="T40" fmla="*/ 507 w 1580"/>
                <a:gd name="T41" fmla="*/ 410 h 1861"/>
                <a:gd name="T42" fmla="*/ 439 w 1580"/>
                <a:gd name="T43" fmla="*/ 549 h 1861"/>
                <a:gd name="T44" fmla="*/ 471 w 1580"/>
                <a:gd name="T45" fmla="*/ 581 h 1861"/>
                <a:gd name="T46" fmla="*/ 392 w 1580"/>
                <a:gd name="T47" fmla="*/ 617 h 1861"/>
                <a:gd name="T48" fmla="*/ 339 w 1580"/>
                <a:gd name="T49" fmla="*/ 613 h 1861"/>
                <a:gd name="T50" fmla="*/ 232 w 1580"/>
                <a:gd name="T51" fmla="*/ 602 h 1861"/>
                <a:gd name="T52" fmla="*/ 268 w 1580"/>
                <a:gd name="T53" fmla="*/ 709 h 1861"/>
                <a:gd name="T54" fmla="*/ 253 w 1580"/>
                <a:gd name="T55" fmla="*/ 791 h 1861"/>
                <a:gd name="T56" fmla="*/ 221 w 1580"/>
                <a:gd name="T57" fmla="*/ 873 h 1861"/>
                <a:gd name="T58" fmla="*/ 122 w 1580"/>
                <a:gd name="T59" fmla="*/ 891 h 1861"/>
                <a:gd name="T60" fmla="*/ 36 w 1580"/>
                <a:gd name="T61" fmla="*/ 941 h 1861"/>
                <a:gd name="T62" fmla="*/ 0 w 1580"/>
                <a:gd name="T63" fmla="*/ 973 h 1861"/>
                <a:gd name="T64" fmla="*/ 118 w 1580"/>
                <a:gd name="T65" fmla="*/ 1173 h 1861"/>
                <a:gd name="T66" fmla="*/ 154 w 1580"/>
                <a:gd name="T67" fmla="*/ 1298 h 1861"/>
                <a:gd name="T68" fmla="*/ 232 w 1580"/>
                <a:gd name="T69" fmla="*/ 1433 h 1861"/>
                <a:gd name="T70" fmla="*/ 368 w 1580"/>
                <a:gd name="T71" fmla="*/ 1508 h 1861"/>
                <a:gd name="T72" fmla="*/ 496 w 1580"/>
                <a:gd name="T73" fmla="*/ 1504 h 1861"/>
                <a:gd name="T74" fmla="*/ 699 w 1580"/>
                <a:gd name="T75" fmla="*/ 1615 h 1861"/>
                <a:gd name="T76" fmla="*/ 663 w 1580"/>
                <a:gd name="T77" fmla="*/ 1793 h 1861"/>
                <a:gd name="T78" fmla="*/ 724 w 1580"/>
                <a:gd name="T79" fmla="*/ 1861 h 1861"/>
                <a:gd name="T80" fmla="*/ 810 w 1580"/>
                <a:gd name="T81" fmla="*/ 1814 h 1861"/>
                <a:gd name="T82" fmla="*/ 874 w 1580"/>
                <a:gd name="T83" fmla="*/ 1743 h 1861"/>
                <a:gd name="T84" fmla="*/ 1020 w 1580"/>
                <a:gd name="T85" fmla="*/ 1675 h 1861"/>
                <a:gd name="T86" fmla="*/ 1038 w 1580"/>
                <a:gd name="T87" fmla="*/ 1757 h 1861"/>
                <a:gd name="T88" fmla="*/ 1245 w 1580"/>
                <a:gd name="T89" fmla="*/ 1679 h 1861"/>
                <a:gd name="T90" fmla="*/ 1298 w 1580"/>
                <a:gd name="T91" fmla="*/ 1483 h 1861"/>
                <a:gd name="T92" fmla="*/ 1398 w 1580"/>
                <a:gd name="T93" fmla="*/ 1362 h 1861"/>
                <a:gd name="T94" fmla="*/ 1476 w 1580"/>
                <a:gd name="T95" fmla="*/ 1255 h 1861"/>
                <a:gd name="T96" fmla="*/ 1498 w 1580"/>
                <a:gd name="T97" fmla="*/ 1191 h 1861"/>
                <a:gd name="T98" fmla="*/ 1380 w 1580"/>
                <a:gd name="T99" fmla="*/ 1151 h 1861"/>
                <a:gd name="T100" fmla="*/ 1373 w 1580"/>
                <a:gd name="T101" fmla="*/ 1052 h 1861"/>
                <a:gd name="T102" fmla="*/ 1519 w 1580"/>
                <a:gd name="T103" fmla="*/ 1016 h 1861"/>
                <a:gd name="T104" fmla="*/ 1505 w 1580"/>
                <a:gd name="T105" fmla="*/ 977 h 1861"/>
                <a:gd name="T106" fmla="*/ 1387 w 1580"/>
                <a:gd name="T107" fmla="*/ 959 h 1861"/>
                <a:gd name="T108" fmla="*/ 1366 w 1580"/>
                <a:gd name="T109" fmla="*/ 859 h 1861"/>
                <a:gd name="T110" fmla="*/ 1416 w 1580"/>
                <a:gd name="T111" fmla="*/ 795 h 1861"/>
                <a:gd name="T112" fmla="*/ 1490 w 1580"/>
                <a:gd name="T113" fmla="*/ 841 h 1861"/>
                <a:gd name="T114" fmla="*/ 1458 w 1580"/>
                <a:gd name="T115" fmla="*/ 702 h 1861"/>
                <a:gd name="T116" fmla="*/ 1394 w 1580"/>
                <a:gd name="T117" fmla="*/ 631 h 1861"/>
                <a:gd name="T118" fmla="*/ 1501 w 1580"/>
                <a:gd name="T119" fmla="*/ 656 h 186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580"/>
                <a:gd name="T181" fmla="*/ 0 h 1861"/>
                <a:gd name="T182" fmla="*/ 1580 w 1580"/>
                <a:gd name="T183" fmla="*/ 1861 h 186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580" h="1861">
                  <a:moveTo>
                    <a:pt x="1533" y="688"/>
                  </a:moveTo>
                  <a:lnTo>
                    <a:pt x="1537" y="688"/>
                  </a:lnTo>
                  <a:lnTo>
                    <a:pt x="1537" y="681"/>
                  </a:lnTo>
                  <a:lnTo>
                    <a:pt x="1540" y="670"/>
                  </a:lnTo>
                  <a:lnTo>
                    <a:pt x="1548" y="659"/>
                  </a:lnTo>
                  <a:lnTo>
                    <a:pt x="1558" y="649"/>
                  </a:lnTo>
                  <a:lnTo>
                    <a:pt x="1572" y="638"/>
                  </a:lnTo>
                  <a:lnTo>
                    <a:pt x="1580" y="627"/>
                  </a:lnTo>
                  <a:lnTo>
                    <a:pt x="1580" y="620"/>
                  </a:lnTo>
                  <a:lnTo>
                    <a:pt x="1576" y="613"/>
                  </a:lnTo>
                  <a:lnTo>
                    <a:pt x="1569" y="610"/>
                  </a:lnTo>
                  <a:lnTo>
                    <a:pt x="1558" y="610"/>
                  </a:lnTo>
                  <a:lnTo>
                    <a:pt x="1533" y="606"/>
                  </a:lnTo>
                  <a:lnTo>
                    <a:pt x="1523" y="602"/>
                  </a:lnTo>
                  <a:lnTo>
                    <a:pt x="1515" y="599"/>
                  </a:lnTo>
                  <a:lnTo>
                    <a:pt x="1515" y="592"/>
                  </a:lnTo>
                  <a:lnTo>
                    <a:pt x="1519" y="588"/>
                  </a:lnTo>
                  <a:lnTo>
                    <a:pt x="1530" y="574"/>
                  </a:lnTo>
                  <a:lnTo>
                    <a:pt x="1548" y="560"/>
                  </a:lnTo>
                  <a:lnTo>
                    <a:pt x="1551" y="552"/>
                  </a:lnTo>
                  <a:lnTo>
                    <a:pt x="1551" y="542"/>
                  </a:lnTo>
                  <a:lnTo>
                    <a:pt x="1540" y="517"/>
                  </a:lnTo>
                  <a:lnTo>
                    <a:pt x="1530" y="492"/>
                  </a:lnTo>
                  <a:lnTo>
                    <a:pt x="1523" y="481"/>
                  </a:lnTo>
                  <a:lnTo>
                    <a:pt x="1562" y="478"/>
                  </a:lnTo>
                  <a:lnTo>
                    <a:pt x="1565" y="474"/>
                  </a:lnTo>
                  <a:lnTo>
                    <a:pt x="1569" y="470"/>
                  </a:lnTo>
                  <a:lnTo>
                    <a:pt x="1569" y="467"/>
                  </a:lnTo>
                  <a:lnTo>
                    <a:pt x="1565" y="460"/>
                  </a:lnTo>
                  <a:lnTo>
                    <a:pt x="1555" y="453"/>
                  </a:lnTo>
                  <a:lnTo>
                    <a:pt x="1544" y="446"/>
                  </a:lnTo>
                  <a:lnTo>
                    <a:pt x="1523" y="435"/>
                  </a:lnTo>
                  <a:lnTo>
                    <a:pt x="1498" y="424"/>
                  </a:lnTo>
                  <a:lnTo>
                    <a:pt x="1480" y="406"/>
                  </a:lnTo>
                  <a:lnTo>
                    <a:pt x="1466" y="389"/>
                  </a:lnTo>
                  <a:lnTo>
                    <a:pt x="1458" y="367"/>
                  </a:lnTo>
                  <a:lnTo>
                    <a:pt x="1444" y="328"/>
                  </a:lnTo>
                  <a:lnTo>
                    <a:pt x="1444" y="314"/>
                  </a:lnTo>
                  <a:lnTo>
                    <a:pt x="1430" y="307"/>
                  </a:lnTo>
                  <a:lnTo>
                    <a:pt x="1401" y="296"/>
                  </a:lnTo>
                  <a:lnTo>
                    <a:pt x="1376" y="296"/>
                  </a:lnTo>
                  <a:lnTo>
                    <a:pt x="1351" y="296"/>
                  </a:lnTo>
                  <a:lnTo>
                    <a:pt x="1319" y="299"/>
                  </a:lnTo>
                  <a:lnTo>
                    <a:pt x="1284" y="310"/>
                  </a:lnTo>
                  <a:lnTo>
                    <a:pt x="1266" y="303"/>
                  </a:lnTo>
                  <a:lnTo>
                    <a:pt x="1248" y="296"/>
                  </a:lnTo>
                  <a:lnTo>
                    <a:pt x="1237" y="285"/>
                  </a:lnTo>
                  <a:lnTo>
                    <a:pt x="1234" y="282"/>
                  </a:lnTo>
                  <a:lnTo>
                    <a:pt x="1227" y="282"/>
                  </a:lnTo>
                  <a:lnTo>
                    <a:pt x="1209" y="289"/>
                  </a:lnTo>
                  <a:lnTo>
                    <a:pt x="1191" y="303"/>
                  </a:lnTo>
                  <a:lnTo>
                    <a:pt x="1191" y="289"/>
                  </a:lnTo>
                  <a:lnTo>
                    <a:pt x="1191" y="274"/>
                  </a:lnTo>
                  <a:lnTo>
                    <a:pt x="1187" y="264"/>
                  </a:lnTo>
                  <a:lnTo>
                    <a:pt x="1180" y="253"/>
                  </a:lnTo>
                  <a:lnTo>
                    <a:pt x="1177" y="249"/>
                  </a:lnTo>
                  <a:lnTo>
                    <a:pt x="1173" y="249"/>
                  </a:lnTo>
                  <a:lnTo>
                    <a:pt x="1166" y="249"/>
                  </a:lnTo>
                  <a:lnTo>
                    <a:pt x="1159" y="253"/>
                  </a:lnTo>
                  <a:lnTo>
                    <a:pt x="1138" y="271"/>
                  </a:lnTo>
                  <a:lnTo>
                    <a:pt x="1127" y="278"/>
                  </a:lnTo>
                  <a:lnTo>
                    <a:pt x="1113" y="282"/>
                  </a:lnTo>
                  <a:lnTo>
                    <a:pt x="1095" y="285"/>
                  </a:lnTo>
                  <a:lnTo>
                    <a:pt x="1077" y="285"/>
                  </a:lnTo>
                  <a:lnTo>
                    <a:pt x="1063" y="278"/>
                  </a:lnTo>
                  <a:lnTo>
                    <a:pt x="1056" y="274"/>
                  </a:lnTo>
                  <a:lnTo>
                    <a:pt x="1048" y="267"/>
                  </a:lnTo>
                  <a:lnTo>
                    <a:pt x="1041" y="257"/>
                  </a:lnTo>
                  <a:lnTo>
                    <a:pt x="1038" y="242"/>
                  </a:lnTo>
                  <a:lnTo>
                    <a:pt x="1023" y="196"/>
                  </a:lnTo>
                  <a:lnTo>
                    <a:pt x="1013" y="175"/>
                  </a:lnTo>
                  <a:lnTo>
                    <a:pt x="1006" y="167"/>
                  </a:lnTo>
                  <a:lnTo>
                    <a:pt x="1013" y="153"/>
                  </a:lnTo>
                  <a:lnTo>
                    <a:pt x="1023" y="143"/>
                  </a:lnTo>
                  <a:lnTo>
                    <a:pt x="1027" y="128"/>
                  </a:lnTo>
                  <a:lnTo>
                    <a:pt x="1027" y="114"/>
                  </a:lnTo>
                  <a:lnTo>
                    <a:pt x="1023" y="107"/>
                  </a:lnTo>
                  <a:lnTo>
                    <a:pt x="1016" y="100"/>
                  </a:lnTo>
                  <a:lnTo>
                    <a:pt x="1006" y="93"/>
                  </a:lnTo>
                  <a:lnTo>
                    <a:pt x="995" y="86"/>
                  </a:lnTo>
                  <a:lnTo>
                    <a:pt x="956" y="78"/>
                  </a:lnTo>
                  <a:lnTo>
                    <a:pt x="941" y="32"/>
                  </a:lnTo>
                  <a:lnTo>
                    <a:pt x="909" y="0"/>
                  </a:lnTo>
                  <a:lnTo>
                    <a:pt x="909" y="4"/>
                  </a:lnTo>
                  <a:lnTo>
                    <a:pt x="909" y="14"/>
                  </a:lnTo>
                  <a:lnTo>
                    <a:pt x="902" y="28"/>
                  </a:lnTo>
                  <a:lnTo>
                    <a:pt x="884" y="46"/>
                  </a:lnTo>
                  <a:lnTo>
                    <a:pt x="856" y="61"/>
                  </a:lnTo>
                  <a:lnTo>
                    <a:pt x="831" y="78"/>
                  </a:lnTo>
                  <a:lnTo>
                    <a:pt x="824" y="89"/>
                  </a:lnTo>
                  <a:lnTo>
                    <a:pt x="813" y="100"/>
                  </a:lnTo>
                  <a:lnTo>
                    <a:pt x="810" y="118"/>
                  </a:lnTo>
                  <a:lnTo>
                    <a:pt x="810" y="135"/>
                  </a:lnTo>
                  <a:lnTo>
                    <a:pt x="799" y="132"/>
                  </a:lnTo>
                  <a:lnTo>
                    <a:pt x="788" y="132"/>
                  </a:lnTo>
                  <a:lnTo>
                    <a:pt x="774" y="132"/>
                  </a:lnTo>
                  <a:lnTo>
                    <a:pt x="763" y="139"/>
                  </a:lnTo>
                  <a:lnTo>
                    <a:pt x="749" y="153"/>
                  </a:lnTo>
                  <a:lnTo>
                    <a:pt x="742" y="178"/>
                  </a:lnTo>
                  <a:lnTo>
                    <a:pt x="738" y="214"/>
                  </a:lnTo>
                  <a:lnTo>
                    <a:pt x="724" y="217"/>
                  </a:lnTo>
                  <a:lnTo>
                    <a:pt x="621" y="196"/>
                  </a:lnTo>
                  <a:lnTo>
                    <a:pt x="621" y="217"/>
                  </a:lnTo>
                  <a:lnTo>
                    <a:pt x="681" y="307"/>
                  </a:lnTo>
                  <a:lnTo>
                    <a:pt x="681" y="321"/>
                  </a:lnTo>
                  <a:lnTo>
                    <a:pt x="685" y="335"/>
                  </a:lnTo>
                  <a:lnTo>
                    <a:pt x="688" y="349"/>
                  </a:lnTo>
                  <a:lnTo>
                    <a:pt x="699" y="367"/>
                  </a:lnTo>
                  <a:lnTo>
                    <a:pt x="713" y="381"/>
                  </a:lnTo>
                  <a:lnTo>
                    <a:pt x="731" y="392"/>
                  </a:lnTo>
                  <a:lnTo>
                    <a:pt x="756" y="399"/>
                  </a:lnTo>
                  <a:lnTo>
                    <a:pt x="760" y="413"/>
                  </a:lnTo>
                  <a:lnTo>
                    <a:pt x="760" y="442"/>
                  </a:lnTo>
                  <a:lnTo>
                    <a:pt x="756" y="456"/>
                  </a:lnTo>
                  <a:lnTo>
                    <a:pt x="749" y="470"/>
                  </a:lnTo>
                  <a:lnTo>
                    <a:pt x="738" y="481"/>
                  </a:lnTo>
                  <a:lnTo>
                    <a:pt x="720" y="485"/>
                  </a:lnTo>
                  <a:lnTo>
                    <a:pt x="710" y="488"/>
                  </a:lnTo>
                  <a:lnTo>
                    <a:pt x="703" y="492"/>
                  </a:lnTo>
                  <a:lnTo>
                    <a:pt x="692" y="503"/>
                  </a:lnTo>
                  <a:lnTo>
                    <a:pt x="681" y="520"/>
                  </a:lnTo>
                  <a:lnTo>
                    <a:pt x="678" y="538"/>
                  </a:lnTo>
                  <a:lnTo>
                    <a:pt x="671" y="570"/>
                  </a:lnTo>
                  <a:lnTo>
                    <a:pt x="671" y="585"/>
                  </a:lnTo>
                  <a:lnTo>
                    <a:pt x="631" y="552"/>
                  </a:lnTo>
                  <a:lnTo>
                    <a:pt x="621" y="563"/>
                  </a:lnTo>
                  <a:lnTo>
                    <a:pt x="617" y="592"/>
                  </a:lnTo>
                  <a:lnTo>
                    <a:pt x="585" y="606"/>
                  </a:lnTo>
                  <a:lnTo>
                    <a:pt x="560" y="624"/>
                  </a:lnTo>
                  <a:lnTo>
                    <a:pt x="553" y="631"/>
                  </a:lnTo>
                  <a:lnTo>
                    <a:pt x="549" y="642"/>
                  </a:lnTo>
                  <a:lnTo>
                    <a:pt x="532" y="645"/>
                  </a:lnTo>
                  <a:lnTo>
                    <a:pt x="517" y="631"/>
                  </a:lnTo>
                  <a:lnTo>
                    <a:pt x="517" y="610"/>
                  </a:lnTo>
                  <a:lnTo>
                    <a:pt x="517" y="595"/>
                  </a:lnTo>
                  <a:lnTo>
                    <a:pt x="510" y="592"/>
                  </a:lnTo>
                  <a:lnTo>
                    <a:pt x="496" y="574"/>
                  </a:lnTo>
                  <a:lnTo>
                    <a:pt x="507" y="560"/>
                  </a:lnTo>
                  <a:lnTo>
                    <a:pt x="517" y="542"/>
                  </a:lnTo>
                  <a:lnTo>
                    <a:pt x="528" y="520"/>
                  </a:lnTo>
                  <a:lnTo>
                    <a:pt x="535" y="499"/>
                  </a:lnTo>
                  <a:lnTo>
                    <a:pt x="535" y="470"/>
                  </a:lnTo>
                  <a:lnTo>
                    <a:pt x="535" y="456"/>
                  </a:lnTo>
                  <a:lnTo>
                    <a:pt x="528" y="442"/>
                  </a:lnTo>
                  <a:lnTo>
                    <a:pt x="517" y="424"/>
                  </a:lnTo>
                  <a:lnTo>
                    <a:pt x="507" y="410"/>
                  </a:lnTo>
                  <a:lnTo>
                    <a:pt x="492" y="417"/>
                  </a:lnTo>
                  <a:lnTo>
                    <a:pt x="478" y="492"/>
                  </a:lnTo>
                  <a:lnTo>
                    <a:pt x="467" y="503"/>
                  </a:lnTo>
                  <a:lnTo>
                    <a:pt x="442" y="520"/>
                  </a:lnTo>
                  <a:lnTo>
                    <a:pt x="435" y="535"/>
                  </a:lnTo>
                  <a:lnTo>
                    <a:pt x="435" y="545"/>
                  </a:lnTo>
                  <a:lnTo>
                    <a:pt x="439" y="549"/>
                  </a:lnTo>
                  <a:lnTo>
                    <a:pt x="442" y="552"/>
                  </a:lnTo>
                  <a:lnTo>
                    <a:pt x="464" y="556"/>
                  </a:lnTo>
                  <a:lnTo>
                    <a:pt x="467" y="560"/>
                  </a:lnTo>
                  <a:lnTo>
                    <a:pt x="478" y="563"/>
                  </a:lnTo>
                  <a:lnTo>
                    <a:pt x="478" y="570"/>
                  </a:lnTo>
                  <a:lnTo>
                    <a:pt x="474" y="574"/>
                  </a:lnTo>
                  <a:lnTo>
                    <a:pt x="471" y="581"/>
                  </a:lnTo>
                  <a:lnTo>
                    <a:pt x="460" y="588"/>
                  </a:lnTo>
                  <a:lnTo>
                    <a:pt x="442" y="613"/>
                  </a:lnTo>
                  <a:lnTo>
                    <a:pt x="435" y="627"/>
                  </a:lnTo>
                  <a:lnTo>
                    <a:pt x="432" y="638"/>
                  </a:lnTo>
                  <a:lnTo>
                    <a:pt x="432" y="642"/>
                  </a:lnTo>
                  <a:lnTo>
                    <a:pt x="421" y="642"/>
                  </a:lnTo>
                  <a:lnTo>
                    <a:pt x="392" y="617"/>
                  </a:lnTo>
                  <a:lnTo>
                    <a:pt x="385" y="606"/>
                  </a:lnTo>
                  <a:lnTo>
                    <a:pt x="378" y="599"/>
                  </a:lnTo>
                  <a:lnTo>
                    <a:pt x="368" y="592"/>
                  </a:lnTo>
                  <a:lnTo>
                    <a:pt x="357" y="592"/>
                  </a:lnTo>
                  <a:lnTo>
                    <a:pt x="353" y="592"/>
                  </a:lnTo>
                  <a:lnTo>
                    <a:pt x="346" y="599"/>
                  </a:lnTo>
                  <a:lnTo>
                    <a:pt x="339" y="613"/>
                  </a:lnTo>
                  <a:lnTo>
                    <a:pt x="332" y="645"/>
                  </a:lnTo>
                  <a:lnTo>
                    <a:pt x="286" y="585"/>
                  </a:lnTo>
                  <a:lnTo>
                    <a:pt x="278" y="585"/>
                  </a:lnTo>
                  <a:lnTo>
                    <a:pt x="261" y="585"/>
                  </a:lnTo>
                  <a:lnTo>
                    <a:pt x="250" y="588"/>
                  </a:lnTo>
                  <a:lnTo>
                    <a:pt x="239" y="592"/>
                  </a:lnTo>
                  <a:lnTo>
                    <a:pt x="232" y="602"/>
                  </a:lnTo>
                  <a:lnTo>
                    <a:pt x="232" y="617"/>
                  </a:lnTo>
                  <a:lnTo>
                    <a:pt x="236" y="638"/>
                  </a:lnTo>
                  <a:lnTo>
                    <a:pt x="246" y="677"/>
                  </a:lnTo>
                  <a:lnTo>
                    <a:pt x="253" y="684"/>
                  </a:lnTo>
                  <a:lnTo>
                    <a:pt x="261" y="692"/>
                  </a:lnTo>
                  <a:lnTo>
                    <a:pt x="268" y="699"/>
                  </a:lnTo>
                  <a:lnTo>
                    <a:pt x="268" y="709"/>
                  </a:lnTo>
                  <a:lnTo>
                    <a:pt x="264" y="720"/>
                  </a:lnTo>
                  <a:lnTo>
                    <a:pt x="246" y="727"/>
                  </a:lnTo>
                  <a:lnTo>
                    <a:pt x="218" y="734"/>
                  </a:lnTo>
                  <a:lnTo>
                    <a:pt x="221" y="756"/>
                  </a:lnTo>
                  <a:lnTo>
                    <a:pt x="232" y="766"/>
                  </a:lnTo>
                  <a:lnTo>
                    <a:pt x="243" y="777"/>
                  </a:lnTo>
                  <a:lnTo>
                    <a:pt x="253" y="791"/>
                  </a:lnTo>
                  <a:lnTo>
                    <a:pt x="257" y="806"/>
                  </a:lnTo>
                  <a:lnTo>
                    <a:pt x="257" y="827"/>
                  </a:lnTo>
                  <a:lnTo>
                    <a:pt x="253" y="838"/>
                  </a:lnTo>
                  <a:lnTo>
                    <a:pt x="250" y="848"/>
                  </a:lnTo>
                  <a:lnTo>
                    <a:pt x="243" y="859"/>
                  </a:lnTo>
                  <a:lnTo>
                    <a:pt x="232" y="870"/>
                  </a:lnTo>
                  <a:lnTo>
                    <a:pt x="221" y="873"/>
                  </a:lnTo>
                  <a:lnTo>
                    <a:pt x="204" y="880"/>
                  </a:lnTo>
                  <a:lnTo>
                    <a:pt x="189" y="888"/>
                  </a:lnTo>
                  <a:lnTo>
                    <a:pt x="182" y="898"/>
                  </a:lnTo>
                  <a:lnTo>
                    <a:pt x="171" y="905"/>
                  </a:lnTo>
                  <a:lnTo>
                    <a:pt x="168" y="920"/>
                  </a:lnTo>
                  <a:lnTo>
                    <a:pt x="157" y="909"/>
                  </a:lnTo>
                  <a:lnTo>
                    <a:pt x="122" y="891"/>
                  </a:lnTo>
                  <a:lnTo>
                    <a:pt x="104" y="884"/>
                  </a:lnTo>
                  <a:lnTo>
                    <a:pt x="82" y="877"/>
                  </a:lnTo>
                  <a:lnTo>
                    <a:pt x="61" y="873"/>
                  </a:lnTo>
                  <a:lnTo>
                    <a:pt x="47" y="877"/>
                  </a:lnTo>
                  <a:lnTo>
                    <a:pt x="43" y="891"/>
                  </a:lnTo>
                  <a:lnTo>
                    <a:pt x="40" y="927"/>
                  </a:lnTo>
                  <a:lnTo>
                    <a:pt x="36" y="941"/>
                  </a:lnTo>
                  <a:lnTo>
                    <a:pt x="29" y="952"/>
                  </a:lnTo>
                  <a:lnTo>
                    <a:pt x="25" y="955"/>
                  </a:lnTo>
                  <a:lnTo>
                    <a:pt x="22" y="955"/>
                  </a:lnTo>
                  <a:lnTo>
                    <a:pt x="15" y="955"/>
                  </a:lnTo>
                  <a:lnTo>
                    <a:pt x="7" y="948"/>
                  </a:lnTo>
                  <a:lnTo>
                    <a:pt x="4" y="959"/>
                  </a:lnTo>
                  <a:lnTo>
                    <a:pt x="0" y="973"/>
                  </a:lnTo>
                  <a:lnTo>
                    <a:pt x="4" y="1002"/>
                  </a:lnTo>
                  <a:lnTo>
                    <a:pt x="7" y="1023"/>
                  </a:lnTo>
                  <a:lnTo>
                    <a:pt x="11" y="1034"/>
                  </a:lnTo>
                  <a:lnTo>
                    <a:pt x="36" y="1077"/>
                  </a:lnTo>
                  <a:lnTo>
                    <a:pt x="65" y="1116"/>
                  </a:lnTo>
                  <a:lnTo>
                    <a:pt x="93" y="1148"/>
                  </a:lnTo>
                  <a:lnTo>
                    <a:pt x="118" y="1173"/>
                  </a:lnTo>
                  <a:lnTo>
                    <a:pt x="164" y="1208"/>
                  </a:lnTo>
                  <a:lnTo>
                    <a:pt x="182" y="1219"/>
                  </a:lnTo>
                  <a:lnTo>
                    <a:pt x="189" y="1223"/>
                  </a:lnTo>
                  <a:lnTo>
                    <a:pt x="186" y="1240"/>
                  </a:lnTo>
                  <a:lnTo>
                    <a:pt x="179" y="1258"/>
                  </a:lnTo>
                  <a:lnTo>
                    <a:pt x="164" y="1283"/>
                  </a:lnTo>
                  <a:lnTo>
                    <a:pt x="154" y="1298"/>
                  </a:lnTo>
                  <a:lnTo>
                    <a:pt x="147" y="1301"/>
                  </a:lnTo>
                  <a:lnTo>
                    <a:pt x="150" y="1312"/>
                  </a:lnTo>
                  <a:lnTo>
                    <a:pt x="154" y="1319"/>
                  </a:lnTo>
                  <a:lnTo>
                    <a:pt x="168" y="1330"/>
                  </a:lnTo>
                  <a:lnTo>
                    <a:pt x="182" y="1337"/>
                  </a:lnTo>
                  <a:lnTo>
                    <a:pt x="189" y="1337"/>
                  </a:lnTo>
                  <a:lnTo>
                    <a:pt x="232" y="1433"/>
                  </a:lnTo>
                  <a:lnTo>
                    <a:pt x="296" y="1440"/>
                  </a:lnTo>
                  <a:lnTo>
                    <a:pt x="300" y="1454"/>
                  </a:lnTo>
                  <a:lnTo>
                    <a:pt x="303" y="1469"/>
                  </a:lnTo>
                  <a:lnTo>
                    <a:pt x="318" y="1490"/>
                  </a:lnTo>
                  <a:lnTo>
                    <a:pt x="332" y="1501"/>
                  </a:lnTo>
                  <a:lnTo>
                    <a:pt x="350" y="1508"/>
                  </a:lnTo>
                  <a:lnTo>
                    <a:pt x="368" y="1508"/>
                  </a:lnTo>
                  <a:lnTo>
                    <a:pt x="382" y="1508"/>
                  </a:lnTo>
                  <a:lnTo>
                    <a:pt x="392" y="1508"/>
                  </a:lnTo>
                  <a:lnTo>
                    <a:pt x="417" y="1494"/>
                  </a:lnTo>
                  <a:lnTo>
                    <a:pt x="439" y="1490"/>
                  </a:lnTo>
                  <a:lnTo>
                    <a:pt x="460" y="1490"/>
                  </a:lnTo>
                  <a:lnTo>
                    <a:pt x="482" y="1497"/>
                  </a:lnTo>
                  <a:lnTo>
                    <a:pt x="496" y="1504"/>
                  </a:lnTo>
                  <a:lnTo>
                    <a:pt x="510" y="1511"/>
                  </a:lnTo>
                  <a:lnTo>
                    <a:pt x="524" y="1522"/>
                  </a:lnTo>
                  <a:lnTo>
                    <a:pt x="592" y="1576"/>
                  </a:lnTo>
                  <a:lnTo>
                    <a:pt x="656" y="1622"/>
                  </a:lnTo>
                  <a:lnTo>
                    <a:pt x="681" y="1625"/>
                  </a:lnTo>
                  <a:lnTo>
                    <a:pt x="699" y="1615"/>
                  </a:lnTo>
                  <a:lnTo>
                    <a:pt x="710" y="1636"/>
                  </a:lnTo>
                  <a:lnTo>
                    <a:pt x="713" y="1658"/>
                  </a:lnTo>
                  <a:lnTo>
                    <a:pt x="717" y="1675"/>
                  </a:lnTo>
                  <a:lnTo>
                    <a:pt x="717" y="1690"/>
                  </a:lnTo>
                  <a:lnTo>
                    <a:pt x="713" y="1711"/>
                  </a:lnTo>
                  <a:lnTo>
                    <a:pt x="710" y="1715"/>
                  </a:lnTo>
                  <a:lnTo>
                    <a:pt x="663" y="1793"/>
                  </a:lnTo>
                  <a:lnTo>
                    <a:pt x="660" y="1814"/>
                  </a:lnTo>
                  <a:lnTo>
                    <a:pt x="663" y="1832"/>
                  </a:lnTo>
                  <a:lnTo>
                    <a:pt x="671" y="1843"/>
                  </a:lnTo>
                  <a:lnTo>
                    <a:pt x="685" y="1850"/>
                  </a:lnTo>
                  <a:lnTo>
                    <a:pt x="699" y="1857"/>
                  </a:lnTo>
                  <a:lnTo>
                    <a:pt x="710" y="1861"/>
                  </a:lnTo>
                  <a:lnTo>
                    <a:pt x="724" y="1861"/>
                  </a:lnTo>
                  <a:lnTo>
                    <a:pt x="745" y="1857"/>
                  </a:lnTo>
                  <a:lnTo>
                    <a:pt x="760" y="1850"/>
                  </a:lnTo>
                  <a:lnTo>
                    <a:pt x="774" y="1843"/>
                  </a:lnTo>
                  <a:lnTo>
                    <a:pt x="781" y="1836"/>
                  </a:lnTo>
                  <a:lnTo>
                    <a:pt x="792" y="1822"/>
                  </a:lnTo>
                  <a:lnTo>
                    <a:pt x="795" y="1814"/>
                  </a:lnTo>
                  <a:lnTo>
                    <a:pt x="810" y="1814"/>
                  </a:lnTo>
                  <a:lnTo>
                    <a:pt x="824" y="1818"/>
                  </a:lnTo>
                  <a:lnTo>
                    <a:pt x="842" y="1825"/>
                  </a:lnTo>
                  <a:lnTo>
                    <a:pt x="838" y="1804"/>
                  </a:lnTo>
                  <a:lnTo>
                    <a:pt x="842" y="1782"/>
                  </a:lnTo>
                  <a:lnTo>
                    <a:pt x="852" y="1768"/>
                  </a:lnTo>
                  <a:lnTo>
                    <a:pt x="863" y="1754"/>
                  </a:lnTo>
                  <a:lnTo>
                    <a:pt x="874" y="1743"/>
                  </a:lnTo>
                  <a:lnTo>
                    <a:pt x="888" y="1736"/>
                  </a:lnTo>
                  <a:lnTo>
                    <a:pt x="899" y="1732"/>
                  </a:lnTo>
                  <a:lnTo>
                    <a:pt x="920" y="1729"/>
                  </a:lnTo>
                  <a:lnTo>
                    <a:pt x="974" y="1686"/>
                  </a:lnTo>
                  <a:lnTo>
                    <a:pt x="995" y="1679"/>
                  </a:lnTo>
                  <a:lnTo>
                    <a:pt x="1009" y="1675"/>
                  </a:lnTo>
                  <a:lnTo>
                    <a:pt x="1020" y="1675"/>
                  </a:lnTo>
                  <a:lnTo>
                    <a:pt x="1027" y="1679"/>
                  </a:lnTo>
                  <a:lnTo>
                    <a:pt x="1031" y="1683"/>
                  </a:lnTo>
                  <a:lnTo>
                    <a:pt x="1031" y="1690"/>
                  </a:lnTo>
                  <a:lnTo>
                    <a:pt x="1031" y="1697"/>
                  </a:lnTo>
                  <a:lnTo>
                    <a:pt x="1027" y="1740"/>
                  </a:lnTo>
                  <a:lnTo>
                    <a:pt x="1027" y="1750"/>
                  </a:lnTo>
                  <a:lnTo>
                    <a:pt x="1038" y="1757"/>
                  </a:lnTo>
                  <a:lnTo>
                    <a:pt x="1081" y="1740"/>
                  </a:lnTo>
                  <a:lnTo>
                    <a:pt x="1109" y="1729"/>
                  </a:lnTo>
                  <a:lnTo>
                    <a:pt x="1145" y="1718"/>
                  </a:lnTo>
                  <a:lnTo>
                    <a:pt x="1220" y="1700"/>
                  </a:lnTo>
                  <a:lnTo>
                    <a:pt x="1234" y="1690"/>
                  </a:lnTo>
                  <a:lnTo>
                    <a:pt x="1245" y="1679"/>
                  </a:lnTo>
                  <a:lnTo>
                    <a:pt x="1255" y="1661"/>
                  </a:lnTo>
                  <a:lnTo>
                    <a:pt x="1262" y="1643"/>
                  </a:lnTo>
                  <a:lnTo>
                    <a:pt x="1269" y="1611"/>
                  </a:lnTo>
                  <a:lnTo>
                    <a:pt x="1273" y="1597"/>
                  </a:lnTo>
                  <a:lnTo>
                    <a:pt x="1284" y="1551"/>
                  </a:lnTo>
                  <a:lnTo>
                    <a:pt x="1298" y="1483"/>
                  </a:lnTo>
                  <a:lnTo>
                    <a:pt x="1302" y="1472"/>
                  </a:lnTo>
                  <a:lnTo>
                    <a:pt x="1309" y="1461"/>
                  </a:lnTo>
                  <a:lnTo>
                    <a:pt x="1326" y="1437"/>
                  </a:lnTo>
                  <a:lnTo>
                    <a:pt x="1351" y="1408"/>
                  </a:lnTo>
                  <a:lnTo>
                    <a:pt x="1366" y="1387"/>
                  </a:lnTo>
                  <a:lnTo>
                    <a:pt x="1380" y="1372"/>
                  </a:lnTo>
                  <a:lnTo>
                    <a:pt x="1398" y="1362"/>
                  </a:lnTo>
                  <a:lnTo>
                    <a:pt x="1423" y="1344"/>
                  </a:lnTo>
                  <a:lnTo>
                    <a:pt x="1426" y="1322"/>
                  </a:lnTo>
                  <a:lnTo>
                    <a:pt x="1437" y="1305"/>
                  </a:lnTo>
                  <a:lnTo>
                    <a:pt x="1455" y="1276"/>
                  </a:lnTo>
                  <a:lnTo>
                    <a:pt x="1469" y="1262"/>
                  </a:lnTo>
                  <a:lnTo>
                    <a:pt x="1476" y="1255"/>
                  </a:lnTo>
                  <a:lnTo>
                    <a:pt x="1512" y="1244"/>
                  </a:lnTo>
                  <a:lnTo>
                    <a:pt x="1523" y="1240"/>
                  </a:lnTo>
                  <a:lnTo>
                    <a:pt x="1530" y="1233"/>
                  </a:lnTo>
                  <a:lnTo>
                    <a:pt x="1533" y="1226"/>
                  </a:lnTo>
                  <a:lnTo>
                    <a:pt x="1530" y="1223"/>
                  </a:lnTo>
                  <a:lnTo>
                    <a:pt x="1526" y="1208"/>
                  </a:lnTo>
                  <a:lnTo>
                    <a:pt x="1512" y="1201"/>
                  </a:lnTo>
                  <a:lnTo>
                    <a:pt x="1498" y="1191"/>
                  </a:lnTo>
                  <a:lnTo>
                    <a:pt x="1480" y="1183"/>
                  </a:lnTo>
                  <a:lnTo>
                    <a:pt x="1458" y="1180"/>
                  </a:lnTo>
                  <a:lnTo>
                    <a:pt x="1441" y="1166"/>
                  </a:lnTo>
                  <a:lnTo>
                    <a:pt x="1433" y="1158"/>
                  </a:lnTo>
                  <a:lnTo>
                    <a:pt x="1423" y="1155"/>
                  </a:lnTo>
                  <a:lnTo>
                    <a:pt x="1398" y="1151"/>
                  </a:lnTo>
                  <a:lnTo>
                    <a:pt x="1380" y="1151"/>
                  </a:lnTo>
                  <a:lnTo>
                    <a:pt x="1373" y="1155"/>
                  </a:lnTo>
                  <a:lnTo>
                    <a:pt x="1362" y="1137"/>
                  </a:lnTo>
                  <a:lnTo>
                    <a:pt x="1355" y="1123"/>
                  </a:lnTo>
                  <a:lnTo>
                    <a:pt x="1351" y="1101"/>
                  </a:lnTo>
                  <a:lnTo>
                    <a:pt x="1351" y="1084"/>
                  </a:lnTo>
                  <a:lnTo>
                    <a:pt x="1359" y="1066"/>
                  </a:lnTo>
                  <a:lnTo>
                    <a:pt x="1373" y="1052"/>
                  </a:lnTo>
                  <a:lnTo>
                    <a:pt x="1394" y="1044"/>
                  </a:lnTo>
                  <a:lnTo>
                    <a:pt x="1423" y="1041"/>
                  </a:lnTo>
                  <a:lnTo>
                    <a:pt x="1451" y="1037"/>
                  </a:lnTo>
                  <a:lnTo>
                    <a:pt x="1476" y="1034"/>
                  </a:lnTo>
                  <a:lnTo>
                    <a:pt x="1505" y="1027"/>
                  </a:lnTo>
                  <a:lnTo>
                    <a:pt x="1515" y="1019"/>
                  </a:lnTo>
                  <a:lnTo>
                    <a:pt x="1519" y="1016"/>
                  </a:lnTo>
                  <a:lnTo>
                    <a:pt x="1530" y="998"/>
                  </a:lnTo>
                  <a:lnTo>
                    <a:pt x="1533" y="984"/>
                  </a:lnTo>
                  <a:lnTo>
                    <a:pt x="1530" y="977"/>
                  </a:lnTo>
                  <a:lnTo>
                    <a:pt x="1526" y="973"/>
                  </a:lnTo>
                  <a:lnTo>
                    <a:pt x="1512" y="973"/>
                  </a:lnTo>
                  <a:lnTo>
                    <a:pt x="1505" y="977"/>
                  </a:lnTo>
                  <a:lnTo>
                    <a:pt x="1501" y="980"/>
                  </a:lnTo>
                  <a:lnTo>
                    <a:pt x="1498" y="987"/>
                  </a:lnTo>
                  <a:lnTo>
                    <a:pt x="1483" y="991"/>
                  </a:lnTo>
                  <a:lnTo>
                    <a:pt x="1462" y="991"/>
                  </a:lnTo>
                  <a:lnTo>
                    <a:pt x="1441" y="987"/>
                  </a:lnTo>
                  <a:lnTo>
                    <a:pt x="1419" y="984"/>
                  </a:lnTo>
                  <a:lnTo>
                    <a:pt x="1401" y="973"/>
                  </a:lnTo>
                  <a:lnTo>
                    <a:pt x="1387" y="959"/>
                  </a:lnTo>
                  <a:lnTo>
                    <a:pt x="1384" y="952"/>
                  </a:lnTo>
                  <a:lnTo>
                    <a:pt x="1384" y="945"/>
                  </a:lnTo>
                  <a:lnTo>
                    <a:pt x="1384" y="916"/>
                  </a:lnTo>
                  <a:lnTo>
                    <a:pt x="1376" y="888"/>
                  </a:lnTo>
                  <a:lnTo>
                    <a:pt x="1369" y="863"/>
                  </a:lnTo>
                  <a:lnTo>
                    <a:pt x="1366" y="859"/>
                  </a:lnTo>
                  <a:lnTo>
                    <a:pt x="1359" y="848"/>
                  </a:lnTo>
                  <a:lnTo>
                    <a:pt x="1359" y="838"/>
                  </a:lnTo>
                  <a:lnTo>
                    <a:pt x="1362" y="827"/>
                  </a:lnTo>
                  <a:lnTo>
                    <a:pt x="1369" y="816"/>
                  </a:lnTo>
                  <a:lnTo>
                    <a:pt x="1384" y="802"/>
                  </a:lnTo>
                  <a:lnTo>
                    <a:pt x="1401" y="795"/>
                  </a:lnTo>
                  <a:lnTo>
                    <a:pt x="1416" y="795"/>
                  </a:lnTo>
                  <a:lnTo>
                    <a:pt x="1430" y="798"/>
                  </a:lnTo>
                  <a:lnTo>
                    <a:pt x="1437" y="806"/>
                  </a:lnTo>
                  <a:lnTo>
                    <a:pt x="1451" y="827"/>
                  </a:lnTo>
                  <a:lnTo>
                    <a:pt x="1455" y="838"/>
                  </a:lnTo>
                  <a:lnTo>
                    <a:pt x="1476" y="845"/>
                  </a:lnTo>
                  <a:lnTo>
                    <a:pt x="1487" y="845"/>
                  </a:lnTo>
                  <a:lnTo>
                    <a:pt x="1490" y="841"/>
                  </a:lnTo>
                  <a:lnTo>
                    <a:pt x="1494" y="834"/>
                  </a:lnTo>
                  <a:lnTo>
                    <a:pt x="1494" y="823"/>
                  </a:lnTo>
                  <a:lnTo>
                    <a:pt x="1487" y="784"/>
                  </a:lnTo>
                  <a:lnTo>
                    <a:pt x="1473" y="741"/>
                  </a:lnTo>
                  <a:lnTo>
                    <a:pt x="1469" y="724"/>
                  </a:lnTo>
                  <a:lnTo>
                    <a:pt x="1466" y="709"/>
                  </a:lnTo>
                  <a:lnTo>
                    <a:pt x="1458" y="702"/>
                  </a:lnTo>
                  <a:lnTo>
                    <a:pt x="1451" y="699"/>
                  </a:lnTo>
                  <a:lnTo>
                    <a:pt x="1448" y="695"/>
                  </a:lnTo>
                  <a:lnTo>
                    <a:pt x="1441" y="699"/>
                  </a:lnTo>
                  <a:lnTo>
                    <a:pt x="1430" y="702"/>
                  </a:lnTo>
                  <a:lnTo>
                    <a:pt x="1408" y="709"/>
                  </a:lnTo>
                  <a:lnTo>
                    <a:pt x="1398" y="713"/>
                  </a:lnTo>
                  <a:lnTo>
                    <a:pt x="1394" y="631"/>
                  </a:lnTo>
                  <a:lnTo>
                    <a:pt x="1405" y="624"/>
                  </a:lnTo>
                  <a:lnTo>
                    <a:pt x="1416" y="617"/>
                  </a:lnTo>
                  <a:lnTo>
                    <a:pt x="1423" y="617"/>
                  </a:lnTo>
                  <a:lnTo>
                    <a:pt x="1437" y="617"/>
                  </a:lnTo>
                  <a:lnTo>
                    <a:pt x="1458" y="624"/>
                  </a:lnTo>
                  <a:lnTo>
                    <a:pt x="1480" y="638"/>
                  </a:lnTo>
                  <a:lnTo>
                    <a:pt x="1501" y="656"/>
                  </a:lnTo>
                  <a:lnTo>
                    <a:pt x="1519" y="674"/>
                  </a:lnTo>
                  <a:lnTo>
                    <a:pt x="1533" y="688"/>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 name="Freeform 11"/>
            <p:cNvSpPr>
              <a:spLocks/>
            </p:cNvSpPr>
            <p:nvPr/>
          </p:nvSpPr>
          <p:spPr bwMode="auto">
            <a:xfrm>
              <a:off x="3797" y="677"/>
              <a:ext cx="563" cy="688"/>
            </a:xfrm>
            <a:custGeom>
              <a:avLst/>
              <a:gdLst>
                <a:gd name="T0" fmla="*/ 517 w 563"/>
                <a:gd name="T1" fmla="*/ 246 h 688"/>
                <a:gd name="T2" fmla="*/ 499 w 563"/>
                <a:gd name="T3" fmla="*/ 200 h 688"/>
                <a:gd name="T4" fmla="*/ 517 w 563"/>
                <a:gd name="T5" fmla="*/ 157 h 688"/>
                <a:gd name="T6" fmla="*/ 481 w 563"/>
                <a:gd name="T7" fmla="*/ 136 h 688"/>
                <a:gd name="T8" fmla="*/ 435 w 563"/>
                <a:gd name="T9" fmla="*/ 136 h 688"/>
                <a:gd name="T10" fmla="*/ 410 w 563"/>
                <a:gd name="T11" fmla="*/ 143 h 688"/>
                <a:gd name="T12" fmla="*/ 385 w 563"/>
                <a:gd name="T13" fmla="*/ 122 h 688"/>
                <a:gd name="T14" fmla="*/ 356 w 563"/>
                <a:gd name="T15" fmla="*/ 86 h 688"/>
                <a:gd name="T16" fmla="*/ 338 w 563"/>
                <a:gd name="T17" fmla="*/ 93 h 688"/>
                <a:gd name="T18" fmla="*/ 328 w 563"/>
                <a:gd name="T19" fmla="*/ 129 h 688"/>
                <a:gd name="T20" fmla="*/ 317 w 563"/>
                <a:gd name="T21" fmla="*/ 146 h 688"/>
                <a:gd name="T22" fmla="*/ 246 w 563"/>
                <a:gd name="T23" fmla="*/ 107 h 688"/>
                <a:gd name="T24" fmla="*/ 238 w 563"/>
                <a:gd name="T25" fmla="*/ 82 h 688"/>
                <a:gd name="T26" fmla="*/ 235 w 563"/>
                <a:gd name="T27" fmla="*/ 18 h 688"/>
                <a:gd name="T28" fmla="*/ 221 w 563"/>
                <a:gd name="T29" fmla="*/ 0 h 688"/>
                <a:gd name="T30" fmla="*/ 192 w 563"/>
                <a:gd name="T31" fmla="*/ 7 h 688"/>
                <a:gd name="T32" fmla="*/ 149 w 563"/>
                <a:gd name="T33" fmla="*/ 25 h 688"/>
                <a:gd name="T34" fmla="*/ 107 w 563"/>
                <a:gd name="T35" fmla="*/ 22 h 688"/>
                <a:gd name="T36" fmla="*/ 57 w 563"/>
                <a:gd name="T37" fmla="*/ 36 h 688"/>
                <a:gd name="T38" fmla="*/ 35 w 563"/>
                <a:gd name="T39" fmla="*/ 43 h 688"/>
                <a:gd name="T40" fmla="*/ 67 w 563"/>
                <a:gd name="T41" fmla="*/ 79 h 688"/>
                <a:gd name="T42" fmla="*/ 78 w 563"/>
                <a:gd name="T43" fmla="*/ 136 h 688"/>
                <a:gd name="T44" fmla="*/ 103 w 563"/>
                <a:gd name="T45" fmla="*/ 168 h 688"/>
                <a:gd name="T46" fmla="*/ 124 w 563"/>
                <a:gd name="T47" fmla="*/ 193 h 688"/>
                <a:gd name="T48" fmla="*/ 114 w 563"/>
                <a:gd name="T49" fmla="*/ 211 h 688"/>
                <a:gd name="T50" fmla="*/ 85 w 563"/>
                <a:gd name="T51" fmla="*/ 221 h 688"/>
                <a:gd name="T52" fmla="*/ 53 w 563"/>
                <a:gd name="T53" fmla="*/ 268 h 688"/>
                <a:gd name="T54" fmla="*/ 39 w 563"/>
                <a:gd name="T55" fmla="*/ 325 h 688"/>
                <a:gd name="T56" fmla="*/ 0 w 563"/>
                <a:gd name="T57" fmla="*/ 535 h 688"/>
                <a:gd name="T58" fmla="*/ 53 w 563"/>
                <a:gd name="T59" fmla="*/ 581 h 688"/>
                <a:gd name="T60" fmla="*/ 103 w 563"/>
                <a:gd name="T61" fmla="*/ 606 h 688"/>
                <a:gd name="T62" fmla="*/ 121 w 563"/>
                <a:gd name="T63" fmla="*/ 592 h 688"/>
                <a:gd name="T64" fmla="*/ 142 w 563"/>
                <a:gd name="T65" fmla="*/ 571 h 688"/>
                <a:gd name="T66" fmla="*/ 178 w 563"/>
                <a:gd name="T67" fmla="*/ 578 h 688"/>
                <a:gd name="T68" fmla="*/ 203 w 563"/>
                <a:gd name="T69" fmla="*/ 599 h 688"/>
                <a:gd name="T70" fmla="*/ 246 w 563"/>
                <a:gd name="T71" fmla="*/ 688 h 688"/>
                <a:gd name="T72" fmla="*/ 370 w 563"/>
                <a:gd name="T73" fmla="*/ 581 h 688"/>
                <a:gd name="T74" fmla="*/ 445 w 563"/>
                <a:gd name="T75" fmla="*/ 503 h 688"/>
                <a:gd name="T76" fmla="*/ 488 w 563"/>
                <a:gd name="T77" fmla="*/ 467 h 688"/>
                <a:gd name="T78" fmla="*/ 484 w 563"/>
                <a:gd name="T79" fmla="*/ 428 h 688"/>
                <a:gd name="T80" fmla="*/ 463 w 563"/>
                <a:gd name="T81" fmla="*/ 371 h 688"/>
                <a:gd name="T82" fmla="*/ 477 w 563"/>
                <a:gd name="T83" fmla="*/ 314 h 688"/>
                <a:gd name="T84" fmla="*/ 513 w 563"/>
                <a:gd name="T85" fmla="*/ 296 h 688"/>
                <a:gd name="T86" fmla="*/ 552 w 563"/>
                <a:gd name="T87" fmla="*/ 285 h 688"/>
                <a:gd name="T88" fmla="*/ 563 w 563"/>
                <a:gd name="T89" fmla="*/ 275 h 688"/>
                <a:gd name="T90" fmla="*/ 538 w 563"/>
                <a:gd name="T91" fmla="*/ 257 h 68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563"/>
                <a:gd name="T139" fmla="*/ 0 h 688"/>
                <a:gd name="T140" fmla="*/ 563 w 563"/>
                <a:gd name="T141" fmla="*/ 688 h 688"/>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563" h="688">
                  <a:moveTo>
                    <a:pt x="538" y="257"/>
                  </a:moveTo>
                  <a:lnTo>
                    <a:pt x="538" y="257"/>
                  </a:lnTo>
                  <a:lnTo>
                    <a:pt x="517" y="246"/>
                  </a:lnTo>
                  <a:lnTo>
                    <a:pt x="506" y="232"/>
                  </a:lnTo>
                  <a:lnTo>
                    <a:pt x="499" y="214"/>
                  </a:lnTo>
                  <a:lnTo>
                    <a:pt x="499" y="200"/>
                  </a:lnTo>
                  <a:lnTo>
                    <a:pt x="502" y="186"/>
                  </a:lnTo>
                  <a:lnTo>
                    <a:pt x="509" y="171"/>
                  </a:lnTo>
                  <a:lnTo>
                    <a:pt x="517" y="157"/>
                  </a:lnTo>
                  <a:lnTo>
                    <a:pt x="499" y="143"/>
                  </a:lnTo>
                  <a:lnTo>
                    <a:pt x="481" y="136"/>
                  </a:lnTo>
                  <a:lnTo>
                    <a:pt x="459" y="132"/>
                  </a:lnTo>
                  <a:lnTo>
                    <a:pt x="435" y="136"/>
                  </a:lnTo>
                  <a:lnTo>
                    <a:pt x="427" y="139"/>
                  </a:lnTo>
                  <a:lnTo>
                    <a:pt x="420" y="143"/>
                  </a:lnTo>
                  <a:lnTo>
                    <a:pt x="410" y="143"/>
                  </a:lnTo>
                  <a:lnTo>
                    <a:pt x="399" y="143"/>
                  </a:lnTo>
                  <a:lnTo>
                    <a:pt x="392" y="136"/>
                  </a:lnTo>
                  <a:lnTo>
                    <a:pt x="385" y="122"/>
                  </a:lnTo>
                  <a:lnTo>
                    <a:pt x="381" y="100"/>
                  </a:lnTo>
                  <a:lnTo>
                    <a:pt x="385" y="86"/>
                  </a:lnTo>
                  <a:lnTo>
                    <a:pt x="356" y="86"/>
                  </a:lnTo>
                  <a:lnTo>
                    <a:pt x="345" y="89"/>
                  </a:lnTo>
                  <a:lnTo>
                    <a:pt x="338" y="93"/>
                  </a:lnTo>
                  <a:lnTo>
                    <a:pt x="331" y="100"/>
                  </a:lnTo>
                  <a:lnTo>
                    <a:pt x="328" y="129"/>
                  </a:lnTo>
                  <a:lnTo>
                    <a:pt x="328" y="150"/>
                  </a:lnTo>
                  <a:lnTo>
                    <a:pt x="317" y="146"/>
                  </a:lnTo>
                  <a:lnTo>
                    <a:pt x="299" y="136"/>
                  </a:lnTo>
                  <a:lnTo>
                    <a:pt x="246" y="107"/>
                  </a:lnTo>
                  <a:lnTo>
                    <a:pt x="235" y="104"/>
                  </a:lnTo>
                  <a:lnTo>
                    <a:pt x="238" y="82"/>
                  </a:lnTo>
                  <a:lnTo>
                    <a:pt x="238" y="61"/>
                  </a:lnTo>
                  <a:lnTo>
                    <a:pt x="238" y="40"/>
                  </a:lnTo>
                  <a:lnTo>
                    <a:pt x="235" y="18"/>
                  </a:lnTo>
                  <a:lnTo>
                    <a:pt x="231" y="11"/>
                  </a:lnTo>
                  <a:lnTo>
                    <a:pt x="228" y="4"/>
                  </a:lnTo>
                  <a:lnTo>
                    <a:pt x="221" y="0"/>
                  </a:lnTo>
                  <a:lnTo>
                    <a:pt x="214" y="0"/>
                  </a:lnTo>
                  <a:lnTo>
                    <a:pt x="203" y="0"/>
                  </a:lnTo>
                  <a:lnTo>
                    <a:pt x="192" y="7"/>
                  </a:lnTo>
                  <a:lnTo>
                    <a:pt x="167" y="18"/>
                  </a:lnTo>
                  <a:lnTo>
                    <a:pt x="149" y="25"/>
                  </a:lnTo>
                  <a:lnTo>
                    <a:pt x="132" y="25"/>
                  </a:lnTo>
                  <a:lnTo>
                    <a:pt x="117" y="25"/>
                  </a:lnTo>
                  <a:lnTo>
                    <a:pt x="107" y="22"/>
                  </a:lnTo>
                  <a:lnTo>
                    <a:pt x="99" y="15"/>
                  </a:lnTo>
                  <a:lnTo>
                    <a:pt x="96" y="11"/>
                  </a:lnTo>
                  <a:lnTo>
                    <a:pt x="57" y="36"/>
                  </a:lnTo>
                  <a:lnTo>
                    <a:pt x="35" y="43"/>
                  </a:lnTo>
                  <a:lnTo>
                    <a:pt x="46" y="50"/>
                  </a:lnTo>
                  <a:lnTo>
                    <a:pt x="60" y="64"/>
                  </a:lnTo>
                  <a:lnTo>
                    <a:pt x="67" y="79"/>
                  </a:lnTo>
                  <a:lnTo>
                    <a:pt x="74" y="93"/>
                  </a:lnTo>
                  <a:lnTo>
                    <a:pt x="78" y="111"/>
                  </a:lnTo>
                  <a:lnTo>
                    <a:pt x="78" y="136"/>
                  </a:lnTo>
                  <a:lnTo>
                    <a:pt x="89" y="150"/>
                  </a:lnTo>
                  <a:lnTo>
                    <a:pt x="103" y="168"/>
                  </a:lnTo>
                  <a:lnTo>
                    <a:pt x="117" y="186"/>
                  </a:lnTo>
                  <a:lnTo>
                    <a:pt x="124" y="193"/>
                  </a:lnTo>
                  <a:lnTo>
                    <a:pt x="124" y="200"/>
                  </a:lnTo>
                  <a:lnTo>
                    <a:pt x="121" y="207"/>
                  </a:lnTo>
                  <a:lnTo>
                    <a:pt x="114" y="211"/>
                  </a:lnTo>
                  <a:lnTo>
                    <a:pt x="96" y="218"/>
                  </a:lnTo>
                  <a:lnTo>
                    <a:pt x="85" y="221"/>
                  </a:lnTo>
                  <a:lnTo>
                    <a:pt x="74" y="228"/>
                  </a:lnTo>
                  <a:lnTo>
                    <a:pt x="64" y="243"/>
                  </a:lnTo>
                  <a:lnTo>
                    <a:pt x="53" y="268"/>
                  </a:lnTo>
                  <a:lnTo>
                    <a:pt x="46" y="296"/>
                  </a:lnTo>
                  <a:lnTo>
                    <a:pt x="39" y="325"/>
                  </a:lnTo>
                  <a:lnTo>
                    <a:pt x="25" y="353"/>
                  </a:lnTo>
                  <a:lnTo>
                    <a:pt x="10" y="382"/>
                  </a:lnTo>
                  <a:lnTo>
                    <a:pt x="0" y="535"/>
                  </a:lnTo>
                  <a:lnTo>
                    <a:pt x="17" y="553"/>
                  </a:lnTo>
                  <a:lnTo>
                    <a:pt x="53" y="581"/>
                  </a:lnTo>
                  <a:lnTo>
                    <a:pt x="74" y="596"/>
                  </a:lnTo>
                  <a:lnTo>
                    <a:pt x="96" y="603"/>
                  </a:lnTo>
                  <a:lnTo>
                    <a:pt x="103" y="606"/>
                  </a:lnTo>
                  <a:lnTo>
                    <a:pt x="110" y="603"/>
                  </a:lnTo>
                  <a:lnTo>
                    <a:pt x="117" y="599"/>
                  </a:lnTo>
                  <a:lnTo>
                    <a:pt x="121" y="592"/>
                  </a:lnTo>
                  <a:lnTo>
                    <a:pt x="132" y="578"/>
                  </a:lnTo>
                  <a:lnTo>
                    <a:pt x="142" y="571"/>
                  </a:lnTo>
                  <a:lnTo>
                    <a:pt x="153" y="567"/>
                  </a:lnTo>
                  <a:lnTo>
                    <a:pt x="167" y="574"/>
                  </a:lnTo>
                  <a:lnTo>
                    <a:pt x="178" y="578"/>
                  </a:lnTo>
                  <a:lnTo>
                    <a:pt x="189" y="588"/>
                  </a:lnTo>
                  <a:lnTo>
                    <a:pt x="203" y="599"/>
                  </a:lnTo>
                  <a:lnTo>
                    <a:pt x="221" y="628"/>
                  </a:lnTo>
                  <a:lnTo>
                    <a:pt x="235" y="656"/>
                  </a:lnTo>
                  <a:lnTo>
                    <a:pt x="246" y="688"/>
                  </a:lnTo>
                  <a:lnTo>
                    <a:pt x="310" y="635"/>
                  </a:lnTo>
                  <a:lnTo>
                    <a:pt x="370" y="581"/>
                  </a:lnTo>
                  <a:lnTo>
                    <a:pt x="424" y="528"/>
                  </a:lnTo>
                  <a:lnTo>
                    <a:pt x="445" y="503"/>
                  </a:lnTo>
                  <a:lnTo>
                    <a:pt x="463" y="489"/>
                  </a:lnTo>
                  <a:lnTo>
                    <a:pt x="477" y="478"/>
                  </a:lnTo>
                  <a:lnTo>
                    <a:pt x="488" y="467"/>
                  </a:lnTo>
                  <a:lnTo>
                    <a:pt x="492" y="460"/>
                  </a:lnTo>
                  <a:lnTo>
                    <a:pt x="492" y="446"/>
                  </a:lnTo>
                  <a:lnTo>
                    <a:pt x="484" y="428"/>
                  </a:lnTo>
                  <a:lnTo>
                    <a:pt x="474" y="400"/>
                  </a:lnTo>
                  <a:lnTo>
                    <a:pt x="463" y="371"/>
                  </a:lnTo>
                  <a:lnTo>
                    <a:pt x="463" y="346"/>
                  </a:lnTo>
                  <a:lnTo>
                    <a:pt x="467" y="328"/>
                  </a:lnTo>
                  <a:lnTo>
                    <a:pt x="477" y="314"/>
                  </a:lnTo>
                  <a:lnTo>
                    <a:pt x="488" y="307"/>
                  </a:lnTo>
                  <a:lnTo>
                    <a:pt x="499" y="300"/>
                  </a:lnTo>
                  <a:lnTo>
                    <a:pt x="513" y="296"/>
                  </a:lnTo>
                  <a:lnTo>
                    <a:pt x="527" y="293"/>
                  </a:lnTo>
                  <a:lnTo>
                    <a:pt x="552" y="285"/>
                  </a:lnTo>
                  <a:lnTo>
                    <a:pt x="563" y="282"/>
                  </a:lnTo>
                  <a:lnTo>
                    <a:pt x="563" y="278"/>
                  </a:lnTo>
                  <a:lnTo>
                    <a:pt x="563" y="275"/>
                  </a:lnTo>
                  <a:lnTo>
                    <a:pt x="559" y="268"/>
                  </a:lnTo>
                  <a:lnTo>
                    <a:pt x="538" y="257"/>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6" name="Freeform 12"/>
            <p:cNvSpPr>
              <a:spLocks/>
            </p:cNvSpPr>
            <p:nvPr/>
          </p:nvSpPr>
          <p:spPr bwMode="auto">
            <a:xfrm>
              <a:off x="3950" y="827"/>
              <a:ext cx="766" cy="984"/>
            </a:xfrm>
            <a:custGeom>
              <a:avLst/>
              <a:gdLst>
                <a:gd name="T0" fmla="*/ 560 w 766"/>
                <a:gd name="T1" fmla="*/ 713 h 984"/>
                <a:gd name="T2" fmla="*/ 552 w 766"/>
                <a:gd name="T3" fmla="*/ 692 h 984"/>
                <a:gd name="T4" fmla="*/ 556 w 766"/>
                <a:gd name="T5" fmla="*/ 659 h 984"/>
                <a:gd name="T6" fmla="*/ 592 w 766"/>
                <a:gd name="T7" fmla="*/ 563 h 984"/>
                <a:gd name="T8" fmla="*/ 567 w 766"/>
                <a:gd name="T9" fmla="*/ 538 h 984"/>
                <a:gd name="T10" fmla="*/ 574 w 766"/>
                <a:gd name="T11" fmla="*/ 517 h 984"/>
                <a:gd name="T12" fmla="*/ 617 w 766"/>
                <a:gd name="T13" fmla="*/ 485 h 984"/>
                <a:gd name="T14" fmla="*/ 627 w 766"/>
                <a:gd name="T15" fmla="*/ 428 h 984"/>
                <a:gd name="T16" fmla="*/ 649 w 766"/>
                <a:gd name="T17" fmla="*/ 414 h 984"/>
                <a:gd name="T18" fmla="*/ 642 w 766"/>
                <a:gd name="T19" fmla="*/ 392 h 984"/>
                <a:gd name="T20" fmla="*/ 688 w 766"/>
                <a:gd name="T21" fmla="*/ 374 h 984"/>
                <a:gd name="T22" fmla="*/ 763 w 766"/>
                <a:gd name="T23" fmla="*/ 310 h 984"/>
                <a:gd name="T24" fmla="*/ 763 w 766"/>
                <a:gd name="T25" fmla="*/ 278 h 984"/>
                <a:gd name="T26" fmla="*/ 727 w 766"/>
                <a:gd name="T27" fmla="*/ 239 h 984"/>
                <a:gd name="T28" fmla="*/ 624 w 766"/>
                <a:gd name="T29" fmla="*/ 143 h 984"/>
                <a:gd name="T30" fmla="*/ 656 w 766"/>
                <a:gd name="T31" fmla="*/ 143 h 984"/>
                <a:gd name="T32" fmla="*/ 674 w 766"/>
                <a:gd name="T33" fmla="*/ 96 h 984"/>
                <a:gd name="T34" fmla="*/ 691 w 766"/>
                <a:gd name="T35" fmla="*/ 78 h 984"/>
                <a:gd name="T36" fmla="*/ 695 w 766"/>
                <a:gd name="T37" fmla="*/ 32 h 984"/>
                <a:gd name="T38" fmla="*/ 695 w 766"/>
                <a:gd name="T39" fmla="*/ 7 h 984"/>
                <a:gd name="T40" fmla="*/ 620 w 766"/>
                <a:gd name="T41" fmla="*/ 14 h 984"/>
                <a:gd name="T42" fmla="*/ 524 w 766"/>
                <a:gd name="T43" fmla="*/ 57 h 984"/>
                <a:gd name="T44" fmla="*/ 481 w 766"/>
                <a:gd name="T45" fmla="*/ 86 h 984"/>
                <a:gd name="T46" fmla="*/ 428 w 766"/>
                <a:gd name="T47" fmla="*/ 68 h 984"/>
                <a:gd name="T48" fmla="*/ 364 w 766"/>
                <a:gd name="T49" fmla="*/ 7 h 984"/>
                <a:gd name="T50" fmla="*/ 346 w 766"/>
                <a:gd name="T51" fmla="*/ 50 h 984"/>
                <a:gd name="T52" fmla="*/ 385 w 766"/>
                <a:gd name="T53" fmla="*/ 107 h 984"/>
                <a:gd name="T54" fmla="*/ 410 w 766"/>
                <a:gd name="T55" fmla="*/ 128 h 984"/>
                <a:gd name="T56" fmla="*/ 360 w 766"/>
                <a:gd name="T57" fmla="*/ 146 h 984"/>
                <a:gd name="T58" fmla="*/ 324 w 766"/>
                <a:gd name="T59" fmla="*/ 164 h 984"/>
                <a:gd name="T60" fmla="*/ 321 w 766"/>
                <a:gd name="T61" fmla="*/ 250 h 984"/>
                <a:gd name="T62" fmla="*/ 339 w 766"/>
                <a:gd name="T63" fmla="*/ 310 h 984"/>
                <a:gd name="T64" fmla="*/ 292 w 766"/>
                <a:gd name="T65" fmla="*/ 353 h 984"/>
                <a:gd name="T66" fmla="*/ 160 w 766"/>
                <a:gd name="T67" fmla="*/ 485 h 984"/>
                <a:gd name="T68" fmla="*/ 100 w 766"/>
                <a:gd name="T69" fmla="*/ 574 h 984"/>
                <a:gd name="T70" fmla="*/ 7 w 766"/>
                <a:gd name="T71" fmla="*/ 745 h 984"/>
                <a:gd name="T72" fmla="*/ 11 w 766"/>
                <a:gd name="T73" fmla="*/ 770 h 984"/>
                <a:gd name="T74" fmla="*/ 85 w 766"/>
                <a:gd name="T75" fmla="*/ 788 h 984"/>
                <a:gd name="T76" fmla="*/ 128 w 766"/>
                <a:gd name="T77" fmla="*/ 813 h 984"/>
                <a:gd name="T78" fmla="*/ 171 w 766"/>
                <a:gd name="T79" fmla="*/ 902 h 984"/>
                <a:gd name="T80" fmla="*/ 192 w 766"/>
                <a:gd name="T81" fmla="*/ 920 h 984"/>
                <a:gd name="T82" fmla="*/ 274 w 766"/>
                <a:gd name="T83" fmla="*/ 952 h 984"/>
                <a:gd name="T84" fmla="*/ 364 w 766"/>
                <a:gd name="T85" fmla="*/ 923 h 984"/>
                <a:gd name="T86" fmla="*/ 374 w 766"/>
                <a:gd name="T87" fmla="*/ 863 h 984"/>
                <a:gd name="T88" fmla="*/ 356 w 766"/>
                <a:gd name="T89" fmla="*/ 806 h 984"/>
                <a:gd name="T90" fmla="*/ 385 w 766"/>
                <a:gd name="T91" fmla="*/ 752 h 984"/>
                <a:gd name="T92" fmla="*/ 413 w 766"/>
                <a:gd name="T93" fmla="*/ 749 h 984"/>
                <a:gd name="T94" fmla="*/ 456 w 766"/>
                <a:gd name="T95" fmla="*/ 727 h 984"/>
                <a:gd name="T96" fmla="*/ 478 w 766"/>
                <a:gd name="T97" fmla="*/ 734 h 984"/>
                <a:gd name="T98" fmla="*/ 492 w 766"/>
                <a:gd name="T99" fmla="*/ 763 h 984"/>
                <a:gd name="T100" fmla="*/ 520 w 766"/>
                <a:gd name="T101" fmla="*/ 770 h 984"/>
                <a:gd name="T102" fmla="*/ 552 w 766"/>
                <a:gd name="T103" fmla="*/ 724 h 98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6"/>
                <a:gd name="T157" fmla="*/ 0 h 984"/>
                <a:gd name="T158" fmla="*/ 766 w 766"/>
                <a:gd name="T159" fmla="*/ 984 h 98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6" h="984">
                  <a:moveTo>
                    <a:pt x="552" y="724"/>
                  </a:moveTo>
                  <a:lnTo>
                    <a:pt x="552" y="724"/>
                  </a:lnTo>
                  <a:lnTo>
                    <a:pt x="552" y="720"/>
                  </a:lnTo>
                  <a:lnTo>
                    <a:pt x="560" y="713"/>
                  </a:lnTo>
                  <a:lnTo>
                    <a:pt x="560" y="702"/>
                  </a:lnTo>
                  <a:lnTo>
                    <a:pt x="556" y="699"/>
                  </a:lnTo>
                  <a:lnTo>
                    <a:pt x="552" y="692"/>
                  </a:lnTo>
                  <a:lnTo>
                    <a:pt x="545" y="688"/>
                  </a:lnTo>
                  <a:lnTo>
                    <a:pt x="545" y="681"/>
                  </a:lnTo>
                  <a:lnTo>
                    <a:pt x="549" y="670"/>
                  </a:lnTo>
                  <a:lnTo>
                    <a:pt x="556" y="659"/>
                  </a:lnTo>
                  <a:lnTo>
                    <a:pt x="560" y="656"/>
                  </a:lnTo>
                  <a:lnTo>
                    <a:pt x="585" y="627"/>
                  </a:lnTo>
                  <a:lnTo>
                    <a:pt x="574" y="599"/>
                  </a:lnTo>
                  <a:lnTo>
                    <a:pt x="592" y="563"/>
                  </a:lnTo>
                  <a:lnTo>
                    <a:pt x="588" y="556"/>
                  </a:lnTo>
                  <a:lnTo>
                    <a:pt x="581" y="549"/>
                  </a:lnTo>
                  <a:lnTo>
                    <a:pt x="567" y="538"/>
                  </a:lnTo>
                  <a:lnTo>
                    <a:pt x="563" y="531"/>
                  </a:lnTo>
                  <a:lnTo>
                    <a:pt x="567" y="524"/>
                  </a:lnTo>
                  <a:lnTo>
                    <a:pt x="574" y="517"/>
                  </a:lnTo>
                  <a:lnTo>
                    <a:pt x="585" y="506"/>
                  </a:lnTo>
                  <a:lnTo>
                    <a:pt x="606" y="492"/>
                  </a:lnTo>
                  <a:lnTo>
                    <a:pt x="617" y="485"/>
                  </a:lnTo>
                  <a:lnTo>
                    <a:pt x="620" y="467"/>
                  </a:lnTo>
                  <a:lnTo>
                    <a:pt x="627" y="446"/>
                  </a:lnTo>
                  <a:lnTo>
                    <a:pt x="627" y="428"/>
                  </a:lnTo>
                  <a:lnTo>
                    <a:pt x="627" y="421"/>
                  </a:lnTo>
                  <a:lnTo>
                    <a:pt x="631" y="417"/>
                  </a:lnTo>
                  <a:lnTo>
                    <a:pt x="638" y="414"/>
                  </a:lnTo>
                  <a:lnTo>
                    <a:pt x="649" y="414"/>
                  </a:lnTo>
                  <a:lnTo>
                    <a:pt x="645" y="406"/>
                  </a:lnTo>
                  <a:lnTo>
                    <a:pt x="642" y="399"/>
                  </a:lnTo>
                  <a:lnTo>
                    <a:pt x="642" y="392"/>
                  </a:lnTo>
                  <a:lnTo>
                    <a:pt x="645" y="385"/>
                  </a:lnTo>
                  <a:lnTo>
                    <a:pt x="652" y="378"/>
                  </a:lnTo>
                  <a:lnTo>
                    <a:pt x="663" y="374"/>
                  </a:lnTo>
                  <a:lnTo>
                    <a:pt x="688" y="374"/>
                  </a:lnTo>
                  <a:lnTo>
                    <a:pt x="702" y="356"/>
                  </a:lnTo>
                  <a:lnTo>
                    <a:pt x="702" y="339"/>
                  </a:lnTo>
                  <a:lnTo>
                    <a:pt x="763" y="310"/>
                  </a:lnTo>
                  <a:lnTo>
                    <a:pt x="763" y="307"/>
                  </a:lnTo>
                  <a:lnTo>
                    <a:pt x="766" y="292"/>
                  </a:lnTo>
                  <a:lnTo>
                    <a:pt x="766" y="285"/>
                  </a:lnTo>
                  <a:lnTo>
                    <a:pt x="763" y="278"/>
                  </a:lnTo>
                  <a:lnTo>
                    <a:pt x="756" y="271"/>
                  </a:lnTo>
                  <a:lnTo>
                    <a:pt x="745" y="267"/>
                  </a:lnTo>
                  <a:lnTo>
                    <a:pt x="745" y="246"/>
                  </a:lnTo>
                  <a:lnTo>
                    <a:pt x="727" y="239"/>
                  </a:lnTo>
                  <a:lnTo>
                    <a:pt x="620" y="153"/>
                  </a:lnTo>
                  <a:lnTo>
                    <a:pt x="620" y="150"/>
                  </a:lnTo>
                  <a:lnTo>
                    <a:pt x="624" y="143"/>
                  </a:lnTo>
                  <a:lnTo>
                    <a:pt x="627" y="139"/>
                  </a:lnTo>
                  <a:lnTo>
                    <a:pt x="634" y="139"/>
                  </a:lnTo>
                  <a:lnTo>
                    <a:pt x="645" y="139"/>
                  </a:lnTo>
                  <a:lnTo>
                    <a:pt x="656" y="143"/>
                  </a:lnTo>
                  <a:lnTo>
                    <a:pt x="663" y="132"/>
                  </a:lnTo>
                  <a:lnTo>
                    <a:pt x="663" y="96"/>
                  </a:lnTo>
                  <a:lnTo>
                    <a:pt x="674" y="96"/>
                  </a:lnTo>
                  <a:lnTo>
                    <a:pt x="681" y="96"/>
                  </a:lnTo>
                  <a:lnTo>
                    <a:pt x="688" y="93"/>
                  </a:lnTo>
                  <a:lnTo>
                    <a:pt x="695" y="89"/>
                  </a:lnTo>
                  <a:lnTo>
                    <a:pt x="691" y="78"/>
                  </a:lnTo>
                  <a:lnTo>
                    <a:pt x="681" y="64"/>
                  </a:lnTo>
                  <a:lnTo>
                    <a:pt x="659" y="46"/>
                  </a:lnTo>
                  <a:lnTo>
                    <a:pt x="667" y="39"/>
                  </a:lnTo>
                  <a:lnTo>
                    <a:pt x="695" y="32"/>
                  </a:lnTo>
                  <a:lnTo>
                    <a:pt x="699" y="25"/>
                  </a:lnTo>
                  <a:lnTo>
                    <a:pt x="699" y="14"/>
                  </a:lnTo>
                  <a:lnTo>
                    <a:pt x="695" y="7"/>
                  </a:lnTo>
                  <a:lnTo>
                    <a:pt x="688" y="0"/>
                  </a:lnTo>
                  <a:lnTo>
                    <a:pt x="677" y="0"/>
                  </a:lnTo>
                  <a:lnTo>
                    <a:pt x="659" y="0"/>
                  </a:lnTo>
                  <a:lnTo>
                    <a:pt x="620" y="14"/>
                  </a:lnTo>
                  <a:lnTo>
                    <a:pt x="595" y="11"/>
                  </a:lnTo>
                  <a:lnTo>
                    <a:pt x="574" y="32"/>
                  </a:lnTo>
                  <a:lnTo>
                    <a:pt x="524" y="57"/>
                  </a:lnTo>
                  <a:lnTo>
                    <a:pt x="517" y="68"/>
                  </a:lnTo>
                  <a:lnTo>
                    <a:pt x="506" y="75"/>
                  </a:lnTo>
                  <a:lnTo>
                    <a:pt x="495" y="82"/>
                  </a:lnTo>
                  <a:lnTo>
                    <a:pt x="481" y="86"/>
                  </a:lnTo>
                  <a:lnTo>
                    <a:pt x="467" y="86"/>
                  </a:lnTo>
                  <a:lnTo>
                    <a:pt x="449" y="82"/>
                  </a:lnTo>
                  <a:lnTo>
                    <a:pt x="428" y="68"/>
                  </a:lnTo>
                  <a:lnTo>
                    <a:pt x="396" y="36"/>
                  </a:lnTo>
                  <a:lnTo>
                    <a:pt x="364" y="7"/>
                  </a:lnTo>
                  <a:lnTo>
                    <a:pt x="353" y="21"/>
                  </a:lnTo>
                  <a:lnTo>
                    <a:pt x="349" y="36"/>
                  </a:lnTo>
                  <a:lnTo>
                    <a:pt x="346" y="50"/>
                  </a:lnTo>
                  <a:lnTo>
                    <a:pt x="346" y="68"/>
                  </a:lnTo>
                  <a:lnTo>
                    <a:pt x="353" y="82"/>
                  </a:lnTo>
                  <a:lnTo>
                    <a:pt x="364" y="96"/>
                  </a:lnTo>
                  <a:lnTo>
                    <a:pt x="385" y="107"/>
                  </a:lnTo>
                  <a:lnTo>
                    <a:pt x="403" y="118"/>
                  </a:lnTo>
                  <a:lnTo>
                    <a:pt x="410" y="125"/>
                  </a:lnTo>
                  <a:lnTo>
                    <a:pt x="410" y="128"/>
                  </a:lnTo>
                  <a:lnTo>
                    <a:pt x="406" y="132"/>
                  </a:lnTo>
                  <a:lnTo>
                    <a:pt x="399" y="135"/>
                  </a:lnTo>
                  <a:lnTo>
                    <a:pt x="374" y="143"/>
                  </a:lnTo>
                  <a:lnTo>
                    <a:pt x="360" y="146"/>
                  </a:lnTo>
                  <a:lnTo>
                    <a:pt x="346" y="150"/>
                  </a:lnTo>
                  <a:lnTo>
                    <a:pt x="335" y="157"/>
                  </a:lnTo>
                  <a:lnTo>
                    <a:pt x="324" y="164"/>
                  </a:lnTo>
                  <a:lnTo>
                    <a:pt x="314" y="178"/>
                  </a:lnTo>
                  <a:lnTo>
                    <a:pt x="306" y="196"/>
                  </a:lnTo>
                  <a:lnTo>
                    <a:pt x="310" y="221"/>
                  </a:lnTo>
                  <a:lnTo>
                    <a:pt x="321" y="250"/>
                  </a:lnTo>
                  <a:lnTo>
                    <a:pt x="331" y="278"/>
                  </a:lnTo>
                  <a:lnTo>
                    <a:pt x="339" y="296"/>
                  </a:lnTo>
                  <a:lnTo>
                    <a:pt x="339" y="310"/>
                  </a:lnTo>
                  <a:lnTo>
                    <a:pt x="335" y="317"/>
                  </a:lnTo>
                  <a:lnTo>
                    <a:pt x="324" y="328"/>
                  </a:lnTo>
                  <a:lnTo>
                    <a:pt x="310" y="339"/>
                  </a:lnTo>
                  <a:lnTo>
                    <a:pt x="292" y="353"/>
                  </a:lnTo>
                  <a:lnTo>
                    <a:pt x="271" y="378"/>
                  </a:lnTo>
                  <a:lnTo>
                    <a:pt x="217" y="431"/>
                  </a:lnTo>
                  <a:lnTo>
                    <a:pt x="160" y="485"/>
                  </a:lnTo>
                  <a:lnTo>
                    <a:pt x="100" y="538"/>
                  </a:lnTo>
                  <a:lnTo>
                    <a:pt x="96" y="542"/>
                  </a:lnTo>
                  <a:lnTo>
                    <a:pt x="100" y="574"/>
                  </a:lnTo>
                  <a:lnTo>
                    <a:pt x="103" y="613"/>
                  </a:lnTo>
                  <a:lnTo>
                    <a:pt x="7" y="745"/>
                  </a:lnTo>
                  <a:lnTo>
                    <a:pt x="3" y="752"/>
                  </a:lnTo>
                  <a:lnTo>
                    <a:pt x="0" y="759"/>
                  </a:lnTo>
                  <a:lnTo>
                    <a:pt x="3" y="763"/>
                  </a:lnTo>
                  <a:lnTo>
                    <a:pt x="11" y="770"/>
                  </a:lnTo>
                  <a:lnTo>
                    <a:pt x="28" y="781"/>
                  </a:lnTo>
                  <a:lnTo>
                    <a:pt x="57" y="784"/>
                  </a:lnTo>
                  <a:lnTo>
                    <a:pt x="85" y="788"/>
                  </a:lnTo>
                  <a:lnTo>
                    <a:pt x="100" y="791"/>
                  </a:lnTo>
                  <a:lnTo>
                    <a:pt x="110" y="795"/>
                  </a:lnTo>
                  <a:lnTo>
                    <a:pt x="121" y="806"/>
                  </a:lnTo>
                  <a:lnTo>
                    <a:pt x="128" y="813"/>
                  </a:lnTo>
                  <a:lnTo>
                    <a:pt x="135" y="827"/>
                  </a:lnTo>
                  <a:lnTo>
                    <a:pt x="139" y="845"/>
                  </a:lnTo>
                  <a:lnTo>
                    <a:pt x="171" y="852"/>
                  </a:lnTo>
                  <a:lnTo>
                    <a:pt x="171" y="902"/>
                  </a:lnTo>
                  <a:lnTo>
                    <a:pt x="175" y="905"/>
                  </a:lnTo>
                  <a:lnTo>
                    <a:pt x="182" y="916"/>
                  </a:lnTo>
                  <a:lnTo>
                    <a:pt x="192" y="920"/>
                  </a:lnTo>
                  <a:lnTo>
                    <a:pt x="203" y="920"/>
                  </a:lnTo>
                  <a:lnTo>
                    <a:pt x="217" y="920"/>
                  </a:lnTo>
                  <a:lnTo>
                    <a:pt x="235" y="913"/>
                  </a:lnTo>
                  <a:lnTo>
                    <a:pt x="274" y="952"/>
                  </a:lnTo>
                  <a:lnTo>
                    <a:pt x="328" y="984"/>
                  </a:lnTo>
                  <a:lnTo>
                    <a:pt x="331" y="984"/>
                  </a:lnTo>
                  <a:lnTo>
                    <a:pt x="364" y="923"/>
                  </a:lnTo>
                  <a:lnTo>
                    <a:pt x="367" y="916"/>
                  </a:lnTo>
                  <a:lnTo>
                    <a:pt x="374" y="895"/>
                  </a:lnTo>
                  <a:lnTo>
                    <a:pt x="374" y="881"/>
                  </a:lnTo>
                  <a:lnTo>
                    <a:pt x="374" y="863"/>
                  </a:lnTo>
                  <a:lnTo>
                    <a:pt x="371" y="845"/>
                  </a:lnTo>
                  <a:lnTo>
                    <a:pt x="364" y="823"/>
                  </a:lnTo>
                  <a:lnTo>
                    <a:pt x="356" y="806"/>
                  </a:lnTo>
                  <a:lnTo>
                    <a:pt x="356" y="788"/>
                  </a:lnTo>
                  <a:lnTo>
                    <a:pt x="360" y="774"/>
                  </a:lnTo>
                  <a:lnTo>
                    <a:pt x="367" y="763"/>
                  </a:lnTo>
                  <a:lnTo>
                    <a:pt x="385" y="752"/>
                  </a:lnTo>
                  <a:lnTo>
                    <a:pt x="392" y="745"/>
                  </a:lnTo>
                  <a:lnTo>
                    <a:pt x="399" y="749"/>
                  </a:lnTo>
                  <a:lnTo>
                    <a:pt x="413" y="749"/>
                  </a:lnTo>
                  <a:lnTo>
                    <a:pt x="424" y="749"/>
                  </a:lnTo>
                  <a:lnTo>
                    <a:pt x="435" y="745"/>
                  </a:lnTo>
                  <a:lnTo>
                    <a:pt x="446" y="738"/>
                  </a:lnTo>
                  <a:lnTo>
                    <a:pt x="456" y="727"/>
                  </a:lnTo>
                  <a:lnTo>
                    <a:pt x="460" y="727"/>
                  </a:lnTo>
                  <a:lnTo>
                    <a:pt x="470" y="731"/>
                  </a:lnTo>
                  <a:lnTo>
                    <a:pt x="478" y="734"/>
                  </a:lnTo>
                  <a:lnTo>
                    <a:pt x="481" y="738"/>
                  </a:lnTo>
                  <a:lnTo>
                    <a:pt x="488" y="749"/>
                  </a:lnTo>
                  <a:lnTo>
                    <a:pt x="492" y="763"/>
                  </a:lnTo>
                  <a:lnTo>
                    <a:pt x="499" y="766"/>
                  </a:lnTo>
                  <a:lnTo>
                    <a:pt x="503" y="770"/>
                  </a:lnTo>
                  <a:lnTo>
                    <a:pt x="510" y="770"/>
                  </a:lnTo>
                  <a:lnTo>
                    <a:pt x="520" y="770"/>
                  </a:lnTo>
                  <a:lnTo>
                    <a:pt x="531" y="759"/>
                  </a:lnTo>
                  <a:lnTo>
                    <a:pt x="542" y="745"/>
                  </a:lnTo>
                  <a:lnTo>
                    <a:pt x="552" y="724"/>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7" name="Freeform 13"/>
            <p:cNvSpPr>
              <a:spLocks/>
            </p:cNvSpPr>
            <p:nvPr/>
          </p:nvSpPr>
          <p:spPr bwMode="auto">
            <a:xfrm>
              <a:off x="3041" y="649"/>
              <a:ext cx="880" cy="656"/>
            </a:xfrm>
            <a:custGeom>
              <a:avLst/>
              <a:gdLst>
                <a:gd name="T0" fmla="*/ 852 w 880"/>
                <a:gd name="T1" fmla="*/ 189 h 656"/>
                <a:gd name="T2" fmla="*/ 834 w 880"/>
                <a:gd name="T3" fmla="*/ 153 h 656"/>
                <a:gd name="T4" fmla="*/ 820 w 880"/>
                <a:gd name="T5" fmla="*/ 96 h 656"/>
                <a:gd name="T6" fmla="*/ 791 w 880"/>
                <a:gd name="T7" fmla="*/ 71 h 656"/>
                <a:gd name="T8" fmla="*/ 756 w 880"/>
                <a:gd name="T9" fmla="*/ 92 h 656"/>
                <a:gd name="T10" fmla="*/ 734 w 880"/>
                <a:gd name="T11" fmla="*/ 100 h 656"/>
                <a:gd name="T12" fmla="*/ 659 w 880"/>
                <a:gd name="T13" fmla="*/ 82 h 656"/>
                <a:gd name="T14" fmla="*/ 613 w 880"/>
                <a:gd name="T15" fmla="*/ 46 h 656"/>
                <a:gd name="T16" fmla="*/ 602 w 880"/>
                <a:gd name="T17" fmla="*/ 14 h 656"/>
                <a:gd name="T18" fmla="*/ 588 w 880"/>
                <a:gd name="T19" fmla="*/ 0 h 656"/>
                <a:gd name="T20" fmla="*/ 567 w 880"/>
                <a:gd name="T21" fmla="*/ 7 h 656"/>
                <a:gd name="T22" fmla="*/ 535 w 880"/>
                <a:gd name="T23" fmla="*/ 28 h 656"/>
                <a:gd name="T24" fmla="*/ 517 w 880"/>
                <a:gd name="T25" fmla="*/ 39 h 656"/>
                <a:gd name="T26" fmla="*/ 506 w 880"/>
                <a:gd name="T27" fmla="*/ 57 h 656"/>
                <a:gd name="T28" fmla="*/ 453 w 880"/>
                <a:gd name="T29" fmla="*/ 64 h 656"/>
                <a:gd name="T30" fmla="*/ 424 w 880"/>
                <a:gd name="T31" fmla="*/ 100 h 656"/>
                <a:gd name="T32" fmla="*/ 399 w 880"/>
                <a:gd name="T33" fmla="*/ 100 h 656"/>
                <a:gd name="T34" fmla="*/ 388 w 880"/>
                <a:gd name="T35" fmla="*/ 75 h 656"/>
                <a:gd name="T36" fmla="*/ 385 w 880"/>
                <a:gd name="T37" fmla="*/ 46 h 656"/>
                <a:gd name="T38" fmla="*/ 356 w 880"/>
                <a:gd name="T39" fmla="*/ 7 h 656"/>
                <a:gd name="T40" fmla="*/ 314 w 880"/>
                <a:gd name="T41" fmla="*/ 21 h 656"/>
                <a:gd name="T42" fmla="*/ 314 w 880"/>
                <a:gd name="T43" fmla="*/ 53 h 656"/>
                <a:gd name="T44" fmla="*/ 335 w 880"/>
                <a:gd name="T45" fmla="*/ 75 h 656"/>
                <a:gd name="T46" fmla="*/ 324 w 880"/>
                <a:gd name="T47" fmla="*/ 100 h 656"/>
                <a:gd name="T48" fmla="*/ 271 w 880"/>
                <a:gd name="T49" fmla="*/ 139 h 656"/>
                <a:gd name="T50" fmla="*/ 232 w 880"/>
                <a:gd name="T51" fmla="*/ 167 h 656"/>
                <a:gd name="T52" fmla="*/ 210 w 880"/>
                <a:gd name="T53" fmla="*/ 182 h 656"/>
                <a:gd name="T54" fmla="*/ 175 w 880"/>
                <a:gd name="T55" fmla="*/ 171 h 656"/>
                <a:gd name="T56" fmla="*/ 121 w 880"/>
                <a:gd name="T57" fmla="*/ 178 h 656"/>
                <a:gd name="T58" fmla="*/ 43 w 880"/>
                <a:gd name="T59" fmla="*/ 153 h 656"/>
                <a:gd name="T60" fmla="*/ 0 w 880"/>
                <a:gd name="T61" fmla="*/ 153 h 656"/>
                <a:gd name="T62" fmla="*/ 50 w 880"/>
                <a:gd name="T63" fmla="*/ 224 h 656"/>
                <a:gd name="T64" fmla="*/ 60 w 880"/>
                <a:gd name="T65" fmla="*/ 260 h 656"/>
                <a:gd name="T66" fmla="*/ 75 w 880"/>
                <a:gd name="T67" fmla="*/ 281 h 656"/>
                <a:gd name="T68" fmla="*/ 146 w 880"/>
                <a:gd name="T69" fmla="*/ 289 h 656"/>
                <a:gd name="T70" fmla="*/ 178 w 880"/>
                <a:gd name="T71" fmla="*/ 285 h 656"/>
                <a:gd name="T72" fmla="*/ 228 w 880"/>
                <a:gd name="T73" fmla="*/ 285 h 656"/>
                <a:gd name="T74" fmla="*/ 249 w 880"/>
                <a:gd name="T75" fmla="*/ 313 h 656"/>
                <a:gd name="T76" fmla="*/ 249 w 880"/>
                <a:gd name="T77" fmla="*/ 342 h 656"/>
                <a:gd name="T78" fmla="*/ 267 w 880"/>
                <a:gd name="T79" fmla="*/ 378 h 656"/>
                <a:gd name="T80" fmla="*/ 271 w 880"/>
                <a:gd name="T81" fmla="*/ 449 h 656"/>
                <a:gd name="T82" fmla="*/ 271 w 880"/>
                <a:gd name="T83" fmla="*/ 463 h 656"/>
                <a:gd name="T84" fmla="*/ 289 w 880"/>
                <a:gd name="T85" fmla="*/ 492 h 656"/>
                <a:gd name="T86" fmla="*/ 381 w 880"/>
                <a:gd name="T87" fmla="*/ 656 h 656"/>
                <a:gd name="T88" fmla="*/ 406 w 880"/>
                <a:gd name="T89" fmla="*/ 638 h 656"/>
                <a:gd name="T90" fmla="*/ 453 w 880"/>
                <a:gd name="T91" fmla="*/ 624 h 656"/>
                <a:gd name="T92" fmla="*/ 474 w 880"/>
                <a:gd name="T93" fmla="*/ 616 h 656"/>
                <a:gd name="T94" fmla="*/ 481 w 880"/>
                <a:gd name="T95" fmla="*/ 581 h 656"/>
                <a:gd name="T96" fmla="*/ 513 w 880"/>
                <a:gd name="T97" fmla="*/ 574 h 656"/>
                <a:gd name="T98" fmla="*/ 535 w 880"/>
                <a:gd name="T99" fmla="*/ 592 h 656"/>
                <a:gd name="T100" fmla="*/ 560 w 880"/>
                <a:gd name="T101" fmla="*/ 592 h 656"/>
                <a:gd name="T102" fmla="*/ 617 w 880"/>
                <a:gd name="T103" fmla="*/ 549 h 656"/>
                <a:gd name="T104" fmla="*/ 659 w 880"/>
                <a:gd name="T105" fmla="*/ 513 h 656"/>
                <a:gd name="T106" fmla="*/ 684 w 880"/>
                <a:gd name="T107" fmla="*/ 502 h 656"/>
                <a:gd name="T108" fmla="*/ 763 w 880"/>
                <a:gd name="T109" fmla="*/ 481 h 656"/>
                <a:gd name="T110" fmla="*/ 784 w 880"/>
                <a:gd name="T111" fmla="*/ 378 h 656"/>
                <a:gd name="T112" fmla="*/ 806 w 880"/>
                <a:gd name="T113" fmla="*/ 324 h 656"/>
                <a:gd name="T114" fmla="*/ 834 w 880"/>
                <a:gd name="T115" fmla="*/ 256 h 656"/>
                <a:gd name="T116" fmla="*/ 859 w 880"/>
                <a:gd name="T117" fmla="*/ 246 h 656"/>
                <a:gd name="T118" fmla="*/ 880 w 880"/>
                <a:gd name="T119" fmla="*/ 224 h 656"/>
                <a:gd name="T120" fmla="*/ 866 w 880"/>
                <a:gd name="T121" fmla="*/ 210 h 65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80"/>
                <a:gd name="T184" fmla="*/ 0 h 656"/>
                <a:gd name="T185" fmla="*/ 880 w 880"/>
                <a:gd name="T186" fmla="*/ 656 h 65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80" h="656">
                  <a:moveTo>
                    <a:pt x="866" y="210"/>
                  </a:moveTo>
                  <a:lnTo>
                    <a:pt x="866" y="210"/>
                  </a:lnTo>
                  <a:lnTo>
                    <a:pt x="852" y="189"/>
                  </a:lnTo>
                  <a:lnTo>
                    <a:pt x="838" y="167"/>
                  </a:lnTo>
                  <a:lnTo>
                    <a:pt x="834" y="153"/>
                  </a:lnTo>
                  <a:lnTo>
                    <a:pt x="830" y="125"/>
                  </a:lnTo>
                  <a:lnTo>
                    <a:pt x="827" y="110"/>
                  </a:lnTo>
                  <a:lnTo>
                    <a:pt x="820" y="96"/>
                  </a:lnTo>
                  <a:lnTo>
                    <a:pt x="806" y="82"/>
                  </a:lnTo>
                  <a:lnTo>
                    <a:pt x="791" y="71"/>
                  </a:lnTo>
                  <a:lnTo>
                    <a:pt x="777" y="75"/>
                  </a:lnTo>
                  <a:lnTo>
                    <a:pt x="766" y="82"/>
                  </a:lnTo>
                  <a:lnTo>
                    <a:pt x="756" y="92"/>
                  </a:lnTo>
                  <a:lnTo>
                    <a:pt x="756" y="103"/>
                  </a:lnTo>
                  <a:lnTo>
                    <a:pt x="734" y="100"/>
                  </a:lnTo>
                  <a:lnTo>
                    <a:pt x="713" y="100"/>
                  </a:lnTo>
                  <a:lnTo>
                    <a:pt x="684" y="92"/>
                  </a:lnTo>
                  <a:lnTo>
                    <a:pt x="659" y="82"/>
                  </a:lnTo>
                  <a:lnTo>
                    <a:pt x="634" y="68"/>
                  </a:lnTo>
                  <a:lnTo>
                    <a:pt x="624" y="57"/>
                  </a:lnTo>
                  <a:lnTo>
                    <a:pt x="613" y="46"/>
                  </a:lnTo>
                  <a:lnTo>
                    <a:pt x="606" y="32"/>
                  </a:lnTo>
                  <a:lnTo>
                    <a:pt x="602" y="14"/>
                  </a:lnTo>
                  <a:lnTo>
                    <a:pt x="602" y="10"/>
                  </a:lnTo>
                  <a:lnTo>
                    <a:pt x="592" y="3"/>
                  </a:lnTo>
                  <a:lnTo>
                    <a:pt x="588" y="0"/>
                  </a:lnTo>
                  <a:lnTo>
                    <a:pt x="581" y="0"/>
                  </a:lnTo>
                  <a:lnTo>
                    <a:pt x="574" y="0"/>
                  </a:lnTo>
                  <a:lnTo>
                    <a:pt x="567" y="7"/>
                  </a:lnTo>
                  <a:lnTo>
                    <a:pt x="549" y="21"/>
                  </a:lnTo>
                  <a:lnTo>
                    <a:pt x="535" y="28"/>
                  </a:lnTo>
                  <a:lnTo>
                    <a:pt x="520" y="35"/>
                  </a:lnTo>
                  <a:lnTo>
                    <a:pt x="517" y="39"/>
                  </a:lnTo>
                  <a:lnTo>
                    <a:pt x="517" y="46"/>
                  </a:lnTo>
                  <a:lnTo>
                    <a:pt x="513" y="50"/>
                  </a:lnTo>
                  <a:lnTo>
                    <a:pt x="506" y="57"/>
                  </a:lnTo>
                  <a:lnTo>
                    <a:pt x="492" y="60"/>
                  </a:lnTo>
                  <a:lnTo>
                    <a:pt x="474" y="64"/>
                  </a:lnTo>
                  <a:lnTo>
                    <a:pt x="453" y="64"/>
                  </a:lnTo>
                  <a:lnTo>
                    <a:pt x="428" y="92"/>
                  </a:lnTo>
                  <a:lnTo>
                    <a:pt x="424" y="100"/>
                  </a:lnTo>
                  <a:lnTo>
                    <a:pt x="410" y="103"/>
                  </a:lnTo>
                  <a:lnTo>
                    <a:pt x="406" y="103"/>
                  </a:lnTo>
                  <a:lnTo>
                    <a:pt x="399" y="100"/>
                  </a:lnTo>
                  <a:lnTo>
                    <a:pt x="392" y="92"/>
                  </a:lnTo>
                  <a:lnTo>
                    <a:pt x="388" y="75"/>
                  </a:lnTo>
                  <a:lnTo>
                    <a:pt x="388" y="68"/>
                  </a:lnTo>
                  <a:lnTo>
                    <a:pt x="385" y="46"/>
                  </a:lnTo>
                  <a:lnTo>
                    <a:pt x="378" y="28"/>
                  </a:lnTo>
                  <a:lnTo>
                    <a:pt x="367" y="14"/>
                  </a:lnTo>
                  <a:lnTo>
                    <a:pt x="356" y="7"/>
                  </a:lnTo>
                  <a:lnTo>
                    <a:pt x="342" y="7"/>
                  </a:lnTo>
                  <a:lnTo>
                    <a:pt x="328" y="10"/>
                  </a:lnTo>
                  <a:lnTo>
                    <a:pt x="314" y="21"/>
                  </a:lnTo>
                  <a:lnTo>
                    <a:pt x="306" y="43"/>
                  </a:lnTo>
                  <a:lnTo>
                    <a:pt x="314" y="53"/>
                  </a:lnTo>
                  <a:lnTo>
                    <a:pt x="321" y="64"/>
                  </a:lnTo>
                  <a:lnTo>
                    <a:pt x="335" y="75"/>
                  </a:lnTo>
                  <a:lnTo>
                    <a:pt x="335" y="78"/>
                  </a:lnTo>
                  <a:lnTo>
                    <a:pt x="335" y="85"/>
                  </a:lnTo>
                  <a:lnTo>
                    <a:pt x="324" y="100"/>
                  </a:lnTo>
                  <a:lnTo>
                    <a:pt x="306" y="114"/>
                  </a:lnTo>
                  <a:lnTo>
                    <a:pt x="271" y="139"/>
                  </a:lnTo>
                  <a:lnTo>
                    <a:pt x="257" y="150"/>
                  </a:lnTo>
                  <a:lnTo>
                    <a:pt x="232" y="150"/>
                  </a:lnTo>
                  <a:lnTo>
                    <a:pt x="232" y="167"/>
                  </a:lnTo>
                  <a:lnTo>
                    <a:pt x="224" y="171"/>
                  </a:lnTo>
                  <a:lnTo>
                    <a:pt x="210" y="182"/>
                  </a:lnTo>
                  <a:lnTo>
                    <a:pt x="199" y="182"/>
                  </a:lnTo>
                  <a:lnTo>
                    <a:pt x="189" y="178"/>
                  </a:lnTo>
                  <a:lnTo>
                    <a:pt x="175" y="171"/>
                  </a:lnTo>
                  <a:lnTo>
                    <a:pt x="164" y="157"/>
                  </a:lnTo>
                  <a:lnTo>
                    <a:pt x="121" y="178"/>
                  </a:lnTo>
                  <a:lnTo>
                    <a:pt x="110" y="171"/>
                  </a:lnTo>
                  <a:lnTo>
                    <a:pt x="82" y="160"/>
                  </a:lnTo>
                  <a:lnTo>
                    <a:pt x="43" y="153"/>
                  </a:lnTo>
                  <a:lnTo>
                    <a:pt x="21" y="153"/>
                  </a:lnTo>
                  <a:lnTo>
                    <a:pt x="0" y="153"/>
                  </a:lnTo>
                  <a:lnTo>
                    <a:pt x="11" y="164"/>
                  </a:lnTo>
                  <a:lnTo>
                    <a:pt x="32" y="189"/>
                  </a:lnTo>
                  <a:lnTo>
                    <a:pt x="50" y="224"/>
                  </a:lnTo>
                  <a:lnTo>
                    <a:pt x="57" y="242"/>
                  </a:lnTo>
                  <a:lnTo>
                    <a:pt x="60" y="260"/>
                  </a:lnTo>
                  <a:lnTo>
                    <a:pt x="60" y="267"/>
                  </a:lnTo>
                  <a:lnTo>
                    <a:pt x="64" y="274"/>
                  </a:lnTo>
                  <a:lnTo>
                    <a:pt x="75" y="281"/>
                  </a:lnTo>
                  <a:lnTo>
                    <a:pt x="93" y="289"/>
                  </a:lnTo>
                  <a:lnTo>
                    <a:pt x="110" y="289"/>
                  </a:lnTo>
                  <a:lnTo>
                    <a:pt x="146" y="289"/>
                  </a:lnTo>
                  <a:lnTo>
                    <a:pt x="164" y="289"/>
                  </a:lnTo>
                  <a:lnTo>
                    <a:pt x="178" y="285"/>
                  </a:lnTo>
                  <a:lnTo>
                    <a:pt x="192" y="281"/>
                  </a:lnTo>
                  <a:lnTo>
                    <a:pt x="210" y="281"/>
                  </a:lnTo>
                  <a:lnTo>
                    <a:pt x="228" y="285"/>
                  </a:lnTo>
                  <a:lnTo>
                    <a:pt x="239" y="296"/>
                  </a:lnTo>
                  <a:lnTo>
                    <a:pt x="246" y="306"/>
                  </a:lnTo>
                  <a:lnTo>
                    <a:pt x="249" y="313"/>
                  </a:lnTo>
                  <a:lnTo>
                    <a:pt x="249" y="328"/>
                  </a:lnTo>
                  <a:lnTo>
                    <a:pt x="249" y="342"/>
                  </a:lnTo>
                  <a:lnTo>
                    <a:pt x="253" y="346"/>
                  </a:lnTo>
                  <a:lnTo>
                    <a:pt x="264" y="363"/>
                  </a:lnTo>
                  <a:lnTo>
                    <a:pt x="267" y="378"/>
                  </a:lnTo>
                  <a:lnTo>
                    <a:pt x="271" y="395"/>
                  </a:lnTo>
                  <a:lnTo>
                    <a:pt x="271" y="420"/>
                  </a:lnTo>
                  <a:lnTo>
                    <a:pt x="271" y="449"/>
                  </a:lnTo>
                  <a:lnTo>
                    <a:pt x="271" y="453"/>
                  </a:lnTo>
                  <a:lnTo>
                    <a:pt x="271" y="463"/>
                  </a:lnTo>
                  <a:lnTo>
                    <a:pt x="274" y="477"/>
                  </a:lnTo>
                  <a:lnTo>
                    <a:pt x="281" y="485"/>
                  </a:lnTo>
                  <a:lnTo>
                    <a:pt x="289" y="492"/>
                  </a:lnTo>
                  <a:lnTo>
                    <a:pt x="317" y="577"/>
                  </a:lnTo>
                  <a:lnTo>
                    <a:pt x="381" y="656"/>
                  </a:lnTo>
                  <a:lnTo>
                    <a:pt x="388" y="649"/>
                  </a:lnTo>
                  <a:lnTo>
                    <a:pt x="406" y="638"/>
                  </a:lnTo>
                  <a:lnTo>
                    <a:pt x="421" y="631"/>
                  </a:lnTo>
                  <a:lnTo>
                    <a:pt x="438" y="627"/>
                  </a:lnTo>
                  <a:lnTo>
                    <a:pt x="453" y="624"/>
                  </a:lnTo>
                  <a:lnTo>
                    <a:pt x="470" y="627"/>
                  </a:lnTo>
                  <a:lnTo>
                    <a:pt x="474" y="616"/>
                  </a:lnTo>
                  <a:lnTo>
                    <a:pt x="474" y="606"/>
                  </a:lnTo>
                  <a:lnTo>
                    <a:pt x="478" y="595"/>
                  </a:lnTo>
                  <a:lnTo>
                    <a:pt x="481" y="581"/>
                  </a:lnTo>
                  <a:lnTo>
                    <a:pt x="488" y="574"/>
                  </a:lnTo>
                  <a:lnTo>
                    <a:pt x="499" y="570"/>
                  </a:lnTo>
                  <a:lnTo>
                    <a:pt x="513" y="574"/>
                  </a:lnTo>
                  <a:lnTo>
                    <a:pt x="531" y="584"/>
                  </a:lnTo>
                  <a:lnTo>
                    <a:pt x="535" y="592"/>
                  </a:lnTo>
                  <a:lnTo>
                    <a:pt x="538" y="595"/>
                  </a:lnTo>
                  <a:lnTo>
                    <a:pt x="545" y="595"/>
                  </a:lnTo>
                  <a:lnTo>
                    <a:pt x="560" y="592"/>
                  </a:lnTo>
                  <a:lnTo>
                    <a:pt x="574" y="584"/>
                  </a:lnTo>
                  <a:lnTo>
                    <a:pt x="592" y="574"/>
                  </a:lnTo>
                  <a:lnTo>
                    <a:pt x="617" y="549"/>
                  </a:lnTo>
                  <a:lnTo>
                    <a:pt x="642" y="527"/>
                  </a:lnTo>
                  <a:lnTo>
                    <a:pt x="659" y="513"/>
                  </a:lnTo>
                  <a:lnTo>
                    <a:pt x="670" y="502"/>
                  </a:lnTo>
                  <a:lnTo>
                    <a:pt x="681" y="502"/>
                  </a:lnTo>
                  <a:lnTo>
                    <a:pt x="684" y="502"/>
                  </a:lnTo>
                  <a:lnTo>
                    <a:pt x="688" y="502"/>
                  </a:lnTo>
                  <a:lnTo>
                    <a:pt x="691" y="506"/>
                  </a:lnTo>
                  <a:lnTo>
                    <a:pt x="763" y="481"/>
                  </a:lnTo>
                  <a:lnTo>
                    <a:pt x="766" y="417"/>
                  </a:lnTo>
                  <a:lnTo>
                    <a:pt x="784" y="378"/>
                  </a:lnTo>
                  <a:lnTo>
                    <a:pt x="798" y="349"/>
                  </a:lnTo>
                  <a:lnTo>
                    <a:pt x="806" y="324"/>
                  </a:lnTo>
                  <a:lnTo>
                    <a:pt x="816" y="292"/>
                  </a:lnTo>
                  <a:lnTo>
                    <a:pt x="827" y="267"/>
                  </a:lnTo>
                  <a:lnTo>
                    <a:pt x="834" y="256"/>
                  </a:lnTo>
                  <a:lnTo>
                    <a:pt x="841" y="253"/>
                  </a:lnTo>
                  <a:lnTo>
                    <a:pt x="859" y="246"/>
                  </a:lnTo>
                  <a:lnTo>
                    <a:pt x="877" y="239"/>
                  </a:lnTo>
                  <a:lnTo>
                    <a:pt x="880" y="231"/>
                  </a:lnTo>
                  <a:lnTo>
                    <a:pt x="880" y="224"/>
                  </a:lnTo>
                  <a:lnTo>
                    <a:pt x="877" y="217"/>
                  </a:lnTo>
                  <a:lnTo>
                    <a:pt x="866" y="210"/>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8" name="Freeform 14"/>
            <p:cNvSpPr>
              <a:spLocks/>
            </p:cNvSpPr>
            <p:nvPr/>
          </p:nvSpPr>
          <p:spPr bwMode="auto">
            <a:xfrm>
              <a:off x="3419" y="1305"/>
              <a:ext cx="125" cy="263"/>
            </a:xfrm>
            <a:custGeom>
              <a:avLst/>
              <a:gdLst>
                <a:gd name="T0" fmla="*/ 75 w 125"/>
                <a:gd name="T1" fmla="*/ 263 h 263"/>
                <a:gd name="T2" fmla="*/ 75 w 125"/>
                <a:gd name="T3" fmla="*/ 263 h 263"/>
                <a:gd name="T4" fmla="*/ 85 w 125"/>
                <a:gd name="T5" fmla="*/ 263 h 263"/>
                <a:gd name="T6" fmla="*/ 96 w 125"/>
                <a:gd name="T7" fmla="*/ 263 h 263"/>
                <a:gd name="T8" fmla="*/ 107 w 125"/>
                <a:gd name="T9" fmla="*/ 253 h 263"/>
                <a:gd name="T10" fmla="*/ 117 w 125"/>
                <a:gd name="T11" fmla="*/ 239 h 263"/>
                <a:gd name="T12" fmla="*/ 125 w 125"/>
                <a:gd name="T13" fmla="*/ 214 h 263"/>
                <a:gd name="T14" fmla="*/ 125 w 125"/>
                <a:gd name="T15" fmla="*/ 174 h 263"/>
                <a:gd name="T16" fmla="*/ 117 w 125"/>
                <a:gd name="T17" fmla="*/ 124 h 263"/>
                <a:gd name="T18" fmla="*/ 114 w 125"/>
                <a:gd name="T19" fmla="*/ 117 h 263"/>
                <a:gd name="T20" fmla="*/ 78 w 125"/>
                <a:gd name="T21" fmla="*/ 114 h 263"/>
                <a:gd name="T22" fmla="*/ 78 w 125"/>
                <a:gd name="T23" fmla="*/ 114 h 263"/>
                <a:gd name="T24" fmla="*/ 78 w 125"/>
                <a:gd name="T25" fmla="*/ 100 h 263"/>
                <a:gd name="T26" fmla="*/ 78 w 125"/>
                <a:gd name="T27" fmla="*/ 85 h 263"/>
                <a:gd name="T28" fmla="*/ 82 w 125"/>
                <a:gd name="T29" fmla="*/ 71 h 263"/>
                <a:gd name="T30" fmla="*/ 82 w 125"/>
                <a:gd name="T31" fmla="*/ 71 h 263"/>
                <a:gd name="T32" fmla="*/ 82 w 125"/>
                <a:gd name="T33" fmla="*/ 64 h 263"/>
                <a:gd name="T34" fmla="*/ 78 w 125"/>
                <a:gd name="T35" fmla="*/ 60 h 263"/>
                <a:gd name="T36" fmla="*/ 71 w 125"/>
                <a:gd name="T37" fmla="*/ 53 h 263"/>
                <a:gd name="T38" fmla="*/ 57 w 125"/>
                <a:gd name="T39" fmla="*/ 50 h 263"/>
                <a:gd name="T40" fmla="*/ 39 w 125"/>
                <a:gd name="T41" fmla="*/ 50 h 263"/>
                <a:gd name="T42" fmla="*/ 39 w 125"/>
                <a:gd name="T43" fmla="*/ 50 h 263"/>
                <a:gd name="T44" fmla="*/ 32 w 125"/>
                <a:gd name="T45" fmla="*/ 50 h 263"/>
                <a:gd name="T46" fmla="*/ 25 w 125"/>
                <a:gd name="T47" fmla="*/ 42 h 263"/>
                <a:gd name="T48" fmla="*/ 14 w 125"/>
                <a:gd name="T49" fmla="*/ 25 h 263"/>
                <a:gd name="T50" fmla="*/ 0 w 125"/>
                <a:gd name="T51" fmla="*/ 0 h 263"/>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5"/>
                <a:gd name="T79" fmla="*/ 0 h 263"/>
                <a:gd name="T80" fmla="*/ 125 w 125"/>
                <a:gd name="T81" fmla="*/ 263 h 263"/>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5" h="263">
                  <a:moveTo>
                    <a:pt x="75" y="263"/>
                  </a:moveTo>
                  <a:lnTo>
                    <a:pt x="75" y="263"/>
                  </a:lnTo>
                  <a:lnTo>
                    <a:pt x="85" y="263"/>
                  </a:lnTo>
                  <a:lnTo>
                    <a:pt x="96" y="263"/>
                  </a:lnTo>
                  <a:lnTo>
                    <a:pt x="107" y="253"/>
                  </a:lnTo>
                  <a:lnTo>
                    <a:pt x="117" y="239"/>
                  </a:lnTo>
                  <a:lnTo>
                    <a:pt x="125" y="214"/>
                  </a:lnTo>
                  <a:lnTo>
                    <a:pt x="125" y="174"/>
                  </a:lnTo>
                  <a:lnTo>
                    <a:pt x="117" y="124"/>
                  </a:lnTo>
                  <a:lnTo>
                    <a:pt x="114" y="117"/>
                  </a:lnTo>
                  <a:lnTo>
                    <a:pt x="78" y="114"/>
                  </a:lnTo>
                  <a:lnTo>
                    <a:pt x="78" y="100"/>
                  </a:lnTo>
                  <a:lnTo>
                    <a:pt x="78" y="85"/>
                  </a:lnTo>
                  <a:lnTo>
                    <a:pt x="82" y="71"/>
                  </a:lnTo>
                  <a:lnTo>
                    <a:pt x="82" y="64"/>
                  </a:lnTo>
                  <a:lnTo>
                    <a:pt x="78" y="60"/>
                  </a:lnTo>
                  <a:lnTo>
                    <a:pt x="71" y="53"/>
                  </a:lnTo>
                  <a:lnTo>
                    <a:pt x="57" y="50"/>
                  </a:lnTo>
                  <a:lnTo>
                    <a:pt x="39" y="50"/>
                  </a:lnTo>
                  <a:lnTo>
                    <a:pt x="32" y="50"/>
                  </a:lnTo>
                  <a:lnTo>
                    <a:pt x="25" y="42"/>
                  </a:lnTo>
                  <a:lnTo>
                    <a:pt x="14" y="25"/>
                  </a:lnTo>
                  <a:lnTo>
                    <a:pt x="0" y="0"/>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9" name="Freeform 15"/>
            <p:cNvSpPr>
              <a:spLocks/>
            </p:cNvSpPr>
            <p:nvPr/>
          </p:nvSpPr>
          <p:spPr bwMode="auto">
            <a:xfrm>
              <a:off x="3658" y="1597"/>
              <a:ext cx="623" cy="421"/>
            </a:xfrm>
            <a:custGeom>
              <a:avLst/>
              <a:gdLst>
                <a:gd name="T0" fmla="*/ 623 w 623"/>
                <a:gd name="T1" fmla="*/ 214 h 421"/>
                <a:gd name="T2" fmla="*/ 527 w 623"/>
                <a:gd name="T3" fmla="*/ 143 h 421"/>
                <a:gd name="T4" fmla="*/ 509 w 623"/>
                <a:gd name="T5" fmla="*/ 150 h 421"/>
                <a:gd name="T6" fmla="*/ 484 w 623"/>
                <a:gd name="T7" fmla="*/ 150 h 421"/>
                <a:gd name="T8" fmla="*/ 467 w 623"/>
                <a:gd name="T9" fmla="*/ 135 h 421"/>
                <a:gd name="T10" fmla="*/ 463 w 623"/>
                <a:gd name="T11" fmla="*/ 82 h 421"/>
                <a:gd name="T12" fmla="*/ 431 w 623"/>
                <a:gd name="T13" fmla="*/ 75 h 421"/>
                <a:gd name="T14" fmla="*/ 420 w 623"/>
                <a:gd name="T15" fmla="*/ 43 h 421"/>
                <a:gd name="T16" fmla="*/ 402 w 623"/>
                <a:gd name="T17" fmla="*/ 25 h 421"/>
                <a:gd name="T18" fmla="*/ 377 w 623"/>
                <a:gd name="T19" fmla="*/ 18 h 421"/>
                <a:gd name="T20" fmla="*/ 349 w 623"/>
                <a:gd name="T21" fmla="*/ 14 h 421"/>
                <a:gd name="T22" fmla="*/ 303 w 623"/>
                <a:gd name="T23" fmla="*/ 0 h 421"/>
                <a:gd name="T24" fmla="*/ 303 w 623"/>
                <a:gd name="T25" fmla="*/ 0 h 421"/>
                <a:gd name="T26" fmla="*/ 292 w 623"/>
                <a:gd name="T27" fmla="*/ 25 h 421"/>
                <a:gd name="T28" fmla="*/ 263 w 623"/>
                <a:gd name="T29" fmla="*/ 39 h 421"/>
                <a:gd name="T30" fmla="*/ 228 w 623"/>
                <a:gd name="T31" fmla="*/ 43 h 421"/>
                <a:gd name="T32" fmla="*/ 221 w 623"/>
                <a:gd name="T33" fmla="*/ 53 h 421"/>
                <a:gd name="T34" fmla="*/ 196 w 623"/>
                <a:gd name="T35" fmla="*/ 78 h 421"/>
                <a:gd name="T36" fmla="*/ 171 w 623"/>
                <a:gd name="T37" fmla="*/ 86 h 421"/>
                <a:gd name="T38" fmla="*/ 160 w 623"/>
                <a:gd name="T39" fmla="*/ 86 h 421"/>
                <a:gd name="T40" fmla="*/ 131 w 623"/>
                <a:gd name="T41" fmla="*/ 96 h 421"/>
                <a:gd name="T42" fmla="*/ 114 w 623"/>
                <a:gd name="T43" fmla="*/ 128 h 421"/>
                <a:gd name="T44" fmla="*/ 114 w 623"/>
                <a:gd name="T45" fmla="*/ 160 h 421"/>
                <a:gd name="T46" fmla="*/ 92 w 623"/>
                <a:gd name="T47" fmla="*/ 171 h 421"/>
                <a:gd name="T48" fmla="*/ 17 w 623"/>
                <a:gd name="T49" fmla="*/ 185 h 421"/>
                <a:gd name="T50" fmla="*/ 0 w 623"/>
                <a:gd name="T51" fmla="*/ 207 h 421"/>
                <a:gd name="T52" fmla="*/ 28 w 623"/>
                <a:gd name="T53" fmla="*/ 235 h 421"/>
                <a:gd name="T54" fmla="*/ 35 w 623"/>
                <a:gd name="T55" fmla="*/ 260 h 421"/>
                <a:gd name="T56" fmla="*/ 32 w 623"/>
                <a:gd name="T57" fmla="*/ 289 h 421"/>
                <a:gd name="T58" fmla="*/ 32 w 623"/>
                <a:gd name="T59" fmla="*/ 289 h 421"/>
                <a:gd name="T60" fmla="*/ 53 w 623"/>
                <a:gd name="T61" fmla="*/ 289 h 421"/>
                <a:gd name="T62" fmla="*/ 164 w 623"/>
                <a:gd name="T63" fmla="*/ 332 h 421"/>
                <a:gd name="T64" fmla="*/ 221 w 623"/>
                <a:gd name="T65" fmla="*/ 335 h 421"/>
                <a:gd name="T66" fmla="*/ 231 w 623"/>
                <a:gd name="T67" fmla="*/ 321 h 421"/>
                <a:gd name="T68" fmla="*/ 256 w 623"/>
                <a:gd name="T69" fmla="*/ 299 h 421"/>
                <a:gd name="T70" fmla="*/ 285 w 623"/>
                <a:gd name="T71" fmla="*/ 292 h 421"/>
                <a:gd name="T72" fmla="*/ 306 w 623"/>
                <a:gd name="T73" fmla="*/ 299 h 421"/>
                <a:gd name="T74" fmla="*/ 331 w 623"/>
                <a:gd name="T75" fmla="*/ 321 h 421"/>
                <a:gd name="T76" fmla="*/ 342 w 623"/>
                <a:gd name="T77" fmla="*/ 335 h 421"/>
                <a:gd name="T78" fmla="*/ 374 w 623"/>
                <a:gd name="T79" fmla="*/ 374 h 421"/>
                <a:gd name="T80" fmla="*/ 402 w 623"/>
                <a:gd name="T81" fmla="*/ 399 h 421"/>
                <a:gd name="T82" fmla="*/ 431 w 623"/>
                <a:gd name="T83" fmla="*/ 410 h 421"/>
                <a:gd name="T84" fmla="*/ 463 w 623"/>
                <a:gd name="T85" fmla="*/ 403 h 421"/>
                <a:gd name="T86" fmla="*/ 484 w 623"/>
                <a:gd name="T87" fmla="*/ 417 h 421"/>
                <a:gd name="T88" fmla="*/ 492 w 623"/>
                <a:gd name="T89" fmla="*/ 421 h 421"/>
                <a:gd name="T90" fmla="*/ 499 w 623"/>
                <a:gd name="T91" fmla="*/ 410 h 421"/>
                <a:gd name="T92" fmla="*/ 527 w 623"/>
                <a:gd name="T93" fmla="*/ 392 h 42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23"/>
                <a:gd name="T142" fmla="*/ 0 h 421"/>
                <a:gd name="T143" fmla="*/ 623 w 623"/>
                <a:gd name="T144" fmla="*/ 421 h 421"/>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23" h="421">
                  <a:moveTo>
                    <a:pt x="623" y="217"/>
                  </a:moveTo>
                  <a:lnTo>
                    <a:pt x="623" y="214"/>
                  </a:lnTo>
                  <a:lnTo>
                    <a:pt x="566" y="182"/>
                  </a:lnTo>
                  <a:lnTo>
                    <a:pt x="527" y="143"/>
                  </a:lnTo>
                  <a:lnTo>
                    <a:pt x="509" y="150"/>
                  </a:lnTo>
                  <a:lnTo>
                    <a:pt x="495" y="150"/>
                  </a:lnTo>
                  <a:lnTo>
                    <a:pt x="484" y="150"/>
                  </a:lnTo>
                  <a:lnTo>
                    <a:pt x="474" y="146"/>
                  </a:lnTo>
                  <a:lnTo>
                    <a:pt x="467" y="135"/>
                  </a:lnTo>
                  <a:lnTo>
                    <a:pt x="463" y="132"/>
                  </a:lnTo>
                  <a:lnTo>
                    <a:pt x="463" y="82"/>
                  </a:lnTo>
                  <a:lnTo>
                    <a:pt x="431" y="75"/>
                  </a:lnTo>
                  <a:lnTo>
                    <a:pt x="427" y="57"/>
                  </a:lnTo>
                  <a:lnTo>
                    <a:pt x="420" y="43"/>
                  </a:lnTo>
                  <a:lnTo>
                    <a:pt x="413" y="36"/>
                  </a:lnTo>
                  <a:lnTo>
                    <a:pt x="402" y="25"/>
                  </a:lnTo>
                  <a:lnTo>
                    <a:pt x="392" y="21"/>
                  </a:lnTo>
                  <a:lnTo>
                    <a:pt x="377" y="18"/>
                  </a:lnTo>
                  <a:lnTo>
                    <a:pt x="349" y="14"/>
                  </a:lnTo>
                  <a:lnTo>
                    <a:pt x="320" y="11"/>
                  </a:lnTo>
                  <a:lnTo>
                    <a:pt x="303" y="0"/>
                  </a:lnTo>
                  <a:lnTo>
                    <a:pt x="299" y="14"/>
                  </a:lnTo>
                  <a:lnTo>
                    <a:pt x="292" y="25"/>
                  </a:lnTo>
                  <a:lnTo>
                    <a:pt x="278" y="36"/>
                  </a:lnTo>
                  <a:lnTo>
                    <a:pt x="263" y="39"/>
                  </a:lnTo>
                  <a:lnTo>
                    <a:pt x="238" y="43"/>
                  </a:lnTo>
                  <a:lnTo>
                    <a:pt x="228" y="43"/>
                  </a:lnTo>
                  <a:lnTo>
                    <a:pt x="221" y="53"/>
                  </a:lnTo>
                  <a:lnTo>
                    <a:pt x="213" y="64"/>
                  </a:lnTo>
                  <a:lnTo>
                    <a:pt x="196" y="78"/>
                  </a:lnTo>
                  <a:lnTo>
                    <a:pt x="178" y="86"/>
                  </a:lnTo>
                  <a:lnTo>
                    <a:pt x="171" y="86"/>
                  </a:lnTo>
                  <a:lnTo>
                    <a:pt x="160" y="86"/>
                  </a:lnTo>
                  <a:lnTo>
                    <a:pt x="149" y="89"/>
                  </a:lnTo>
                  <a:lnTo>
                    <a:pt x="131" y="96"/>
                  </a:lnTo>
                  <a:lnTo>
                    <a:pt x="121" y="111"/>
                  </a:lnTo>
                  <a:lnTo>
                    <a:pt x="114" y="128"/>
                  </a:lnTo>
                  <a:lnTo>
                    <a:pt x="114" y="146"/>
                  </a:lnTo>
                  <a:lnTo>
                    <a:pt x="114" y="160"/>
                  </a:lnTo>
                  <a:lnTo>
                    <a:pt x="114" y="175"/>
                  </a:lnTo>
                  <a:lnTo>
                    <a:pt x="92" y="171"/>
                  </a:lnTo>
                  <a:lnTo>
                    <a:pt x="64" y="185"/>
                  </a:lnTo>
                  <a:lnTo>
                    <a:pt x="17" y="185"/>
                  </a:lnTo>
                  <a:lnTo>
                    <a:pt x="0" y="207"/>
                  </a:lnTo>
                  <a:lnTo>
                    <a:pt x="17" y="221"/>
                  </a:lnTo>
                  <a:lnTo>
                    <a:pt x="28" y="235"/>
                  </a:lnTo>
                  <a:lnTo>
                    <a:pt x="35" y="250"/>
                  </a:lnTo>
                  <a:lnTo>
                    <a:pt x="35" y="260"/>
                  </a:lnTo>
                  <a:lnTo>
                    <a:pt x="35" y="282"/>
                  </a:lnTo>
                  <a:lnTo>
                    <a:pt x="32" y="289"/>
                  </a:lnTo>
                  <a:lnTo>
                    <a:pt x="53" y="289"/>
                  </a:lnTo>
                  <a:lnTo>
                    <a:pt x="114" y="310"/>
                  </a:lnTo>
                  <a:lnTo>
                    <a:pt x="164" y="332"/>
                  </a:lnTo>
                  <a:lnTo>
                    <a:pt x="199" y="349"/>
                  </a:lnTo>
                  <a:lnTo>
                    <a:pt x="221" y="335"/>
                  </a:lnTo>
                  <a:lnTo>
                    <a:pt x="231" y="321"/>
                  </a:lnTo>
                  <a:lnTo>
                    <a:pt x="242" y="310"/>
                  </a:lnTo>
                  <a:lnTo>
                    <a:pt x="256" y="299"/>
                  </a:lnTo>
                  <a:lnTo>
                    <a:pt x="274" y="292"/>
                  </a:lnTo>
                  <a:lnTo>
                    <a:pt x="285" y="292"/>
                  </a:lnTo>
                  <a:lnTo>
                    <a:pt x="295" y="296"/>
                  </a:lnTo>
                  <a:lnTo>
                    <a:pt x="306" y="299"/>
                  </a:lnTo>
                  <a:lnTo>
                    <a:pt x="317" y="310"/>
                  </a:lnTo>
                  <a:lnTo>
                    <a:pt x="331" y="321"/>
                  </a:lnTo>
                  <a:lnTo>
                    <a:pt x="342" y="335"/>
                  </a:lnTo>
                  <a:lnTo>
                    <a:pt x="353" y="349"/>
                  </a:lnTo>
                  <a:lnTo>
                    <a:pt x="374" y="374"/>
                  </a:lnTo>
                  <a:lnTo>
                    <a:pt x="388" y="389"/>
                  </a:lnTo>
                  <a:lnTo>
                    <a:pt x="402" y="399"/>
                  </a:lnTo>
                  <a:lnTo>
                    <a:pt x="417" y="406"/>
                  </a:lnTo>
                  <a:lnTo>
                    <a:pt x="431" y="410"/>
                  </a:lnTo>
                  <a:lnTo>
                    <a:pt x="463" y="403"/>
                  </a:lnTo>
                  <a:lnTo>
                    <a:pt x="474" y="406"/>
                  </a:lnTo>
                  <a:lnTo>
                    <a:pt x="484" y="417"/>
                  </a:lnTo>
                  <a:lnTo>
                    <a:pt x="492" y="421"/>
                  </a:lnTo>
                  <a:lnTo>
                    <a:pt x="495" y="421"/>
                  </a:lnTo>
                  <a:lnTo>
                    <a:pt x="499" y="410"/>
                  </a:lnTo>
                  <a:lnTo>
                    <a:pt x="499" y="389"/>
                  </a:lnTo>
                  <a:lnTo>
                    <a:pt x="527" y="392"/>
                  </a:lnTo>
                  <a:lnTo>
                    <a:pt x="623" y="217"/>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0" name="Freeform 16"/>
            <p:cNvSpPr>
              <a:spLocks/>
            </p:cNvSpPr>
            <p:nvPr/>
          </p:nvSpPr>
          <p:spPr bwMode="auto">
            <a:xfrm>
              <a:off x="3305" y="1501"/>
              <a:ext cx="388" cy="506"/>
            </a:xfrm>
            <a:custGeom>
              <a:avLst/>
              <a:gdLst>
                <a:gd name="T0" fmla="*/ 192 w 388"/>
                <a:gd name="T1" fmla="*/ 445 h 506"/>
                <a:gd name="T2" fmla="*/ 217 w 388"/>
                <a:gd name="T3" fmla="*/ 485 h 506"/>
                <a:gd name="T4" fmla="*/ 242 w 388"/>
                <a:gd name="T5" fmla="*/ 502 h 506"/>
                <a:gd name="T6" fmla="*/ 267 w 388"/>
                <a:gd name="T7" fmla="*/ 506 h 506"/>
                <a:gd name="T8" fmla="*/ 271 w 388"/>
                <a:gd name="T9" fmla="*/ 506 h 506"/>
                <a:gd name="T10" fmla="*/ 299 w 388"/>
                <a:gd name="T11" fmla="*/ 467 h 506"/>
                <a:gd name="T12" fmla="*/ 296 w 388"/>
                <a:gd name="T13" fmla="*/ 452 h 506"/>
                <a:gd name="T14" fmla="*/ 296 w 388"/>
                <a:gd name="T15" fmla="*/ 424 h 506"/>
                <a:gd name="T16" fmla="*/ 310 w 388"/>
                <a:gd name="T17" fmla="*/ 403 h 506"/>
                <a:gd name="T18" fmla="*/ 331 w 388"/>
                <a:gd name="T19" fmla="*/ 392 h 506"/>
                <a:gd name="T20" fmla="*/ 385 w 388"/>
                <a:gd name="T21" fmla="*/ 385 h 506"/>
                <a:gd name="T22" fmla="*/ 388 w 388"/>
                <a:gd name="T23" fmla="*/ 367 h 506"/>
                <a:gd name="T24" fmla="*/ 381 w 388"/>
                <a:gd name="T25" fmla="*/ 335 h 506"/>
                <a:gd name="T26" fmla="*/ 360 w 388"/>
                <a:gd name="T27" fmla="*/ 310 h 506"/>
                <a:gd name="T28" fmla="*/ 353 w 388"/>
                <a:gd name="T29" fmla="*/ 303 h 506"/>
                <a:gd name="T30" fmla="*/ 331 w 388"/>
                <a:gd name="T31" fmla="*/ 303 h 506"/>
                <a:gd name="T32" fmla="*/ 320 w 388"/>
                <a:gd name="T33" fmla="*/ 288 h 506"/>
                <a:gd name="T34" fmla="*/ 317 w 388"/>
                <a:gd name="T35" fmla="*/ 264 h 506"/>
                <a:gd name="T36" fmla="*/ 303 w 388"/>
                <a:gd name="T37" fmla="*/ 224 h 506"/>
                <a:gd name="T38" fmla="*/ 303 w 388"/>
                <a:gd name="T39" fmla="*/ 207 h 506"/>
                <a:gd name="T40" fmla="*/ 296 w 388"/>
                <a:gd name="T41" fmla="*/ 171 h 506"/>
                <a:gd name="T42" fmla="*/ 274 w 388"/>
                <a:gd name="T43" fmla="*/ 132 h 506"/>
                <a:gd name="T44" fmla="*/ 235 w 388"/>
                <a:gd name="T45" fmla="*/ 100 h 506"/>
                <a:gd name="T46" fmla="*/ 203 w 388"/>
                <a:gd name="T47" fmla="*/ 78 h 506"/>
                <a:gd name="T48" fmla="*/ 189 w 388"/>
                <a:gd name="T49" fmla="*/ 64 h 506"/>
                <a:gd name="T50" fmla="*/ 139 w 388"/>
                <a:gd name="T51" fmla="*/ 18 h 506"/>
                <a:gd name="T52" fmla="*/ 99 w 388"/>
                <a:gd name="T53" fmla="*/ 0 h 506"/>
                <a:gd name="T54" fmla="*/ 82 w 388"/>
                <a:gd name="T55" fmla="*/ 3 h 506"/>
                <a:gd name="T56" fmla="*/ 57 w 388"/>
                <a:gd name="T57" fmla="*/ 18 h 506"/>
                <a:gd name="T58" fmla="*/ 42 w 388"/>
                <a:gd name="T59" fmla="*/ 39 h 506"/>
                <a:gd name="T60" fmla="*/ 39 w 388"/>
                <a:gd name="T61" fmla="*/ 64 h 506"/>
                <a:gd name="T62" fmla="*/ 50 w 388"/>
                <a:gd name="T63" fmla="*/ 107 h 506"/>
                <a:gd name="T64" fmla="*/ 57 w 388"/>
                <a:gd name="T65" fmla="*/ 132 h 506"/>
                <a:gd name="T66" fmla="*/ 60 w 388"/>
                <a:gd name="T67" fmla="*/ 167 h 506"/>
                <a:gd name="T68" fmla="*/ 50 w 388"/>
                <a:gd name="T69" fmla="*/ 196 h 506"/>
                <a:gd name="T70" fmla="*/ 14 w 388"/>
                <a:gd name="T71" fmla="*/ 260 h 506"/>
                <a:gd name="T72" fmla="*/ 7 w 388"/>
                <a:gd name="T73" fmla="*/ 274 h 506"/>
                <a:gd name="T74" fmla="*/ 0 w 388"/>
                <a:gd name="T75" fmla="*/ 313 h 506"/>
                <a:gd name="T76" fmla="*/ 14 w 388"/>
                <a:gd name="T77" fmla="*/ 360 h 506"/>
                <a:gd name="T78" fmla="*/ 35 w 388"/>
                <a:gd name="T79" fmla="*/ 395 h 506"/>
                <a:gd name="T80" fmla="*/ 50 w 388"/>
                <a:gd name="T81" fmla="*/ 410 h 506"/>
                <a:gd name="T82" fmla="*/ 71 w 388"/>
                <a:gd name="T83" fmla="*/ 410 h 506"/>
                <a:gd name="T84" fmla="*/ 132 w 388"/>
                <a:gd name="T85" fmla="*/ 406 h 506"/>
                <a:gd name="T86" fmla="*/ 164 w 388"/>
                <a:gd name="T87" fmla="*/ 417 h 506"/>
                <a:gd name="T88" fmla="*/ 185 w 388"/>
                <a:gd name="T89" fmla="*/ 435 h 506"/>
                <a:gd name="T90" fmla="*/ 192 w 388"/>
                <a:gd name="T91" fmla="*/ 445 h 50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88"/>
                <a:gd name="T139" fmla="*/ 0 h 506"/>
                <a:gd name="T140" fmla="*/ 388 w 388"/>
                <a:gd name="T141" fmla="*/ 506 h 50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88" h="506">
                  <a:moveTo>
                    <a:pt x="192" y="445"/>
                  </a:moveTo>
                  <a:lnTo>
                    <a:pt x="192" y="445"/>
                  </a:lnTo>
                  <a:lnTo>
                    <a:pt x="203" y="470"/>
                  </a:lnTo>
                  <a:lnTo>
                    <a:pt x="217" y="485"/>
                  </a:lnTo>
                  <a:lnTo>
                    <a:pt x="231" y="495"/>
                  </a:lnTo>
                  <a:lnTo>
                    <a:pt x="242" y="502"/>
                  </a:lnTo>
                  <a:lnTo>
                    <a:pt x="260" y="506"/>
                  </a:lnTo>
                  <a:lnTo>
                    <a:pt x="267" y="506"/>
                  </a:lnTo>
                  <a:lnTo>
                    <a:pt x="271" y="506"/>
                  </a:lnTo>
                  <a:lnTo>
                    <a:pt x="281" y="488"/>
                  </a:lnTo>
                  <a:lnTo>
                    <a:pt x="299" y="467"/>
                  </a:lnTo>
                  <a:lnTo>
                    <a:pt x="296" y="452"/>
                  </a:lnTo>
                  <a:lnTo>
                    <a:pt x="296" y="438"/>
                  </a:lnTo>
                  <a:lnTo>
                    <a:pt x="296" y="424"/>
                  </a:lnTo>
                  <a:lnTo>
                    <a:pt x="303" y="410"/>
                  </a:lnTo>
                  <a:lnTo>
                    <a:pt x="310" y="403"/>
                  </a:lnTo>
                  <a:lnTo>
                    <a:pt x="320" y="395"/>
                  </a:lnTo>
                  <a:lnTo>
                    <a:pt x="331" y="392"/>
                  </a:lnTo>
                  <a:lnTo>
                    <a:pt x="345" y="388"/>
                  </a:lnTo>
                  <a:lnTo>
                    <a:pt x="385" y="385"/>
                  </a:lnTo>
                  <a:lnTo>
                    <a:pt x="388" y="367"/>
                  </a:lnTo>
                  <a:lnTo>
                    <a:pt x="388" y="349"/>
                  </a:lnTo>
                  <a:lnTo>
                    <a:pt x="381" y="335"/>
                  </a:lnTo>
                  <a:lnTo>
                    <a:pt x="374" y="324"/>
                  </a:lnTo>
                  <a:lnTo>
                    <a:pt x="360" y="310"/>
                  </a:lnTo>
                  <a:lnTo>
                    <a:pt x="353" y="303"/>
                  </a:lnTo>
                  <a:lnTo>
                    <a:pt x="342" y="306"/>
                  </a:lnTo>
                  <a:lnTo>
                    <a:pt x="331" y="303"/>
                  </a:lnTo>
                  <a:lnTo>
                    <a:pt x="328" y="296"/>
                  </a:lnTo>
                  <a:lnTo>
                    <a:pt x="320" y="288"/>
                  </a:lnTo>
                  <a:lnTo>
                    <a:pt x="317" y="274"/>
                  </a:lnTo>
                  <a:lnTo>
                    <a:pt x="317" y="264"/>
                  </a:lnTo>
                  <a:lnTo>
                    <a:pt x="310" y="249"/>
                  </a:lnTo>
                  <a:lnTo>
                    <a:pt x="303" y="224"/>
                  </a:lnTo>
                  <a:lnTo>
                    <a:pt x="303" y="207"/>
                  </a:lnTo>
                  <a:lnTo>
                    <a:pt x="299" y="189"/>
                  </a:lnTo>
                  <a:lnTo>
                    <a:pt x="296" y="171"/>
                  </a:lnTo>
                  <a:lnTo>
                    <a:pt x="288" y="157"/>
                  </a:lnTo>
                  <a:lnTo>
                    <a:pt x="274" y="132"/>
                  </a:lnTo>
                  <a:lnTo>
                    <a:pt x="256" y="114"/>
                  </a:lnTo>
                  <a:lnTo>
                    <a:pt x="235" y="100"/>
                  </a:lnTo>
                  <a:lnTo>
                    <a:pt x="221" y="89"/>
                  </a:lnTo>
                  <a:lnTo>
                    <a:pt x="203" y="78"/>
                  </a:lnTo>
                  <a:lnTo>
                    <a:pt x="189" y="64"/>
                  </a:lnTo>
                  <a:lnTo>
                    <a:pt x="157" y="32"/>
                  </a:lnTo>
                  <a:lnTo>
                    <a:pt x="139" y="18"/>
                  </a:lnTo>
                  <a:lnTo>
                    <a:pt x="117" y="7"/>
                  </a:lnTo>
                  <a:lnTo>
                    <a:pt x="99" y="0"/>
                  </a:lnTo>
                  <a:lnTo>
                    <a:pt x="92" y="0"/>
                  </a:lnTo>
                  <a:lnTo>
                    <a:pt x="82" y="3"/>
                  </a:lnTo>
                  <a:lnTo>
                    <a:pt x="57" y="18"/>
                  </a:lnTo>
                  <a:lnTo>
                    <a:pt x="46" y="28"/>
                  </a:lnTo>
                  <a:lnTo>
                    <a:pt x="42" y="39"/>
                  </a:lnTo>
                  <a:lnTo>
                    <a:pt x="39" y="50"/>
                  </a:lnTo>
                  <a:lnTo>
                    <a:pt x="39" y="64"/>
                  </a:lnTo>
                  <a:lnTo>
                    <a:pt x="42" y="85"/>
                  </a:lnTo>
                  <a:lnTo>
                    <a:pt x="50" y="107"/>
                  </a:lnTo>
                  <a:lnTo>
                    <a:pt x="57" y="132"/>
                  </a:lnTo>
                  <a:lnTo>
                    <a:pt x="60" y="149"/>
                  </a:lnTo>
                  <a:lnTo>
                    <a:pt x="60" y="167"/>
                  </a:lnTo>
                  <a:lnTo>
                    <a:pt x="57" y="182"/>
                  </a:lnTo>
                  <a:lnTo>
                    <a:pt x="50" y="196"/>
                  </a:lnTo>
                  <a:lnTo>
                    <a:pt x="42" y="214"/>
                  </a:lnTo>
                  <a:lnTo>
                    <a:pt x="14" y="260"/>
                  </a:lnTo>
                  <a:lnTo>
                    <a:pt x="7" y="274"/>
                  </a:lnTo>
                  <a:lnTo>
                    <a:pt x="3" y="288"/>
                  </a:lnTo>
                  <a:lnTo>
                    <a:pt x="0" y="313"/>
                  </a:lnTo>
                  <a:lnTo>
                    <a:pt x="7" y="338"/>
                  </a:lnTo>
                  <a:lnTo>
                    <a:pt x="14" y="360"/>
                  </a:lnTo>
                  <a:lnTo>
                    <a:pt x="25" y="378"/>
                  </a:lnTo>
                  <a:lnTo>
                    <a:pt x="35" y="395"/>
                  </a:lnTo>
                  <a:lnTo>
                    <a:pt x="50" y="410"/>
                  </a:lnTo>
                  <a:lnTo>
                    <a:pt x="57" y="413"/>
                  </a:lnTo>
                  <a:lnTo>
                    <a:pt x="71" y="410"/>
                  </a:lnTo>
                  <a:lnTo>
                    <a:pt x="110" y="406"/>
                  </a:lnTo>
                  <a:lnTo>
                    <a:pt x="132" y="406"/>
                  </a:lnTo>
                  <a:lnTo>
                    <a:pt x="157" y="413"/>
                  </a:lnTo>
                  <a:lnTo>
                    <a:pt x="164" y="417"/>
                  </a:lnTo>
                  <a:lnTo>
                    <a:pt x="174" y="424"/>
                  </a:lnTo>
                  <a:lnTo>
                    <a:pt x="185" y="435"/>
                  </a:lnTo>
                  <a:lnTo>
                    <a:pt x="192" y="445"/>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1" name="Freeform 17"/>
            <p:cNvSpPr>
              <a:spLocks/>
            </p:cNvSpPr>
            <p:nvPr/>
          </p:nvSpPr>
          <p:spPr bwMode="auto">
            <a:xfrm>
              <a:off x="2453" y="2178"/>
              <a:ext cx="531" cy="731"/>
            </a:xfrm>
            <a:custGeom>
              <a:avLst/>
              <a:gdLst>
                <a:gd name="T0" fmla="*/ 324 w 531"/>
                <a:gd name="T1" fmla="*/ 684 h 731"/>
                <a:gd name="T2" fmla="*/ 353 w 531"/>
                <a:gd name="T3" fmla="*/ 660 h 731"/>
                <a:gd name="T4" fmla="*/ 363 w 531"/>
                <a:gd name="T5" fmla="*/ 624 h 731"/>
                <a:gd name="T6" fmla="*/ 360 w 531"/>
                <a:gd name="T7" fmla="*/ 595 h 731"/>
                <a:gd name="T8" fmla="*/ 388 w 531"/>
                <a:gd name="T9" fmla="*/ 567 h 731"/>
                <a:gd name="T10" fmla="*/ 438 w 531"/>
                <a:gd name="T11" fmla="*/ 567 h 731"/>
                <a:gd name="T12" fmla="*/ 467 w 531"/>
                <a:gd name="T13" fmla="*/ 567 h 731"/>
                <a:gd name="T14" fmla="*/ 470 w 531"/>
                <a:gd name="T15" fmla="*/ 549 h 731"/>
                <a:gd name="T16" fmla="*/ 513 w 531"/>
                <a:gd name="T17" fmla="*/ 399 h 731"/>
                <a:gd name="T18" fmla="*/ 520 w 531"/>
                <a:gd name="T19" fmla="*/ 378 h 731"/>
                <a:gd name="T20" fmla="*/ 495 w 531"/>
                <a:gd name="T21" fmla="*/ 339 h 731"/>
                <a:gd name="T22" fmla="*/ 492 w 531"/>
                <a:gd name="T23" fmla="*/ 307 h 731"/>
                <a:gd name="T24" fmla="*/ 506 w 531"/>
                <a:gd name="T25" fmla="*/ 282 h 731"/>
                <a:gd name="T26" fmla="*/ 474 w 531"/>
                <a:gd name="T27" fmla="*/ 257 h 731"/>
                <a:gd name="T28" fmla="*/ 463 w 531"/>
                <a:gd name="T29" fmla="*/ 246 h 731"/>
                <a:gd name="T30" fmla="*/ 470 w 531"/>
                <a:gd name="T31" fmla="*/ 228 h 731"/>
                <a:gd name="T32" fmla="*/ 531 w 531"/>
                <a:gd name="T33" fmla="*/ 164 h 731"/>
                <a:gd name="T34" fmla="*/ 474 w 531"/>
                <a:gd name="T35" fmla="*/ 57 h 731"/>
                <a:gd name="T36" fmla="*/ 460 w 531"/>
                <a:gd name="T37" fmla="*/ 11 h 731"/>
                <a:gd name="T38" fmla="*/ 445 w 531"/>
                <a:gd name="T39" fmla="*/ 7 h 731"/>
                <a:gd name="T40" fmla="*/ 420 w 531"/>
                <a:gd name="T41" fmla="*/ 78 h 731"/>
                <a:gd name="T42" fmla="*/ 378 w 531"/>
                <a:gd name="T43" fmla="*/ 100 h 731"/>
                <a:gd name="T44" fmla="*/ 313 w 531"/>
                <a:gd name="T45" fmla="*/ 39 h 731"/>
                <a:gd name="T46" fmla="*/ 296 w 531"/>
                <a:gd name="T47" fmla="*/ 14 h 731"/>
                <a:gd name="T48" fmla="*/ 263 w 531"/>
                <a:gd name="T49" fmla="*/ 0 h 731"/>
                <a:gd name="T50" fmla="*/ 246 w 531"/>
                <a:gd name="T51" fmla="*/ 14 h 731"/>
                <a:gd name="T52" fmla="*/ 231 w 531"/>
                <a:gd name="T53" fmla="*/ 50 h 731"/>
                <a:gd name="T54" fmla="*/ 196 w 531"/>
                <a:gd name="T55" fmla="*/ 82 h 731"/>
                <a:gd name="T56" fmla="*/ 142 w 531"/>
                <a:gd name="T57" fmla="*/ 89 h 731"/>
                <a:gd name="T58" fmla="*/ 132 w 531"/>
                <a:gd name="T59" fmla="*/ 132 h 731"/>
                <a:gd name="T60" fmla="*/ 124 w 531"/>
                <a:gd name="T61" fmla="*/ 193 h 731"/>
                <a:gd name="T62" fmla="*/ 96 w 531"/>
                <a:gd name="T63" fmla="*/ 260 h 731"/>
                <a:gd name="T64" fmla="*/ 64 w 531"/>
                <a:gd name="T65" fmla="*/ 278 h 731"/>
                <a:gd name="T66" fmla="*/ 10 w 531"/>
                <a:gd name="T67" fmla="*/ 285 h 731"/>
                <a:gd name="T68" fmla="*/ 0 w 531"/>
                <a:gd name="T69" fmla="*/ 296 h 731"/>
                <a:gd name="T70" fmla="*/ 10 w 531"/>
                <a:gd name="T71" fmla="*/ 317 h 731"/>
                <a:gd name="T72" fmla="*/ 14 w 531"/>
                <a:gd name="T73" fmla="*/ 339 h 731"/>
                <a:gd name="T74" fmla="*/ 32 w 531"/>
                <a:gd name="T75" fmla="*/ 360 h 731"/>
                <a:gd name="T76" fmla="*/ 28 w 531"/>
                <a:gd name="T77" fmla="*/ 396 h 731"/>
                <a:gd name="T78" fmla="*/ 25 w 531"/>
                <a:gd name="T79" fmla="*/ 485 h 731"/>
                <a:gd name="T80" fmla="*/ 32 w 531"/>
                <a:gd name="T81" fmla="*/ 560 h 731"/>
                <a:gd name="T82" fmla="*/ 50 w 531"/>
                <a:gd name="T83" fmla="*/ 627 h 731"/>
                <a:gd name="T84" fmla="*/ 75 w 531"/>
                <a:gd name="T85" fmla="*/ 638 h 731"/>
                <a:gd name="T86" fmla="*/ 110 w 531"/>
                <a:gd name="T87" fmla="*/ 599 h 731"/>
                <a:gd name="T88" fmla="*/ 135 w 531"/>
                <a:gd name="T89" fmla="*/ 570 h 731"/>
                <a:gd name="T90" fmla="*/ 164 w 531"/>
                <a:gd name="T91" fmla="*/ 570 h 731"/>
                <a:gd name="T92" fmla="*/ 185 w 531"/>
                <a:gd name="T93" fmla="*/ 627 h 731"/>
                <a:gd name="T94" fmla="*/ 192 w 531"/>
                <a:gd name="T95" fmla="*/ 684 h 731"/>
                <a:gd name="T96" fmla="*/ 199 w 531"/>
                <a:gd name="T97" fmla="*/ 724 h 731"/>
                <a:gd name="T98" fmla="*/ 217 w 531"/>
                <a:gd name="T99" fmla="*/ 731 h 731"/>
                <a:gd name="T100" fmla="*/ 246 w 531"/>
                <a:gd name="T101" fmla="*/ 706 h 731"/>
                <a:gd name="T102" fmla="*/ 271 w 531"/>
                <a:gd name="T103" fmla="*/ 677 h 731"/>
                <a:gd name="T104" fmla="*/ 317 w 531"/>
                <a:gd name="T105" fmla="*/ 681 h 731"/>
                <a:gd name="T106" fmla="*/ 356 w 531"/>
                <a:gd name="T107" fmla="*/ 713 h 731"/>
                <a:gd name="T108" fmla="*/ 367 w 531"/>
                <a:gd name="T109" fmla="*/ 727 h 731"/>
                <a:gd name="T110" fmla="*/ 392 w 531"/>
                <a:gd name="T111" fmla="*/ 727 h 7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1"/>
                <a:gd name="T169" fmla="*/ 0 h 731"/>
                <a:gd name="T170" fmla="*/ 531 w 531"/>
                <a:gd name="T171" fmla="*/ 731 h 7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1" h="731">
                  <a:moveTo>
                    <a:pt x="320" y="688"/>
                  </a:moveTo>
                  <a:lnTo>
                    <a:pt x="320" y="688"/>
                  </a:lnTo>
                  <a:lnTo>
                    <a:pt x="324" y="684"/>
                  </a:lnTo>
                  <a:lnTo>
                    <a:pt x="338" y="677"/>
                  </a:lnTo>
                  <a:lnTo>
                    <a:pt x="353" y="660"/>
                  </a:lnTo>
                  <a:lnTo>
                    <a:pt x="356" y="649"/>
                  </a:lnTo>
                  <a:lnTo>
                    <a:pt x="360" y="638"/>
                  </a:lnTo>
                  <a:lnTo>
                    <a:pt x="363" y="624"/>
                  </a:lnTo>
                  <a:lnTo>
                    <a:pt x="360" y="610"/>
                  </a:lnTo>
                  <a:lnTo>
                    <a:pt x="360" y="595"/>
                  </a:lnTo>
                  <a:lnTo>
                    <a:pt x="363" y="585"/>
                  </a:lnTo>
                  <a:lnTo>
                    <a:pt x="374" y="574"/>
                  </a:lnTo>
                  <a:lnTo>
                    <a:pt x="388" y="567"/>
                  </a:lnTo>
                  <a:lnTo>
                    <a:pt x="402" y="567"/>
                  </a:lnTo>
                  <a:lnTo>
                    <a:pt x="420" y="563"/>
                  </a:lnTo>
                  <a:lnTo>
                    <a:pt x="438" y="567"/>
                  </a:lnTo>
                  <a:lnTo>
                    <a:pt x="452" y="570"/>
                  </a:lnTo>
                  <a:lnTo>
                    <a:pt x="467" y="567"/>
                  </a:lnTo>
                  <a:lnTo>
                    <a:pt x="474" y="560"/>
                  </a:lnTo>
                  <a:lnTo>
                    <a:pt x="474" y="553"/>
                  </a:lnTo>
                  <a:lnTo>
                    <a:pt x="470" y="549"/>
                  </a:lnTo>
                  <a:lnTo>
                    <a:pt x="481" y="478"/>
                  </a:lnTo>
                  <a:lnTo>
                    <a:pt x="513" y="399"/>
                  </a:lnTo>
                  <a:lnTo>
                    <a:pt x="517" y="396"/>
                  </a:lnTo>
                  <a:lnTo>
                    <a:pt x="520" y="385"/>
                  </a:lnTo>
                  <a:lnTo>
                    <a:pt x="520" y="378"/>
                  </a:lnTo>
                  <a:lnTo>
                    <a:pt x="517" y="367"/>
                  </a:lnTo>
                  <a:lnTo>
                    <a:pt x="506" y="353"/>
                  </a:lnTo>
                  <a:lnTo>
                    <a:pt x="495" y="339"/>
                  </a:lnTo>
                  <a:lnTo>
                    <a:pt x="474" y="324"/>
                  </a:lnTo>
                  <a:lnTo>
                    <a:pt x="492" y="307"/>
                  </a:lnTo>
                  <a:lnTo>
                    <a:pt x="499" y="299"/>
                  </a:lnTo>
                  <a:lnTo>
                    <a:pt x="506" y="289"/>
                  </a:lnTo>
                  <a:lnTo>
                    <a:pt x="506" y="282"/>
                  </a:lnTo>
                  <a:lnTo>
                    <a:pt x="502" y="275"/>
                  </a:lnTo>
                  <a:lnTo>
                    <a:pt x="492" y="267"/>
                  </a:lnTo>
                  <a:lnTo>
                    <a:pt x="474" y="257"/>
                  </a:lnTo>
                  <a:lnTo>
                    <a:pt x="470" y="253"/>
                  </a:lnTo>
                  <a:lnTo>
                    <a:pt x="463" y="246"/>
                  </a:lnTo>
                  <a:lnTo>
                    <a:pt x="463" y="239"/>
                  </a:lnTo>
                  <a:lnTo>
                    <a:pt x="467" y="235"/>
                  </a:lnTo>
                  <a:lnTo>
                    <a:pt x="470" y="228"/>
                  </a:lnTo>
                  <a:lnTo>
                    <a:pt x="477" y="225"/>
                  </a:lnTo>
                  <a:lnTo>
                    <a:pt x="492" y="189"/>
                  </a:lnTo>
                  <a:lnTo>
                    <a:pt x="531" y="164"/>
                  </a:lnTo>
                  <a:lnTo>
                    <a:pt x="520" y="114"/>
                  </a:lnTo>
                  <a:lnTo>
                    <a:pt x="474" y="57"/>
                  </a:lnTo>
                  <a:lnTo>
                    <a:pt x="470" y="39"/>
                  </a:lnTo>
                  <a:lnTo>
                    <a:pt x="467" y="25"/>
                  </a:lnTo>
                  <a:lnTo>
                    <a:pt x="460" y="11"/>
                  </a:lnTo>
                  <a:lnTo>
                    <a:pt x="456" y="7"/>
                  </a:lnTo>
                  <a:lnTo>
                    <a:pt x="452" y="4"/>
                  </a:lnTo>
                  <a:lnTo>
                    <a:pt x="445" y="7"/>
                  </a:lnTo>
                  <a:lnTo>
                    <a:pt x="442" y="11"/>
                  </a:lnTo>
                  <a:lnTo>
                    <a:pt x="431" y="32"/>
                  </a:lnTo>
                  <a:lnTo>
                    <a:pt x="420" y="78"/>
                  </a:lnTo>
                  <a:lnTo>
                    <a:pt x="399" y="93"/>
                  </a:lnTo>
                  <a:lnTo>
                    <a:pt x="378" y="100"/>
                  </a:lnTo>
                  <a:lnTo>
                    <a:pt x="360" y="107"/>
                  </a:lnTo>
                  <a:lnTo>
                    <a:pt x="320" y="68"/>
                  </a:lnTo>
                  <a:lnTo>
                    <a:pt x="313" y="39"/>
                  </a:lnTo>
                  <a:lnTo>
                    <a:pt x="306" y="29"/>
                  </a:lnTo>
                  <a:lnTo>
                    <a:pt x="296" y="14"/>
                  </a:lnTo>
                  <a:lnTo>
                    <a:pt x="285" y="7"/>
                  </a:lnTo>
                  <a:lnTo>
                    <a:pt x="271" y="0"/>
                  </a:lnTo>
                  <a:lnTo>
                    <a:pt x="263" y="0"/>
                  </a:lnTo>
                  <a:lnTo>
                    <a:pt x="260" y="4"/>
                  </a:lnTo>
                  <a:lnTo>
                    <a:pt x="253" y="7"/>
                  </a:lnTo>
                  <a:lnTo>
                    <a:pt x="246" y="14"/>
                  </a:lnTo>
                  <a:lnTo>
                    <a:pt x="238" y="43"/>
                  </a:lnTo>
                  <a:lnTo>
                    <a:pt x="231" y="50"/>
                  </a:lnTo>
                  <a:lnTo>
                    <a:pt x="221" y="64"/>
                  </a:lnTo>
                  <a:lnTo>
                    <a:pt x="206" y="78"/>
                  </a:lnTo>
                  <a:lnTo>
                    <a:pt x="196" y="82"/>
                  </a:lnTo>
                  <a:lnTo>
                    <a:pt x="185" y="86"/>
                  </a:lnTo>
                  <a:lnTo>
                    <a:pt x="142" y="89"/>
                  </a:lnTo>
                  <a:lnTo>
                    <a:pt x="135" y="100"/>
                  </a:lnTo>
                  <a:lnTo>
                    <a:pt x="132" y="114"/>
                  </a:lnTo>
                  <a:lnTo>
                    <a:pt x="132" y="132"/>
                  </a:lnTo>
                  <a:lnTo>
                    <a:pt x="128" y="171"/>
                  </a:lnTo>
                  <a:lnTo>
                    <a:pt x="124" y="193"/>
                  </a:lnTo>
                  <a:lnTo>
                    <a:pt x="117" y="218"/>
                  </a:lnTo>
                  <a:lnTo>
                    <a:pt x="107" y="242"/>
                  </a:lnTo>
                  <a:lnTo>
                    <a:pt x="96" y="260"/>
                  </a:lnTo>
                  <a:lnTo>
                    <a:pt x="82" y="275"/>
                  </a:lnTo>
                  <a:lnTo>
                    <a:pt x="71" y="278"/>
                  </a:lnTo>
                  <a:lnTo>
                    <a:pt x="64" y="278"/>
                  </a:lnTo>
                  <a:lnTo>
                    <a:pt x="32" y="282"/>
                  </a:lnTo>
                  <a:lnTo>
                    <a:pt x="10" y="285"/>
                  </a:lnTo>
                  <a:lnTo>
                    <a:pt x="3" y="292"/>
                  </a:lnTo>
                  <a:lnTo>
                    <a:pt x="0" y="296"/>
                  </a:lnTo>
                  <a:lnTo>
                    <a:pt x="3" y="296"/>
                  </a:lnTo>
                  <a:lnTo>
                    <a:pt x="7" y="303"/>
                  </a:lnTo>
                  <a:lnTo>
                    <a:pt x="10" y="317"/>
                  </a:lnTo>
                  <a:lnTo>
                    <a:pt x="7" y="339"/>
                  </a:lnTo>
                  <a:lnTo>
                    <a:pt x="14" y="339"/>
                  </a:lnTo>
                  <a:lnTo>
                    <a:pt x="25" y="346"/>
                  </a:lnTo>
                  <a:lnTo>
                    <a:pt x="28" y="349"/>
                  </a:lnTo>
                  <a:lnTo>
                    <a:pt x="32" y="360"/>
                  </a:lnTo>
                  <a:lnTo>
                    <a:pt x="32" y="374"/>
                  </a:lnTo>
                  <a:lnTo>
                    <a:pt x="28" y="396"/>
                  </a:lnTo>
                  <a:lnTo>
                    <a:pt x="25" y="417"/>
                  </a:lnTo>
                  <a:lnTo>
                    <a:pt x="25" y="442"/>
                  </a:lnTo>
                  <a:lnTo>
                    <a:pt x="25" y="485"/>
                  </a:lnTo>
                  <a:lnTo>
                    <a:pt x="28" y="531"/>
                  </a:lnTo>
                  <a:lnTo>
                    <a:pt x="32" y="560"/>
                  </a:lnTo>
                  <a:lnTo>
                    <a:pt x="35" y="585"/>
                  </a:lnTo>
                  <a:lnTo>
                    <a:pt x="39" y="610"/>
                  </a:lnTo>
                  <a:lnTo>
                    <a:pt x="50" y="627"/>
                  </a:lnTo>
                  <a:lnTo>
                    <a:pt x="57" y="635"/>
                  </a:lnTo>
                  <a:lnTo>
                    <a:pt x="64" y="638"/>
                  </a:lnTo>
                  <a:lnTo>
                    <a:pt x="75" y="638"/>
                  </a:lnTo>
                  <a:lnTo>
                    <a:pt x="82" y="631"/>
                  </a:lnTo>
                  <a:lnTo>
                    <a:pt x="96" y="617"/>
                  </a:lnTo>
                  <a:lnTo>
                    <a:pt x="110" y="599"/>
                  </a:lnTo>
                  <a:lnTo>
                    <a:pt x="124" y="581"/>
                  </a:lnTo>
                  <a:lnTo>
                    <a:pt x="135" y="570"/>
                  </a:lnTo>
                  <a:lnTo>
                    <a:pt x="146" y="567"/>
                  </a:lnTo>
                  <a:lnTo>
                    <a:pt x="157" y="567"/>
                  </a:lnTo>
                  <a:lnTo>
                    <a:pt x="164" y="570"/>
                  </a:lnTo>
                  <a:lnTo>
                    <a:pt x="171" y="578"/>
                  </a:lnTo>
                  <a:lnTo>
                    <a:pt x="181" y="599"/>
                  </a:lnTo>
                  <a:lnTo>
                    <a:pt x="185" y="627"/>
                  </a:lnTo>
                  <a:lnTo>
                    <a:pt x="189" y="656"/>
                  </a:lnTo>
                  <a:lnTo>
                    <a:pt x="192" y="684"/>
                  </a:lnTo>
                  <a:lnTo>
                    <a:pt x="192" y="699"/>
                  </a:lnTo>
                  <a:lnTo>
                    <a:pt x="196" y="709"/>
                  </a:lnTo>
                  <a:lnTo>
                    <a:pt x="199" y="724"/>
                  </a:lnTo>
                  <a:lnTo>
                    <a:pt x="206" y="731"/>
                  </a:lnTo>
                  <a:lnTo>
                    <a:pt x="210" y="731"/>
                  </a:lnTo>
                  <a:lnTo>
                    <a:pt x="217" y="731"/>
                  </a:lnTo>
                  <a:lnTo>
                    <a:pt x="228" y="724"/>
                  </a:lnTo>
                  <a:lnTo>
                    <a:pt x="246" y="706"/>
                  </a:lnTo>
                  <a:lnTo>
                    <a:pt x="253" y="692"/>
                  </a:lnTo>
                  <a:lnTo>
                    <a:pt x="263" y="684"/>
                  </a:lnTo>
                  <a:lnTo>
                    <a:pt x="271" y="677"/>
                  </a:lnTo>
                  <a:lnTo>
                    <a:pt x="281" y="674"/>
                  </a:lnTo>
                  <a:lnTo>
                    <a:pt x="299" y="674"/>
                  </a:lnTo>
                  <a:lnTo>
                    <a:pt x="317" y="681"/>
                  </a:lnTo>
                  <a:lnTo>
                    <a:pt x="331" y="692"/>
                  </a:lnTo>
                  <a:lnTo>
                    <a:pt x="345" y="702"/>
                  </a:lnTo>
                  <a:lnTo>
                    <a:pt x="356" y="713"/>
                  </a:lnTo>
                  <a:lnTo>
                    <a:pt x="360" y="717"/>
                  </a:lnTo>
                  <a:lnTo>
                    <a:pt x="367" y="727"/>
                  </a:lnTo>
                  <a:lnTo>
                    <a:pt x="374" y="731"/>
                  </a:lnTo>
                  <a:lnTo>
                    <a:pt x="381" y="731"/>
                  </a:lnTo>
                  <a:lnTo>
                    <a:pt x="392" y="727"/>
                  </a:lnTo>
                  <a:lnTo>
                    <a:pt x="406" y="717"/>
                  </a:lnTo>
                  <a:lnTo>
                    <a:pt x="320" y="688"/>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2" name="Freeform 18"/>
            <p:cNvSpPr>
              <a:spLocks/>
            </p:cNvSpPr>
            <p:nvPr/>
          </p:nvSpPr>
          <p:spPr bwMode="auto">
            <a:xfrm>
              <a:off x="2453" y="2178"/>
              <a:ext cx="531" cy="731"/>
            </a:xfrm>
            <a:custGeom>
              <a:avLst/>
              <a:gdLst>
                <a:gd name="T0" fmla="*/ 324 w 531"/>
                <a:gd name="T1" fmla="*/ 684 h 731"/>
                <a:gd name="T2" fmla="*/ 353 w 531"/>
                <a:gd name="T3" fmla="*/ 660 h 731"/>
                <a:gd name="T4" fmla="*/ 363 w 531"/>
                <a:gd name="T5" fmla="*/ 624 h 731"/>
                <a:gd name="T6" fmla="*/ 360 w 531"/>
                <a:gd name="T7" fmla="*/ 595 h 731"/>
                <a:gd name="T8" fmla="*/ 388 w 531"/>
                <a:gd name="T9" fmla="*/ 567 h 731"/>
                <a:gd name="T10" fmla="*/ 438 w 531"/>
                <a:gd name="T11" fmla="*/ 567 h 731"/>
                <a:gd name="T12" fmla="*/ 467 w 531"/>
                <a:gd name="T13" fmla="*/ 567 h 731"/>
                <a:gd name="T14" fmla="*/ 470 w 531"/>
                <a:gd name="T15" fmla="*/ 549 h 731"/>
                <a:gd name="T16" fmla="*/ 513 w 531"/>
                <a:gd name="T17" fmla="*/ 399 h 731"/>
                <a:gd name="T18" fmla="*/ 520 w 531"/>
                <a:gd name="T19" fmla="*/ 378 h 731"/>
                <a:gd name="T20" fmla="*/ 495 w 531"/>
                <a:gd name="T21" fmla="*/ 339 h 731"/>
                <a:gd name="T22" fmla="*/ 492 w 531"/>
                <a:gd name="T23" fmla="*/ 307 h 731"/>
                <a:gd name="T24" fmla="*/ 506 w 531"/>
                <a:gd name="T25" fmla="*/ 282 h 731"/>
                <a:gd name="T26" fmla="*/ 474 w 531"/>
                <a:gd name="T27" fmla="*/ 257 h 731"/>
                <a:gd name="T28" fmla="*/ 463 w 531"/>
                <a:gd name="T29" fmla="*/ 246 h 731"/>
                <a:gd name="T30" fmla="*/ 470 w 531"/>
                <a:gd name="T31" fmla="*/ 228 h 731"/>
                <a:gd name="T32" fmla="*/ 531 w 531"/>
                <a:gd name="T33" fmla="*/ 164 h 731"/>
                <a:gd name="T34" fmla="*/ 474 w 531"/>
                <a:gd name="T35" fmla="*/ 57 h 731"/>
                <a:gd name="T36" fmla="*/ 460 w 531"/>
                <a:gd name="T37" fmla="*/ 11 h 731"/>
                <a:gd name="T38" fmla="*/ 445 w 531"/>
                <a:gd name="T39" fmla="*/ 7 h 731"/>
                <a:gd name="T40" fmla="*/ 420 w 531"/>
                <a:gd name="T41" fmla="*/ 78 h 731"/>
                <a:gd name="T42" fmla="*/ 378 w 531"/>
                <a:gd name="T43" fmla="*/ 100 h 731"/>
                <a:gd name="T44" fmla="*/ 313 w 531"/>
                <a:gd name="T45" fmla="*/ 39 h 731"/>
                <a:gd name="T46" fmla="*/ 296 w 531"/>
                <a:gd name="T47" fmla="*/ 14 h 731"/>
                <a:gd name="T48" fmla="*/ 263 w 531"/>
                <a:gd name="T49" fmla="*/ 0 h 731"/>
                <a:gd name="T50" fmla="*/ 246 w 531"/>
                <a:gd name="T51" fmla="*/ 14 h 731"/>
                <a:gd name="T52" fmla="*/ 231 w 531"/>
                <a:gd name="T53" fmla="*/ 50 h 731"/>
                <a:gd name="T54" fmla="*/ 196 w 531"/>
                <a:gd name="T55" fmla="*/ 82 h 731"/>
                <a:gd name="T56" fmla="*/ 142 w 531"/>
                <a:gd name="T57" fmla="*/ 89 h 731"/>
                <a:gd name="T58" fmla="*/ 132 w 531"/>
                <a:gd name="T59" fmla="*/ 132 h 731"/>
                <a:gd name="T60" fmla="*/ 124 w 531"/>
                <a:gd name="T61" fmla="*/ 193 h 731"/>
                <a:gd name="T62" fmla="*/ 96 w 531"/>
                <a:gd name="T63" fmla="*/ 260 h 731"/>
                <a:gd name="T64" fmla="*/ 64 w 531"/>
                <a:gd name="T65" fmla="*/ 278 h 731"/>
                <a:gd name="T66" fmla="*/ 10 w 531"/>
                <a:gd name="T67" fmla="*/ 285 h 731"/>
                <a:gd name="T68" fmla="*/ 0 w 531"/>
                <a:gd name="T69" fmla="*/ 296 h 731"/>
                <a:gd name="T70" fmla="*/ 10 w 531"/>
                <a:gd name="T71" fmla="*/ 317 h 731"/>
                <a:gd name="T72" fmla="*/ 14 w 531"/>
                <a:gd name="T73" fmla="*/ 339 h 731"/>
                <a:gd name="T74" fmla="*/ 32 w 531"/>
                <a:gd name="T75" fmla="*/ 360 h 731"/>
                <a:gd name="T76" fmla="*/ 28 w 531"/>
                <a:gd name="T77" fmla="*/ 396 h 731"/>
                <a:gd name="T78" fmla="*/ 25 w 531"/>
                <a:gd name="T79" fmla="*/ 485 h 731"/>
                <a:gd name="T80" fmla="*/ 32 w 531"/>
                <a:gd name="T81" fmla="*/ 560 h 731"/>
                <a:gd name="T82" fmla="*/ 50 w 531"/>
                <a:gd name="T83" fmla="*/ 627 h 731"/>
                <a:gd name="T84" fmla="*/ 75 w 531"/>
                <a:gd name="T85" fmla="*/ 638 h 731"/>
                <a:gd name="T86" fmla="*/ 110 w 531"/>
                <a:gd name="T87" fmla="*/ 599 h 731"/>
                <a:gd name="T88" fmla="*/ 135 w 531"/>
                <a:gd name="T89" fmla="*/ 570 h 731"/>
                <a:gd name="T90" fmla="*/ 164 w 531"/>
                <a:gd name="T91" fmla="*/ 570 h 731"/>
                <a:gd name="T92" fmla="*/ 185 w 531"/>
                <a:gd name="T93" fmla="*/ 627 h 731"/>
                <a:gd name="T94" fmla="*/ 192 w 531"/>
                <a:gd name="T95" fmla="*/ 684 h 731"/>
                <a:gd name="T96" fmla="*/ 199 w 531"/>
                <a:gd name="T97" fmla="*/ 724 h 731"/>
                <a:gd name="T98" fmla="*/ 217 w 531"/>
                <a:gd name="T99" fmla="*/ 731 h 731"/>
                <a:gd name="T100" fmla="*/ 246 w 531"/>
                <a:gd name="T101" fmla="*/ 706 h 731"/>
                <a:gd name="T102" fmla="*/ 271 w 531"/>
                <a:gd name="T103" fmla="*/ 677 h 731"/>
                <a:gd name="T104" fmla="*/ 317 w 531"/>
                <a:gd name="T105" fmla="*/ 681 h 731"/>
                <a:gd name="T106" fmla="*/ 356 w 531"/>
                <a:gd name="T107" fmla="*/ 713 h 731"/>
                <a:gd name="T108" fmla="*/ 367 w 531"/>
                <a:gd name="T109" fmla="*/ 727 h 731"/>
                <a:gd name="T110" fmla="*/ 392 w 531"/>
                <a:gd name="T111" fmla="*/ 727 h 73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31"/>
                <a:gd name="T169" fmla="*/ 0 h 731"/>
                <a:gd name="T170" fmla="*/ 531 w 531"/>
                <a:gd name="T171" fmla="*/ 731 h 731"/>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31" h="731">
                  <a:moveTo>
                    <a:pt x="320" y="688"/>
                  </a:moveTo>
                  <a:lnTo>
                    <a:pt x="320" y="688"/>
                  </a:lnTo>
                  <a:lnTo>
                    <a:pt x="324" y="684"/>
                  </a:lnTo>
                  <a:lnTo>
                    <a:pt x="338" y="677"/>
                  </a:lnTo>
                  <a:lnTo>
                    <a:pt x="353" y="660"/>
                  </a:lnTo>
                  <a:lnTo>
                    <a:pt x="356" y="649"/>
                  </a:lnTo>
                  <a:lnTo>
                    <a:pt x="360" y="638"/>
                  </a:lnTo>
                  <a:lnTo>
                    <a:pt x="363" y="624"/>
                  </a:lnTo>
                  <a:lnTo>
                    <a:pt x="360" y="610"/>
                  </a:lnTo>
                  <a:lnTo>
                    <a:pt x="360" y="595"/>
                  </a:lnTo>
                  <a:lnTo>
                    <a:pt x="363" y="585"/>
                  </a:lnTo>
                  <a:lnTo>
                    <a:pt x="374" y="574"/>
                  </a:lnTo>
                  <a:lnTo>
                    <a:pt x="388" y="567"/>
                  </a:lnTo>
                  <a:lnTo>
                    <a:pt x="402" y="567"/>
                  </a:lnTo>
                  <a:lnTo>
                    <a:pt x="420" y="563"/>
                  </a:lnTo>
                  <a:lnTo>
                    <a:pt x="438" y="567"/>
                  </a:lnTo>
                  <a:lnTo>
                    <a:pt x="452" y="570"/>
                  </a:lnTo>
                  <a:lnTo>
                    <a:pt x="467" y="567"/>
                  </a:lnTo>
                  <a:lnTo>
                    <a:pt x="474" y="560"/>
                  </a:lnTo>
                  <a:lnTo>
                    <a:pt x="474" y="553"/>
                  </a:lnTo>
                  <a:lnTo>
                    <a:pt x="470" y="549"/>
                  </a:lnTo>
                  <a:lnTo>
                    <a:pt x="481" y="478"/>
                  </a:lnTo>
                  <a:lnTo>
                    <a:pt x="513" y="399"/>
                  </a:lnTo>
                  <a:lnTo>
                    <a:pt x="517" y="396"/>
                  </a:lnTo>
                  <a:lnTo>
                    <a:pt x="520" y="385"/>
                  </a:lnTo>
                  <a:lnTo>
                    <a:pt x="520" y="378"/>
                  </a:lnTo>
                  <a:lnTo>
                    <a:pt x="517" y="367"/>
                  </a:lnTo>
                  <a:lnTo>
                    <a:pt x="506" y="353"/>
                  </a:lnTo>
                  <a:lnTo>
                    <a:pt x="495" y="339"/>
                  </a:lnTo>
                  <a:lnTo>
                    <a:pt x="474" y="324"/>
                  </a:lnTo>
                  <a:lnTo>
                    <a:pt x="492" y="307"/>
                  </a:lnTo>
                  <a:lnTo>
                    <a:pt x="499" y="299"/>
                  </a:lnTo>
                  <a:lnTo>
                    <a:pt x="506" y="289"/>
                  </a:lnTo>
                  <a:lnTo>
                    <a:pt x="506" y="282"/>
                  </a:lnTo>
                  <a:lnTo>
                    <a:pt x="502" y="275"/>
                  </a:lnTo>
                  <a:lnTo>
                    <a:pt x="492" y="267"/>
                  </a:lnTo>
                  <a:lnTo>
                    <a:pt x="474" y="257"/>
                  </a:lnTo>
                  <a:lnTo>
                    <a:pt x="470" y="253"/>
                  </a:lnTo>
                  <a:lnTo>
                    <a:pt x="463" y="246"/>
                  </a:lnTo>
                  <a:lnTo>
                    <a:pt x="463" y="239"/>
                  </a:lnTo>
                  <a:lnTo>
                    <a:pt x="467" y="235"/>
                  </a:lnTo>
                  <a:lnTo>
                    <a:pt x="470" y="228"/>
                  </a:lnTo>
                  <a:lnTo>
                    <a:pt x="477" y="225"/>
                  </a:lnTo>
                  <a:lnTo>
                    <a:pt x="492" y="189"/>
                  </a:lnTo>
                  <a:lnTo>
                    <a:pt x="531" y="164"/>
                  </a:lnTo>
                  <a:lnTo>
                    <a:pt x="520" y="114"/>
                  </a:lnTo>
                  <a:lnTo>
                    <a:pt x="474" y="57"/>
                  </a:lnTo>
                  <a:lnTo>
                    <a:pt x="470" y="39"/>
                  </a:lnTo>
                  <a:lnTo>
                    <a:pt x="467" y="25"/>
                  </a:lnTo>
                  <a:lnTo>
                    <a:pt x="460" y="11"/>
                  </a:lnTo>
                  <a:lnTo>
                    <a:pt x="456" y="7"/>
                  </a:lnTo>
                  <a:lnTo>
                    <a:pt x="452" y="4"/>
                  </a:lnTo>
                  <a:lnTo>
                    <a:pt x="445" y="7"/>
                  </a:lnTo>
                  <a:lnTo>
                    <a:pt x="442" y="11"/>
                  </a:lnTo>
                  <a:lnTo>
                    <a:pt x="431" y="32"/>
                  </a:lnTo>
                  <a:lnTo>
                    <a:pt x="420" y="78"/>
                  </a:lnTo>
                  <a:lnTo>
                    <a:pt x="399" y="93"/>
                  </a:lnTo>
                  <a:lnTo>
                    <a:pt x="378" y="100"/>
                  </a:lnTo>
                  <a:lnTo>
                    <a:pt x="360" y="107"/>
                  </a:lnTo>
                  <a:lnTo>
                    <a:pt x="320" y="68"/>
                  </a:lnTo>
                  <a:lnTo>
                    <a:pt x="313" y="39"/>
                  </a:lnTo>
                  <a:lnTo>
                    <a:pt x="306" y="29"/>
                  </a:lnTo>
                  <a:lnTo>
                    <a:pt x="296" y="14"/>
                  </a:lnTo>
                  <a:lnTo>
                    <a:pt x="285" y="7"/>
                  </a:lnTo>
                  <a:lnTo>
                    <a:pt x="271" y="0"/>
                  </a:lnTo>
                  <a:lnTo>
                    <a:pt x="263" y="0"/>
                  </a:lnTo>
                  <a:lnTo>
                    <a:pt x="260" y="4"/>
                  </a:lnTo>
                  <a:lnTo>
                    <a:pt x="253" y="7"/>
                  </a:lnTo>
                  <a:lnTo>
                    <a:pt x="246" y="14"/>
                  </a:lnTo>
                  <a:lnTo>
                    <a:pt x="238" y="43"/>
                  </a:lnTo>
                  <a:lnTo>
                    <a:pt x="231" y="50"/>
                  </a:lnTo>
                  <a:lnTo>
                    <a:pt x="221" y="64"/>
                  </a:lnTo>
                  <a:lnTo>
                    <a:pt x="206" y="78"/>
                  </a:lnTo>
                  <a:lnTo>
                    <a:pt x="196" y="82"/>
                  </a:lnTo>
                  <a:lnTo>
                    <a:pt x="185" y="86"/>
                  </a:lnTo>
                  <a:lnTo>
                    <a:pt x="142" y="89"/>
                  </a:lnTo>
                  <a:lnTo>
                    <a:pt x="135" y="100"/>
                  </a:lnTo>
                  <a:lnTo>
                    <a:pt x="132" y="114"/>
                  </a:lnTo>
                  <a:lnTo>
                    <a:pt x="132" y="132"/>
                  </a:lnTo>
                  <a:lnTo>
                    <a:pt x="128" y="171"/>
                  </a:lnTo>
                  <a:lnTo>
                    <a:pt x="124" y="193"/>
                  </a:lnTo>
                  <a:lnTo>
                    <a:pt x="117" y="218"/>
                  </a:lnTo>
                  <a:lnTo>
                    <a:pt x="107" y="242"/>
                  </a:lnTo>
                  <a:lnTo>
                    <a:pt x="96" y="260"/>
                  </a:lnTo>
                  <a:lnTo>
                    <a:pt x="82" y="275"/>
                  </a:lnTo>
                  <a:lnTo>
                    <a:pt x="71" y="278"/>
                  </a:lnTo>
                  <a:lnTo>
                    <a:pt x="64" y="278"/>
                  </a:lnTo>
                  <a:lnTo>
                    <a:pt x="32" y="282"/>
                  </a:lnTo>
                  <a:lnTo>
                    <a:pt x="10" y="285"/>
                  </a:lnTo>
                  <a:lnTo>
                    <a:pt x="3" y="292"/>
                  </a:lnTo>
                  <a:lnTo>
                    <a:pt x="0" y="296"/>
                  </a:lnTo>
                  <a:lnTo>
                    <a:pt x="3" y="296"/>
                  </a:lnTo>
                  <a:lnTo>
                    <a:pt x="7" y="303"/>
                  </a:lnTo>
                  <a:lnTo>
                    <a:pt x="10" y="317"/>
                  </a:lnTo>
                  <a:lnTo>
                    <a:pt x="7" y="339"/>
                  </a:lnTo>
                  <a:lnTo>
                    <a:pt x="14" y="339"/>
                  </a:lnTo>
                  <a:lnTo>
                    <a:pt x="25" y="346"/>
                  </a:lnTo>
                  <a:lnTo>
                    <a:pt x="28" y="349"/>
                  </a:lnTo>
                  <a:lnTo>
                    <a:pt x="32" y="360"/>
                  </a:lnTo>
                  <a:lnTo>
                    <a:pt x="32" y="374"/>
                  </a:lnTo>
                  <a:lnTo>
                    <a:pt x="28" y="396"/>
                  </a:lnTo>
                  <a:lnTo>
                    <a:pt x="25" y="417"/>
                  </a:lnTo>
                  <a:lnTo>
                    <a:pt x="25" y="442"/>
                  </a:lnTo>
                  <a:lnTo>
                    <a:pt x="25" y="485"/>
                  </a:lnTo>
                  <a:lnTo>
                    <a:pt x="28" y="531"/>
                  </a:lnTo>
                  <a:lnTo>
                    <a:pt x="32" y="560"/>
                  </a:lnTo>
                  <a:lnTo>
                    <a:pt x="35" y="585"/>
                  </a:lnTo>
                  <a:lnTo>
                    <a:pt x="39" y="610"/>
                  </a:lnTo>
                  <a:lnTo>
                    <a:pt x="50" y="627"/>
                  </a:lnTo>
                  <a:lnTo>
                    <a:pt x="57" y="635"/>
                  </a:lnTo>
                  <a:lnTo>
                    <a:pt x="64" y="638"/>
                  </a:lnTo>
                  <a:lnTo>
                    <a:pt x="75" y="638"/>
                  </a:lnTo>
                  <a:lnTo>
                    <a:pt x="82" y="631"/>
                  </a:lnTo>
                  <a:lnTo>
                    <a:pt x="96" y="617"/>
                  </a:lnTo>
                  <a:lnTo>
                    <a:pt x="110" y="599"/>
                  </a:lnTo>
                  <a:lnTo>
                    <a:pt x="124" y="581"/>
                  </a:lnTo>
                  <a:lnTo>
                    <a:pt x="135" y="570"/>
                  </a:lnTo>
                  <a:lnTo>
                    <a:pt x="146" y="567"/>
                  </a:lnTo>
                  <a:lnTo>
                    <a:pt x="157" y="567"/>
                  </a:lnTo>
                  <a:lnTo>
                    <a:pt x="164" y="570"/>
                  </a:lnTo>
                  <a:lnTo>
                    <a:pt x="171" y="578"/>
                  </a:lnTo>
                  <a:lnTo>
                    <a:pt x="181" y="599"/>
                  </a:lnTo>
                  <a:lnTo>
                    <a:pt x="185" y="627"/>
                  </a:lnTo>
                  <a:lnTo>
                    <a:pt x="189" y="656"/>
                  </a:lnTo>
                  <a:lnTo>
                    <a:pt x="192" y="684"/>
                  </a:lnTo>
                  <a:lnTo>
                    <a:pt x="192" y="699"/>
                  </a:lnTo>
                  <a:lnTo>
                    <a:pt x="196" y="709"/>
                  </a:lnTo>
                  <a:lnTo>
                    <a:pt x="199" y="724"/>
                  </a:lnTo>
                  <a:lnTo>
                    <a:pt x="206" y="731"/>
                  </a:lnTo>
                  <a:lnTo>
                    <a:pt x="210" y="731"/>
                  </a:lnTo>
                  <a:lnTo>
                    <a:pt x="217" y="731"/>
                  </a:lnTo>
                  <a:lnTo>
                    <a:pt x="228" y="724"/>
                  </a:lnTo>
                  <a:lnTo>
                    <a:pt x="246" y="706"/>
                  </a:lnTo>
                  <a:lnTo>
                    <a:pt x="253" y="692"/>
                  </a:lnTo>
                  <a:lnTo>
                    <a:pt x="263" y="684"/>
                  </a:lnTo>
                  <a:lnTo>
                    <a:pt x="271" y="677"/>
                  </a:lnTo>
                  <a:lnTo>
                    <a:pt x="281" y="674"/>
                  </a:lnTo>
                  <a:lnTo>
                    <a:pt x="299" y="674"/>
                  </a:lnTo>
                  <a:lnTo>
                    <a:pt x="317" y="681"/>
                  </a:lnTo>
                  <a:lnTo>
                    <a:pt x="331" y="692"/>
                  </a:lnTo>
                  <a:lnTo>
                    <a:pt x="345" y="702"/>
                  </a:lnTo>
                  <a:lnTo>
                    <a:pt x="356" y="713"/>
                  </a:lnTo>
                  <a:lnTo>
                    <a:pt x="360" y="717"/>
                  </a:lnTo>
                  <a:lnTo>
                    <a:pt x="367" y="727"/>
                  </a:lnTo>
                  <a:lnTo>
                    <a:pt x="374" y="731"/>
                  </a:lnTo>
                  <a:lnTo>
                    <a:pt x="381" y="731"/>
                  </a:lnTo>
                  <a:lnTo>
                    <a:pt x="392" y="727"/>
                  </a:lnTo>
                  <a:lnTo>
                    <a:pt x="406" y="717"/>
                  </a:lnTo>
                </a:path>
              </a:pathLst>
            </a:custGeom>
            <a:noFill/>
            <a:ln w="22225" cmpd="sng">
              <a:solidFill>
                <a:srgbClr val="5DB7E8"/>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3" name="Freeform 19"/>
            <p:cNvSpPr>
              <a:spLocks/>
            </p:cNvSpPr>
            <p:nvPr/>
          </p:nvSpPr>
          <p:spPr bwMode="auto">
            <a:xfrm>
              <a:off x="2107" y="2517"/>
              <a:ext cx="353" cy="235"/>
            </a:xfrm>
            <a:custGeom>
              <a:avLst/>
              <a:gdLst>
                <a:gd name="T0" fmla="*/ 0 w 353"/>
                <a:gd name="T1" fmla="*/ 167 h 235"/>
                <a:gd name="T2" fmla="*/ 0 w 353"/>
                <a:gd name="T3" fmla="*/ 167 h 235"/>
                <a:gd name="T4" fmla="*/ 21 w 353"/>
                <a:gd name="T5" fmla="*/ 185 h 235"/>
                <a:gd name="T6" fmla="*/ 43 w 353"/>
                <a:gd name="T7" fmla="*/ 199 h 235"/>
                <a:gd name="T8" fmla="*/ 68 w 353"/>
                <a:gd name="T9" fmla="*/ 217 h 235"/>
                <a:gd name="T10" fmla="*/ 96 w 353"/>
                <a:gd name="T11" fmla="*/ 228 h 235"/>
                <a:gd name="T12" fmla="*/ 125 w 353"/>
                <a:gd name="T13" fmla="*/ 235 h 235"/>
                <a:gd name="T14" fmla="*/ 139 w 353"/>
                <a:gd name="T15" fmla="*/ 235 h 235"/>
                <a:gd name="T16" fmla="*/ 150 w 353"/>
                <a:gd name="T17" fmla="*/ 231 h 235"/>
                <a:gd name="T18" fmla="*/ 160 w 353"/>
                <a:gd name="T19" fmla="*/ 224 h 235"/>
                <a:gd name="T20" fmla="*/ 171 w 353"/>
                <a:gd name="T21" fmla="*/ 214 h 235"/>
                <a:gd name="T22" fmla="*/ 182 w 353"/>
                <a:gd name="T23" fmla="*/ 192 h 235"/>
                <a:gd name="T24" fmla="*/ 182 w 353"/>
                <a:gd name="T25" fmla="*/ 192 h 235"/>
                <a:gd name="T26" fmla="*/ 178 w 353"/>
                <a:gd name="T27" fmla="*/ 171 h 235"/>
                <a:gd name="T28" fmla="*/ 182 w 353"/>
                <a:gd name="T29" fmla="*/ 149 h 235"/>
                <a:gd name="T30" fmla="*/ 185 w 353"/>
                <a:gd name="T31" fmla="*/ 124 h 235"/>
                <a:gd name="T32" fmla="*/ 196 w 353"/>
                <a:gd name="T33" fmla="*/ 103 h 235"/>
                <a:gd name="T34" fmla="*/ 203 w 353"/>
                <a:gd name="T35" fmla="*/ 92 h 235"/>
                <a:gd name="T36" fmla="*/ 214 w 353"/>
                <a:gd name="T37" fmla="*/ 85 h 235"/>
                <a:gd name="T38" fmla="*/ 224 w 353"/>
                <a:gd name="T39" fmla="*/ 78 h 235"/>
                <a:gd name="T40" fmla="*/ 239 w 353"/>
                <a:gd name="T41" fmla="*/ 71 h 235"/>
                <a:gd name="T42" fmla="*/ 253 w 353"/>
                <a:gd name="T43" fmla="*/ 71 h 235"/>
                <a:gd name="T44" fmla="*/ 274 w 353"/>
                <a:gd name="T45" fmla="*/ 71 h 235"/>
                <a:gd name="T46" fmla="*/ 274 w 353"/>
                <a:gd name="T47" fmla="*/ 71 h 235"/>
                <a:gd name="T48" fmla="*/ 289 w 353"/>
                <a:gd name="T49" fmla="*/ 50 h 235"/>
                <a:gd name="T50" fmla="*/ 303 w 353"/>
                <a:gd name="T51" fmla="*/ 35 h 235"/>
                <a:gd name="T52" fmla="*/ 310 w 353"/>
                <a:gd name="T53" fmla="*/ 35 h 235"/>
                <a:gd name="T54" fmla="*/ 317 w 353"/>
                <a:gd name="T55" fmla="*/ 35 h 235"/>
                <a:gd name="T56" fmla="*/ 317 w 353"/>
                <a:gd name="T57" fmla="*/ 35 h 235"/>
                <a:gd name="T58" fmla="*/ 321 w 353"/>
                <a:gd name="T59" fmla="*/ 39 h 235"/>
                <a:gd name="T60" fmla="*/ 328 w 353"/>
                <a:gd name="T61" fmla="*/ 35 h 235"/>
                <a:gd name="T62" fmla="*/ 339 w 353"/>
                <a:gd name="T63" fmla="*/ 25 h 235"/>
                <a:gd name="T64" fmla="*/ 353 w 353"/>
                <a:gd name="T65" fmla="*/ 0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53"/>
                <a:gd name="T100" fmla="*/ 0 h 235"/>
                <a:gd name="T101" fmla="*/ 353 w 353"/>
                <a:gd name="T102" fmla="*/ 235 h 235"/>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53" h="235">
                  <a:moveTo>
                    <a:pt x="0" y="167"/>
                  </a:moveTo>
                  <a:lnTo>
                    <a:pt x="0" y="167"/>
                  </a:lnTo>
                  <a:lnTo>
                    <a:pt x="21" y="185"/>
                  </a:lnTo>
                  <a:lnTo>
                    <a:pt x="43" y="199"/>
                  </a:lnTo>
                  <a:lnTo>
                    <a:pt x="68" y="217"/>
                  </a:lnTo>
                  <a:lnTo>
                    <a:pt x="96" y="228"/>
                  </a:lnTo>
                  <a:lnTo>
                    <a:pt x="125" y="235"/>
                  </a:lnTo>
                  <a:lnTo>
                    <a:pt x="139" y="235"/>
                  </a:lnTo>
                  <a:lnTo>
                    <a:pt x="150" y="231"/>
                  </a:lnTo>
                  <a:lnTo>
                    <a:pt x="160" y="224"/>
                  </a:lnTo>
                  <a:lnTo>
                    <a:pt x="171" y="214"/>
                  </a:lnTo>
                  <a:lnTo>
                    <a:pt x="182" y="192"/>
                  </a:lnTo>
                  <a:lnTo>
                    <a:pt x="178" y="171"/>
                  </a:lnTo>
                  <a:lnTo>
                    <a:pt x="182" y="149"/>
                  </a:lnTo>
                  <a:lnTo>
                    <a:pt x="185" y="124"/>
                  </a:lnTo>
                  <a:lnTo>
                    <a:pt x="196" y="103"/>
                  </a:lnTo>
                  <a:lnTo>
                    <a:pt x="203" y="92"/>
                  </a:lnTo>
                  <a:lnTo>
                    <a:pt x="214" y="85"/>
                  </a:lnTo>
                  <a:lnTo>
                    <a:pt x="224" y="78"/>
                  </a:lnTo>
                  <a:lnTo>
                    <a:pt x="239" y="71"/>
                  </a:lnTo>
                  <a:lnTo>
                    <a:pt x="253" y="71"/>
                  </a:lnTo>
                  <a:lnTo>
                    <a:pt x="274" y="71"/>
                  </a:lnTo>
                  <a:lnTo>
                    <a:pt x="289" y="50"/>
                  </a:lnTo>
                  <a:lnTo>
                    <a:pt x="303" y="35"/>
                  </a:lnTo>
                  <a:lnTo>
                    <a:pt x="310" y="35"/>
                  </a:lnTo>
                  <a:lnTo>
                    <a:pt x="317" y="35"/>
                  </a:lnTo>
                  <a:lnTo>
                    <a:pt x="321" y="39"/>
                  </a:lnTo>
                  <a:lnTo>
                    <a:pt x="328" y="35"/>
                  </a:lnTo>
                  <a:lnTo>
                    <a:pt x="339" y="25"/>
                  </a:lnTo>
                  <a:lnTo>
                    <a:pt x="353" y="0"/>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4" name="Freeform 20"/>
            <p:cNvSpPr>
              <a:spLocks/>
            </p:cNvSpPr>
            <p:nvPr/>
          </p:nvSpPr>
          <p:spPr bwMode="auto">
            <a:xfrm>
              <a:off x="1280" y="2517"/>
              <a:ext cx="1622" cy="1632"/>
            </a:xfrm>
            <a:custGeom>
              <a:avLst/>
              <a:gdLst>
                <a:gd name="T0" fmla="*/ 1597 w 1622"/>
                <a:gd name="T1" fmla="*/ 406 h 1632"/>
                <a:gd name="T2" fmla="*/ 1554 w 1622"/>
                <a:gd name="T3" fmla="*/ 392 h 1632"/>
                <a:gd name="T4" fmla="*/ 1504 w 1622"/>
                <a:gd name="T5" fmla="*/ 349 h 1632"/>
                <a:gd name="T6" fmla="*/ 1415 w 1622"/>
                <a:gd name="T7" fmla="*/ 363 h 1632"/>
                <a:gd name="T8" fmla="*/ 1369 w 1622"/>
                <a:gd name="T9" fmla="*/ 370 h 1632"/>
                <a:gd name="T10" fmla="*/ 1344 w 1622"/>
                <a:gd name="T11" fmla="*/ 239 h 1632"/>
                <a:gd name="T12" fmla="*/ 1283 w 1622"/>
                <a:gd name="T13" fmla="*/ 260 h 1632"/>
                <a:gd name="T14" fmla="*/ 1212 w 1622"/>
                <a:gd name="T15" fmla="*/ 271 h 1632"/>
                <a:gd name="T16" fmla="*/ 1198 w 1622"/>
                <a:gd name="T17" fmla="*/ 78 h 1632"/>
                <a:gd name="T18" fmla="*/ 1187 w 1622"/>
                <a:gd name="T19" fmla="*/ 0 h 1632"/>
                <a:gd name="T20" fmla="*/ 1141 w 1622"/>
                <a:gd name="T21" fmla="*/ 35 h 1632"/>
                <a:gd name="T22" fmla="*/ 1080 w 1622"/>
                <a:gd name="T23" fmla="*/ 71 h 1632"/>
                <a:gd name="T24" fmla="*/ 1009 w 1622"/>
                <a:gd name="T25" fmla="*/ 149 h 1632"/>
                <a:gd name="T26" fmla="*/ 966 w 1622"/>
                <a:gd name="T27" fmla="*/ 235 h 1632"/>
                <a:gd name="T28" fmla="*/ 823 w 1622"/>
                <a:gd name="T29" fmla="*/ 185 h 1632"/>
                <a:gd name="T30" fmla="*/ 788 w 1622"/>
                <a:gd name="T31" fmla="*/ 267 h 1632"/>
                <a:gd name="T32" fmla="*/ 734 w 1622"/>
                <a:gd name="T33" fmla="*/ 381 h 1632"/>
                <a:gd name="T34" fmla="*/ 681 w 1622"/>
                <a:gd name="T35" fmla="*/ 495 h 1632"/>
                <a:gd name="T36" fmla="*/ 581 w 1622"/>
                <a:gd name="T37" fmla="*/ 527 h 1632"/>
                <a:gd name="T38" fmla="*/ 556 w 1622"/>
                <a:gd name="T39" fmla="*/ 449 h 1632"/>
                <a:gd name="T40" fmla="*/ 613 w 1622"/>
                <a:gd name="T41" fmla="*/ 445 h 1632"/>
                <a:gd name="T42" fmla="*/ 438 w 1622"/>
                <a:gd name="T43" fmla="*/ 342 h 1632"/>
                <a:gd name="T44" fmla="*/ 395 w 1622"/>
                <a:gd name="T45" fmla="*/ 157 h 1632"/>
                <a:gd name="T46" fmla="*/ 299 w 1622"/>
                <a:gd name="T47" fmla="*/ 139 h 1632"/>
                <a:gd name="T48" fmla="*/ 274 w 1622"/>
                <a:gd name="T49" fmla="*/ 185 h 1632"/>
                <a:gd name="T50" fmla="*/ 178 w 1622"/>
                <a:gd name="T51" fmla="*/ 224 h 1632"/>
                <a:gd name="T52" fmla="*/ 125 w 1622"/>
                <a:gd name="T53" fmla="*/ 356 h 1632"/>
                <a:gd name="T54" fmla="*/ 132 w 1622"/>
                <a:gd name="T55" fmla="*/ 456 h 1632"/>
                <a:gd name="T56" fmla="*/ 85 w 1622"/>
                <a:gd name="T57" fmla="*/ 602 h 1632"/>
                <a:gd name="T58" fmla="*/ 57 w 1622"/>
                <a:gd name="T59" fmla="*/ 713 h 1632"/>
                <a:gd name="T60" fmla="*/ 0 w 1622"/>
                <a:gd name="T61" fmla="*/ 730 h 1632"/>
                <a:gd name="T62" fmla="*/ 71 w 1622"/>
                <a:gd name="T63" fmla="*/ 780 h 1632"/>
                <a:gd name="T64" fmla="*/ 100 w 1622"/>
                <a:gd name="T65" fmla="*/ 859 h 1632"/>
                <a:gd name="T66" fmla="*/ 171 w 1622"/>
                <a:gd name="T67" fmla="*/ 780 h 1632"/>
                <a:gd name="T68" fmla="*/ 296 w 1622"/>
                <a:gd name="T69" fmla="*/ 837 h 1632"/>
                <a:gd name="T70" fmla="*/ 392 w 1622"/>
                <a:gd name="T71" fmla="*/ 984 h 1632"/>
                <a:gd name="T72" fmla="*/ 431 w 1622"/>
                <a:gd name="T73" fmla="*/ 1094 h 1632"/>
                <a:gd name="T74" fmla="*/ 485 w 1622"/>
                <a:gd name="T75" fmla="*/ 1144 h 1632"/>
                <a:gd name="T76" fmla="*/ 649 w 1622"/>
                <a:gd name="T77" fmla="*/ 1308 h 1632"/>
                <a:gd name="T78" fmla="*/ 634 w 1622"/>
                <a:gd name="T79" fmla="*/ 1390 h 1632"/>
                <a:gd name="T80" fmla="*/ 620 w 1622"/>
                <a:gd name="T81" fmla="*/ 1443 h 1632"/>
                <a:gd name="T82" fmla="*/ 716 w 1622"/>
                <a:gd name="T83" fmla="*/ 1483 h 1632"/>
                <a:gd name="T84" fmla="*/ 702 w 1622"/>
                <a:gd name="T85" fmla="*/ 1536 h 1632"/>
                <a:gd name="T86" fmla="*/ 766 w 1622"/>
                <a:gd name="T87" fmla="*/ 1590 h 1632"/>
                <a:gd name="T88" fmla="*/ 862 w 1622"/>
                <a:gd name="T89" fmla="*/ 1615 h 1632"/>
                <a:gd name="T90" fmla="*/ 952 w 1622"/>
                <a:gd name="T91" fmla="*/ 1607 h 1632"/>
                <a:gd name="T92" fmla="*/ 1130 w 1622"/>
                <a:gd name="T93" fmla="*/ 1486 h 1632"/>
                <a:gd name="T94" fmla="*/ 1183 w 1622"/>
                <a:gd name="T95" fmla="*/ 1540 h 1632"/>
                <a:gd name="T96" fmla="*/ 1276 w 1622"/>
                <a:gd name="T97" fmla="*/ 1497 h 1632"/>
                <a:gd name="T98" fmla="*/ 1315 w 1622"/>
                <a:gd name="T99" fmla="*/ 1386 h 1632"/>
                <a:gd name="T100" fmla="*/ 1319 w 1622"/>
                <a:gd name="T101" fmla="*/ 1351 h 1632"/>
                <a:gd name="T102" fmla="*/ 1248 w 1622"/>
                <a:gd name="T103" fmla="*/ 1205 h 1632"/>
                <a:gd name="T104" fmla="*/ 1255 w 1622"/>
                <a:gd name="T105" fmla="*/ 976 h 1632"/>
                <a:gd name="T106" fmla="*/ 1326 w 1622"/>
                <a:gd name="T107" fmla="*/ 959 h 1632"/>
                <a:gd name="T108" fmla="*/ 1422 w 1622"/>
                <a:gd name="T109" fmla="*/ 809 h 1632"/>
                <a:gd name="T110" fmla="*/ 1451 w 1622"/>
                <a:gd name="T111" fmla="*/ 581 h 1632"/>
                <a:gd name="T112" fmla="*/ 1533 w 1622"/>
                <a:gd name="T113" fmla="*/ 513 h 1632"/>
                <a:gd name="T114" fmla="*/ 1597 w 1622"/>
                <a:gd name="T115" fmla="*/ 499 h 16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622"/>
                <a:gd name="T175" fmla="*/ 0 h 1632"/>
                <a:gd name="T176" fmla="*/ 1622 w 1622"/>
                <a:gd name="T177" fmla="*/ 1632 h 16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622" h="1632">
                  <a:moveTo>
                    <a:pt x="1608" y="481"/>
                  </a:moveTo>
                  <a:lnTo>
                    <a:pt x="1608" y="481"/>
                  </a:lnTo>
                  <a:lnTo>
                    <a:pt x="1618" y="452"/>
                  </a:lnTo>
                  <a:lnTo>
                    <a:pt x="1622" y="438"/>
                  </a:lnTo>
                  <a:lnTo>
                    <a:pt x="1622" y="431"/>
                  </a:lnTo>
                  <a:lnTo>
                    <a:pt x="1615" y="424"/>
                  </a:lnTo>
                  <a:lnTo>
                    <a:pt x="1597" y="406"/>
                  </a:lnTo>
                  <a:lnTo>
                    <a:pt x="1586" y="392"/>
                  </a:lnTo>
                  <a:lnTo>
                    <a:pt x="1583" y="378"/>
                  </a:lnTo>
                  <a:lnTo>
                    <a:pt x="1579" y="378"/>
                  </a:lnTo>
                  <a:lnTo>
                    <a:pt x="1565" y="388"/>
                  </a:lnTo>
                  <a:lnTo>
                    <a:pt x="1554" y="392"/>
                  </a:lnTo>
                  <a:lnTo>
                    <a:pt x="1547" y="392"/>
                  </a:lnTo>
                  <a:lnTo>
                    <a:pt x="1540" y="388"/>
                  </a:lnTo>
                  <a:lnTo>
                    <a:pt x="1529" y="378"/>
                  </a:lnTo>
                  <a:lnTo>
                    <a:pt x="1529" y="374"/>
                  </a:lnTo>
                  <a:lnTo>
                    <a:pt x="1518" y="360"/>
                  </a:lnTo>
                  <a:lnTo>
                    <a:pt x="1504" y="349"/>
                  </a:lnTo>
                  <a:lnTo>
                    <a:pt x="1490" y="342"/>
                  </a:lnTo>
                  <a:lnTo>
                    <a:pt x="1472" y="335"/>
                  </a:lnTo>
                  <a:lnTo>
                    <a:pt x="1454" y="335"/>
                  </a:lnTo>
                  <a:lnTo>
                    <a:pt x="1444" y="338"/>
                  </a:lnTo>
                  <a:lnTo>
                    <a:pt x="1436" y="345"/>
                  </a:lnTo>
                  <a:lnTo>
                    <a:pt x="1426" y="353"/>
                  </a:lnTo>
                  <a:lnTo>
                    <a:pt x="1415" y="363"/>
                  </a:lnTo>
                  <a:lnTo>
                    <a:pt x="1401" y="385"/>
                  </a:lnTo>
                  <a:lnTo>
                    <a:pt x="1390" y="392"/>
                  </a:lnTo>
                  <a:lnTo>
                    <a:pt x="1383" y="392"/>
                  </a:lnTo>
                  <a:lnTo>
                    <a:pt x="1379" y="392"/>
                  </a:lnTo>
                  <a:lnTo>
                    <a:pt x="1372" y="381"/>
                  </a:lnTo>
                  <a:lnTo>
                    <a:pt x="1369" y="370"/>
                  </a:lnTo>
                  <a:lnTo>
                    <a:pt x="1365" y="360"/>
                  </a:lnTo>
                  <a:lnTo>
                    <a:pt x="1365" y="345"/>
                  </a:lnTo>
                  <a:lnTo>
                    <a:pt x="1362" y="317"/>
                  </a:lnTo>
                  <a:lnTo>
                    <a:pt x="1358" y="288"/>
                  </a:lnTo>
                  <a:lnTo>
                    <a:pt x="1354" y="260"/>
                  </a:lnTo>
                  <a:lnTo>
                    <a:pt x="1344" y="239"/>
                  </a:lnTo>
                  <a:lnTo>
                    <a:pt x="1337" y="231"/>
                  </a:lnTo>
                  <a:lnTo>
                    <a:pt x="1330" y="224"/>
                  </a:lnTo>
                  <a:lnTo>
                    <a:pt x="1319" y="228"/>
                  </a:lnTo>
                  <a:lnTo>
                    <a:pt x="1308" y="231"/>
                  </a:lnTo>
                  <a:lnTo>
                    <a:pt x="1297" y="242"/>
                  </a:lnTo>
                  <a:lnTo>
                    <a:pt x="1283" y="260"/>
                  </a:lnTo>
                  <a:lnTo>
                    <a:pt x="1269" y="278"/>
                  </a:lnTo>
                  <a:lnTo>
                    <a:pt x="1255" y="292"/>
                  </a:lnTo>
                  <a:lnTo>
                    <a:pt x="1244" y="296"/>
                  </a:lnTo>
                  <a:lnTo>
                    <a:pt x="1237" y="299"/>
                  </a:lnTo>
                  <a:lnTo>
                    <a:pt x="1230" y="296"/>
                  </a:lnTo>
                  <a:lnTo>
                    <a:pt x="1223" y="288"/>
                  </a:lnTo>
                  <a:lnTo>
                    <a:pt x="1212" y="271"/>
                  </a:lnTo>
                  <a:lnTo>
                    <a:pt x="1208" y="246"/>
                  </a:lnTo>
                  <a:lnTo>
                    <a:pt x="1205" y="221"/>
                  </a:lnTo>
                  <a:lnTo>
                    <a:pt x="1201" y="192"/>
                  </a:lnTo>
                  <a:lnTo>
                    <a:pt x="1198" y="146"/>
                  </a:lnTo>
                  <a:lnTo>
                    <a:pt x="1198" y="103"/>
                  </a:lnTo>
                  <a:lnTo>
                    <a:pt x="1198" y="78"/>
                  </a:lnTo>
                  <a:lnTo>
                    <a:pt x="1201" y="57"/>
                  </a:lnTo>
                  <a:lnTo>
                    <a:pt x="1205" y="35"/>
                  </a:lnTo>
                  <a:lnTo>
                    <a:pt x="1205" y="21"/>
                  </a:lnTo>
                  <a:lnTo>
                    <a:pt x="1201" y="10"/>
                  </a:lnTo>
                  <a:lnTo>
                    <a:pt x="1198" y="3"/>
                  </a:lnTo>
                  <a:lnTo>
                    <a:pt x="1187" y="0"/>
                  </a:lnTo>
                  <a:lnTo>
                    <a:pt x="1183" y="0"/>
                  </a:lnTo>
                  <a:lnTo>
                    <a:pt x="1180" y="0"/>
                  </a:lnTo>
                  <a:lnTo>
                    <a:pt x="1166" y="25"/>
                  </a:lnTo>
                  <a:lnTo>
                    <a:pt x="1155" y="35"/>
                  </a:lnTo>
                  <a:lnTo>
                    <a:pt x="1148" y="35"/>
                  </a:lnTo>
                  <a:lnTo>
                    <a:pt x="1141" y="35"/>
                  </a:lnTo>
                  <a:lnTo>
                    <a:pt x="1137" y="35"/>
                  </a:lnTo>
                  <a:lnTo>
                    <a:pt x="1130" y="35"/>
                  </a:lnTo>
                  <a:lnTo>
                    <a:pt x="1116" y="50"/>
                  </a:lnTo>
                  <a:lnTo>
                    <a:pt x="1101" y="71"/>
                  </a:lnTo>
                  <a:lnTo>
                    <a:pt x="1080" y="71"/>
                  </a:lnTo>
                  <a:lnTo>
                    <a:pt x="1066" y="71"/>
                  </a:lnTo>
                  <a:lnTo>
                    <a:pt x="1051" y="78"/>
                  </a:lnTo>
                  <a:lnTo>
                    <a:pt x="1041" y="82"/>
                  </a:lnTo>
                  <a:lnTo>
                    <a:pt x="1030" y="92"/>
                  </a:lnTo>
                  <a:lnTo>
                    <a:pt x="1023" y="103"/>
                  </a:lnTo>
                  <a:lnTo>
                    <a:pt x="1012" y="124"/>
                  </a:lnTo>
                  <a:lnTo>
                    <a:pt x="1009" y="149"/>
                  </a:lnTo>
                  <a:lnTo>
                    <a:pt x="1005" y="171"/>
                  </a:lnTo>
                  <a:lnTo>
                    <a:pt x="1009" y="192"/>
                  </a:lnTo>
                  <a:lnTo>
                    <a:pt x="998" y="214"/>
                  </a:lnTo>
                  <a:lnTo>
                    <a:pt x="987" y="224"/>
                  </a:lnTo>
                  <a:lnTo>
                    <a:pt x="977" y="231"/>
                  </a:lnTo>
                  <a:lnTo>
                    <a:pt x="966" y="235"/>
                  </a:lnTo>
                  <a:lnTo>
                    <a:pt x="952" y="235"/>
                  </a:lnTo>
                  <a:lnTo>
                    <a:pt x="923" y="228"/>
                  </a:lnTo>
                  <a:lnTo>
                    <a:pt x="895" y="217"/>
                  </a:lnTo>
                  <a:lnTo>
                    <a:pt x="870" y="199"/>
                  </a:lnTo>
                  <a:lnTo>
                    <a:pt x="848" y="185"/>
                  </a:lnTo>
                  <a:lnTo>
                    <a:pt x="827" y="167"/>
                  </a:lnTo>
                  <a:lnTo>
                    <a:pt x="823" y="185"/>
                  </a:lnTo>
                  <a:lnTo>
                    <a:pt x="816" y="189"/>
                  </a:lnTo>
                  <a:lnTo>
                    <a:pt x="809" y="196"/>
                  </a:lnTo>
                  <a:lnTo>
                    <a:pt x="802" y="206"/>
                  </a:lnTo>
                  <a:lnTo>
                    <a:pt x="795" y="221"/>
                  </a:lnTo>
                  <a:lnTo>
                    <a:pt x="788" y="242"/>
                  </a:lnTo>
                  <a:lnTo>
                    <a:pt x="788" y="267"/>
                  </a:lnTo>
                  <a:lnTo>
                    <a:pt x="791" y="303"/>
                  </a:lnTo>
                  <a:lnTo>
                    <a:pt x="788" y="313"/>
                  </a:lnTo>
                  <a:lnTo>
                    <a:pt x="773" y="338"/>
                  </a:lnTo>
                  <a:lnTo>
                    <a:pt x="763" y="353"/>
                  </a:lnTo>
                  <a:lnTo>
                    <a:pt x="752" y="367"/>
                  </a:lnTo>
                  <a:lnTo>
                    <a:pt x="734" y="381"/>
                  </a:lnTo>
                  <a:lnTo>
                    <a:pt x="713" y="392"/>
                  </a:lnTo>
                  <a:lnTo>
                    <a:pt x="709" y="395"/>
                  </a:lnTo>
                  <a:lnTo>
                    <a:pt x="699" y="417"/>
                  </a:lnTo>
                  <a:lnTo>
                    <a:pt x="688" y="449"/>
                  </a:lnTo>
                  <a:lnTo>
                    <a:pt x="684" y="470"/>
                  </a:lnTo>
                  <a:lnTo>
                    <a:pt x="681" y="495"/>
                  </a:lnTo>
                  <a:lnTo>
                    <a:pt x="670" y="506"/>
                  </a:lnTo>
                  <a:lnTo>
                    <a:pt x="641" y="524"/>
                  </a:lnTo>
                  <a:lnTo>
                    <a:pt x="627" y="531"/>
                  </a:lnTo>
                  <a:lnTo>
                    <a:pt x="606" y="534"/>
                  </a:lnTo>
                  <a:lnTo>
                    <a:pt x="588" y="531"/>
                  </a:lnTo>
                  <a:lnTo>
                    <a:pt x="581" y="527"/>
                  </a:lnTo>
                  <a:lnTo>
                    <a:pt x="570" y="520"/>
                  </a:lnTo>
                  <a:lnTo>
                    <a:pt x="559" y="502"/>
                  </a:lnTo>
                  <a:lnTo>
                    <a:pt x="552" y="488"/>
                  </a:lnTo>
                  <a:lnTo>
                    <a:pt x="549" y="470"/>
                  </a:lnTo>
                  <a:lnTo>
                    <a:pt x="552" y="460"/>
                  </a:lnTo>
                  <a:lnTo>
                    <a:pt x="556" y="449"/>
                  </a:lnTo>
                  <a:lnTo>
                    <a:pt x="563" y="442"/>
                  </a:lnTo>
                  <a:lnTo>
                    <a:pt x="574" y="442"/>
                  </a:lnTo>
                  <a:lnTo>
                    <a:pt x="584" y="445"/>
                  </a:lnTo>
                  <a:lnTo>
                    <a:pt x="595" y="449"/>
                  </a:lnTo>
                  <a:lnTo>
                    <a:pt x="606" y="449"/>
                  </a:lnTo>
                  <a:lnTo>
                    <a:pt x="613" y="445"/>
                  </a:lnTo>
                  <a:lnTo>
                    <a:pt x="620" y="438"/>
                  </a:lnTo>
                  <a:lnTo>
                    <a:pt x="620" y="431"/>
                  </a:lnTo>
                  <a:lnTo>
                    <a:pt x="617" y="417"/>
                  </a:lnTo>
                  <a:lnTo>
                    <a:pt x="609" y="406"/>
                  </a:lnTo>
                  <a:lnTo>
                    <a:pt x="592" y="392"/>
                  </a:lnTo>
                  <a:lnTo>
                    <a:pt x="467" y="363"/>
                  </a:lnTo>
                  <a:lnTo>
                    <a:pt x="438" y="342"/>
                  </a:lnTo>
                  <a:lnTo>
                    <a:pt x="431" y="328"/>
                  </a:lnTo>
                  <a:lnTo>
                    <a:pt x="428" y="288"/>
                  </a:lnTo>
                  <a:lnTo>
                    <a:pt x="424" y="253"/>
                  </a:lnTo>
                  <a:lnTo>
                    <a:pt x="417" y="210"/>
                  </a:lnTo>
                  <a:lnTo>
                    <a:pt x="406" y="174"/>
                  </a:lnTo>
                  <a:lnTo>
                    <a:pt x="395" y="157"/>
                  </a:lnTo>
                  <a:lnTo>
                    <a:pt x="385" y="146"/>
                  </a:lnTo>
                  <a:lnTo>
                    <a:pt x="374" y="139"/>
                  </a:lnTo>
                  <a:lnTo>
                    <a:pt x="360" y="135"/>
                  </a:lnTo>
                  <a:lnTo>
                    <a:pt x="342" y="139"/>
                  </a:lnTo>
                  <a:lnTo>
                    <a:pt x="324" y="149"/>
                  </a:lnTo>
                  <a:lnTo>
                    <a:pt x="299" y="139"/>
                  </a:lnTo>
                  <a:lnTo>
                    <a:pt x="292" y="135"/>
                  </a:lnTo>
                  <a:lnTo>
                    <a:pt x="289" y="132"/>
                  </a:lnTo>
                  <a:lnTo>
                    <a:pt x="281" y="132"/>
                  </a:lnTo>
                  <a:lnTo>
                    <a:pt x="274" y="135"/>
                  </a:lnTo>
                  <a:lnTo>
                    <a:pt x="271" y="142"/>
                  </a:lnTo>
                  <a:lnTo>
                    <a:pt x="267" y="160"/>
                  </a:lnTo>
                  <a:lnTo>
                    <a:pt x="274" y="185"/>
                  </a:lnTo>
                  <a:lnTo>
                    <a:pt x="256" y="196"/>
                  </a:lnTo>
                  <a:lnTo>
                    <a:pt x="239" y="192"/>
                  </a:lnTo>
                  <a:lnTo>
                    <a:pt x="224" y="196"/>
                  </a:lnTo>
                  <a:lnTo>
                    <a:pt x="210" y="203"/>
                  </a:lnTo>
                  <a:lnTo>
                    <a:pt x="196" y="210"/>
                  </a:lnTo>
                  <a:lnTo>
                    <a:pt x="178" y="224"/>
                  </a:lnTo>
                  <a:lnTo>
                    <a:pt x="167" y="246"/>
                  </a:lnTo>
                  <a:lnTo>
                    <a:pt x="157" y="271"/>
                  </a:lnTo>
                  <a:lnTo>
                    <a:pt x="157" y="306"/>
                  </a:lnTo>
                  <a:lnTo>
                    <a:pt x="146" y="331"/>
                  </a:lnTo>
                  <a:lnTo>
                    <a:pt x="132" y="349"/>
                  </a:lnTo>
                  <a:lnTo>
                    <a:pt x="125" y="356"/>
                  </a:lnTo>
                  <a:lnTo>
                    <a:pt x="117" y="363"/>
                  </a:lnTo>
                  <a:lnTo>
                    <a:pt x="121" y="374"/>
                  </a:lnTo>
                  <a:lnTo>
                    <a:pt x="132" y="403"/>
                  </a:lnTo>
                  <a:lnTo>
                    <a:pt x="135" y="420"/>
                  </a:lnTo>
                  <a:lnTo>
                    <a:pt x="135" y="438"/>
                  </a:lnTo>
                  <a:lnTo>
                    <a:pt x="132" y="456"/>
                  </a:lnTo>
                  <a:lnTo>
                    <a:pt x="121" y="474"/>
                  </a:lnTo>
                  <a:lnTo>
                    <a:pt x="110" y="488"/>
                  </a:lnTo>
                  <a:lnTo>
                    <a:pt x="103" y="509"/>
                  </a:lnTo>
                  <a:lnTo>
                    <a:pt x="92" y="534"/>
                  </a:lnTo>
                  <a:lnTo>
                    <a:pt x="89" y="566"/>
                  </a:lnTo>
                  <a:lnTo>
                    <a:pt x="85" y="602"/>
                  </a:lnTo>
                  <a:lnTo>
                    <a:pt x="89" y="641"/>
                  </a:lnTo>
                  <a:lnTo>
                    <a:pt x="100" y="681"/>
                  </a:lnTo>
                  <a:lnTo>
                    <a:pt x="100" y="684"/>
                  </a:lnTo>
                  <a:lnTo>
                    <a:pt x="92" y="695"/>
                  </a:lnTo>
                  <a:lnTo>
                    <a:pt x="78" y="706"/>
                  </a:lnTo>
                  <a:lnTo>
                    <a:pt x="57" y="713"/>
                  </a:lnTo>
                  <a:lnTo>
                    <a:pt x="35" y="716"/>
                  </a:lnTo>
                  <a:lnTo>
                    <a:pt x="21" y="723"/>
                  </a:lnTo>
                  <a:lnTo>
                    <a:pt x="3" y="730"/>
                  </a:lnTo>
                  <a:lnTo>
                    <a:pt x="0" y="730"/>
                  </a:lnTo>
                  <a:lnTo>
                    <a:pt x="3" y="734"/>
                  </a:lnTo>
                  <a:lnTo>
                    <a:pt x="39" y="766"/>
                  </a:lnTo>
                  <a:lnTo>
                    <a:pt x="57" y="780"/>
                  </a:lnTo>
                  <a:lnTo>
                    <a:pt x="68" y="784"/>
                  </a:lnTo>
                  <a:lnTo>
                    <a:pt x="71" y="780"/>
                  </a:lnTo>
                  <a:lnTo>
                    <a:pt x="78" y="805"/>
                  </a:lnTo>
                  <a:lnTo>
                    <a:pt x="82" y="845"/>
                  </a:lnTo>
                  <a:lnTo>
                    <a:pt x="85" y="852"/>
                  </a:lnTo>
                  <a:lnTo>
                    <a:pt x="89" y="855"/>
                  </a:lnTo>
                  <a:lnTo>
                    <a:pt x="92" y="859"/>
                  </a:lnTo>
                  <a:lnTo>
                    <a:pt x="100" y="859"/>
                  </a:lnTo>
                  <a:lnTo>
                    <a:pt x="110" y="855"/>
                  </a:lnTo>
                  <a:lnTo>
                    <a:pt x="121" y="841"/>
                  </a:lnTo>
                  <a:lnTo>
                    <a:pt x="135" y="820"/>
                  </a:lnTo>
                  <a:lnTo>
                    <a:pt x="150" y="798"/>
                  </a:lnTo>
                  <a:lnTo>
                    <a:pt x="160" y="788"/>
                  </a:lnTo>
                  <a:lnTo>
                    <a:pt x="171" y="780"/>
                  </a:lnTo>
                  <a:lnTo>
                    <a:pt x="178" y="784"/>
                  </a:lnTo>
                  <a:lnTo>
                    <a:pt x="182" y="788"/>
                  </a:lnTo>
                  <a:lnTo>
                    <a:pt x="189" y="795"/>
                  </a:lnTo>
                  <a:lnTo>
                    <a:pt x="196" y="816"/>
                  </a:lnTo>
                  <a:lnTo>
                    <a:pt x="260" y="766"/>
                  </a:lnTo>
                  <a:lnTo>
                    <a:pt x="278" y="802"/>
                  </a:lnTo>
                  <a:lnTo>
                    <a:pt x="296" y="837"/>
                  </a:lnTo>
                  <a:lnTo>
                    <a:pt x="296" y="894"/>
                  </a:lnTo>
                  <a:lnTo>
                    <a:pt x="321" y="891"/>
                  </a:lnTo>
                  <a:lnTo>
                    <a:pt x="349" y="934"/>
                  </a:lnTo>
                  <a:lnTo>
                    <a:pt x="349" y="966"/>
                  </a:lnTo>
                  <a:lnTo>
                    <a:pt x="381" y="976"/>
                  </a:lnTo>
                  <a:lnTo>
                    <a:pt x="392" y="984"/>
                  </a:lnTo>
                  <a:lnTo>
                    <a:pt x="403" y="994"/>
                  </a:lnTo>
                  <a:lnTo>
                    <a:pt x="417" y="1009"/>
                  </a:lnTo>
                  <a:lnTo>
                    <a:pt x="428" y="1026"/>
                  </a:lnTo>
                  <a:lnTo>
                    <a:pt x="435" y="1048"/>
                  </a:lnTo>
                  <a:lnTo>
                    <a:pt x="435" y="1069"/>
                  </a:lnTo>
                  <a:lnTo>
                    <a:pt x="435" y="1080"/>
                  </a:lnTo>
                  <a:lnTo>
                    <a:pt x="431" y="1094"/>
                  </a:lnTo>
                  <a:lnTo>
                    <a:pt x="442" y="1094"/>
                  </a:lnTo>
                  <a:lnTo>
                    <a:pt x="453" y="1094"/>
                  </a:lnTo>
                  <a:lnTo>
                    <a:pt x="463" y="1098"/>
                  </a:lnTo>
                  <a:lnTo>
                    <a:pt x="474" y="1108"/>
                  </a:lnTo>
                  <a:lnTo>
                    <a:pt x="481" y="1123"/>
                  </a:lnTo>
                  <a:lnTo>
                    <a:pt x="485" y="1144"/>
                  </a:lnTo>
                  <a:lnTo>
                    <a:pt x="485" y="1176"/>
                  </a:lnTo>
                  <a:lnTo>
                    <a:pt x="538" y="1219"/>
                  </a:lnTo>
                  <a:lnTo>
                    <a:pt x="542" y="1244"/>
                  </a:lnTo>
                  <a:lnTo>
                    <a:pt x="606" y="1258"/>
                  </a:lnTo>
                  <a:lnTo>
                    <a:pt x="599" y="1326"/>
                  </a:lnTo>
                  <a:lnTo>
                    <a:pt x="613" y="1340"/>
                  </a:lnTo>
                  <a:lnTo>
                    <a:pt x="649" y="1308"/>
                  </a:lnTo>
                  <a:lnTo>
                    <a:pt x="652" y="1315"/>
                  </a:lnTo>
                  <a:lnTo>
                    <a:pt x="656" y="1336"/>
                  </a:lnTo>
                  <a:lnTo>
                    <a:pt x="656" y="1351"/>
                  </a:lnTo>
                  <a:lnTo>
                    <a:pt x="652" y="1365"/>
                  </a:lnTo>
                  <a:lnTo>
                    <a:pt x="645" y="1379"/>
                  </a:lnTo>
                  <a:lnTo>
                    <a:pt x="634" y="1390"/>
                  </a:lnTo>
                  <a:lnTo>
                    <a:pt x="613" y="1408"/>
                  </a:lnTo>
                  <a:lnTo>
                    <a:pt x="606" y="1415"/>
                  </a:lnTo>
                  <a:lnTo>
                    <a:pt x="602" y="1426"/>
                  </a:lnTo>
                  <a:lnTo>
                    <a:pt x="606" y="1429"/>
                  </a:lnTo>
                  <a:lnTo>
                    <a:pt x="609" y="1436"/>
                  </a:lnTo>
                  <a:lnTo>
                    <a:pt x="620" y="1443"/>
                  </a:lnTo>
                  <a:lnTo>
                    <a:pt x="634" y="1447"/>
                  </a:lnTo>
                  <a:lnTo>
                    <a:pt x="652" y="1451"/>
                  </a:lnTo>
                  <a:lnTo>
                    <a:pt x="666" y="1454"/>
                  </a:lnTo>
                  <a:lnTo>
                    <a:pt x="684" y="1458"/>
                  </a:lnTo>
                  <a:lnTo>
                    <a:pt x="702" y="1468"/>
                  </a:lnTo>
                  <a:lnTo>
                    <a:pt x="716" y="1483"/>
                  </a:lnTo>
                  <a:lnTo>
                    <a:pt x="720" y="1490"/>
                  </a:lnTo>
                  <a:lnTo>
                    <a:pt x="723" y="1500"/>
                  </a:lnTo>
                  <a:lnTo>
                    <a:pt x="723" y="1515"/>
                  </a:lnTo>
                  <a:lnTo>
                    <a:pt x="723" y="1525"/>
                  </a:lnTo>
                  <a:lnTo>
                    <a:pt x="709" y="1533"/>
                  </a:lnTo>
                  <a:lnTo>
                    <a:pt x="702" y="1536"/>
                  </a:lnTo>
                  <a:lnTo>
                    <a:pt x="695" y="1543"/>
                  </a:lnTo>
                  <a:lnTo>
                    <a:pt x="691" y="1547"/>
                  </a:lnTo>
                  <a:lnTo>
                    <a:pt x="691" y="1550"/>
                  </a:lnTo>
                  <a:lnTo>
                    <a:pt x="702" y="1561"/>
                  </a:lnTo>
                  <a:lnTo>
                    <a:pt x="727" y="1575"/>
                  </a:lnTo>
                  <a:lnTo>
                    <a:pt x="766" y="1590"/>
                  </a:lnTo>
                  <a:lnTo>
                    <a:pt x="777" y="1604"/>
                  </a:lnTo>
                  <a:lnTo>
                    <a:pt x="784" y="1615"/>
                  </a:lnTo>
                  <a:lnTo>
                    <a:pt x="795" y="1622"/>
                  </a:lnTo>
                  <a:lnTo>
                    <a:pt x="809" y="1629"/>
                  </a:lnTo>
                  <a:lnTo>
                    <a:pt x="823" y="1632"/>
                  </a:lnTo>
                  <a:lnTo>
                    <a:pt x="841" y="1625"/>
                  </a:lnTo>
                  <a:lnTo>
                    <a:pt x="862" y="1615"/>
                  </a:lnTo>
                  <a:lnTo>
                    <a:pt x="877" y="1618"/>
                  </a:lnTo>
                  <a:lnTo>
                    <a:pt x="891" y="1622"/>
                  </a:lnTo>
                  <a:lnTo>
                    <a:pt x="909" y="1625"/>
                  </a:lnTo>
                  <a:lnTo>
                    <a:pt x="927" y="1622"/>
                  </a:lnTo>
                  <a:lnTo>
                    <a:pt x="944" y="1615"/>
                  </a:lnTo>
                  <a:lnTo>
                    <a:pt x="952" y="1607"/>
                  </a:lnTo>
                  <a:lnTo>
                    <a:pt x="959" y="1597"/>
                  </a:lnTo>
                  <a:lnTo>
                    <a:pt x="962" y="1586"/>
                  </a:lnTo>
                  <a:lnTo>
                    <a:pt x="966" y="1568"/>
                  </a:lnTo>
                  <a:lnTo>
                    <a:pt x="1048" y="1525"/>
                  </a:lnTo>
                  <a:lnTo>
                    <a:pt x="1105" y="1497"/>
                  </a:lnTo>
                  <a:lnTo>
                    <a:pt x="1130" y="1486"/>
                  </a:lnTo>
                  <a:lnTo>
                    <a:pt x="1141" y="1486"/>
                  </a:lnTo>
                  <a:lnTo>
                    <a:pt x="1144" y="1500"/>
                  </a:lnTo>
                  <a:lnTo>
                    <a:pt x="1158" y="1529"/>
                  </a:lnTo>
                  <a:lnTo>
                    <a:pt x="1169" y="1540"/>
                  </a:lnTo>
                  <a:lnTo>
                    <a:pt x="1176" y="1543"/>
                  </a:lnTo>
                  <a:lnTo>
                    <a:pt x="1183" y="1540"/>
                  </a:lnTo>
                  <a:lnTo>
                    <a:pt x="1190" y="1536"/>
                  </a:lnTo>
                  <a:lnTo>
                    <a:pt x="1201" y="1518"/>
                  </a:lnTo>
                  <a:lnTo>
                    <a:pt x="1226" y="1508"/>
                  </a:lnTo>
                  <a:lnTo>
                    <a:pt x="1251" y="1500"/>
                  </a:lnTo>
                  <a:lnTo>
                    <a:pt x="1276" y="1497"/>
                  </a:lnTo>
                  <a:lnTo>
                    <a:pt x="1283" y="1497"/>
                  </a:lnTo>
                  <a:lnTo>
                    <a:pt x="1287" y="1493"/>
                  </a:lnTo>
                  <a:lnTo>
                    <a:pt x="1297" y="1479"/>
                  </a:lnTo>
                  <a:lnTo>
                    <a:pt x="1305" y="1465"/>
                  </a:lnTo>
                  <a:lnTo>
                    <a:pt x="1308" y="1443"/>
                  </a:lnTo>
                  <a:lnTo>
                    <a:pt x="1315" y="1404"/>
                  </a:lnTo>
                  <a:lnTo>
                    <a:pt x="1315" y="1386"/>
                  </a:lnTo>
                  <a:lnTo>
                    <a:pt x="1319" y="1383"/>
                  </a:lnTo>
                  <a:lnTo>
                    <a:pt x="1326" y="1376"/>
                  </a:lnTo>
                  <a:lnTo>
                    <a:pt x="1330" y="1372"/>
                  </a:lnTo>
                  <a:lnTo>
                    <a:pt x="1330" y="1365"/>
                  </a:lnTo>
                  <a:lnTo>
                    <a:pt x="1326" y="1358"/>
                  </a:lnTo>
                  <a:lnTo>
                    <a:pt x="1319" y="1351"/>
                  </a:lnTo>
                  <a:lnTo>
                    <a:pt x="1312" y="1315"/>
                  </a:lnTo>
                  <a:lnTo>
                    <a:pt x="1294" y="1258"/>
                  </a:lnTo>
                  <a:lnTo>
                    <a:pt x="1283" y="1237"/>
                  </a:lnTo>
                  <a:lnTo>
                    <a:pt x="1265" y="1219"/>
                  </a:lnTo>
                  <a:lnTo>
                    <a:pt x="1248" y="1205"/>
                  </a:lnTo>
                  <a:lnTo>
                    <a:pt x="1244" y="1158"/>
                  </a:lnTo>
                  <a:lnTo>
                    <a:pt x="1240" y="1112"/>
                  </a:lnTo>
                  <a:lnTo>
                    <a:pt x="1240" y="1058"/>
                  </a:lnTo>
                  <a:lnTo>
                    <a:pt x="1244" y="1012"/>
                  </a:lnTo>
                  <a:lnTo>
                    <a:pt x="1248" y="991"/>
                  </a:lnTo>
                  <a:lnTo>
                    <a:pt x="1255" y="976"/>
                  </a:lnTo>
                  <a:lnTo>
                    <a:pt x="1262" y="966"/>
                  </a:lnTo>
                  <a:lnTo>
                    <a:pt x="1269" y="959"/>
                  </a:lnTo>
                  <a:lnTo>
                    <a:pt x="1280" y="959"/>
                  </a:lnTo>
                  <a:lnTo>
                    <a:pt x="1294" y="969"/>
                  </a:lnTo>
                  <a:lnTo>
                    <a:pt x="1305" y="966"/>
                  </a:lnTo>
                  <a:lnTo>
                    <a:pt x="1326" y="959"/>
                  </a:lnTo>
                  <a:lnTo>
                    <a:pt x="1337" y="948"/>
                  </a:lnTo>
                  <a:lnTo>
                    <a:pt x="1347" y="937"/>
                  </a:lnTo>
                  <a:lnTo>
                    <a:pt x="1354" y="919"/>
                  </a:lnTo>
                  <a:lnTo>
                    <a:pt x="1354" y="898"/>
                  </a:lnTo>
                  <a:lnTo>
                    <a:pt x="1390" y="848"/>
                  </a:lnTo>
                  <a:lnTo>
                    <a:pt x="1422" y="809"/>
                  </a:lnTo>
                  <a:lnTo>
                    <a:pt x="1440" y="791"/>
                  </a:lnTo>
                  <a:lnTo>
                    <a:pt x="1458" y="777"/>
                  </a:lnTo>
                  <a:lnTo>
                    <a:pt x="1472" y="755"/>
                  </a:lnTo>
                  <a:lnTo>
                    <a:pt x="1501" y="652"/>
                  </a:lnTo>
                  <a:lnTo>
                    <a:pt x="1444" y="599"/>
                  </a:lnTo>
                  <a:lnTo>
                    <a:pt x="1451" y="581"/>
                  </a:lnTo>
                  <a:lnTo>
                    <a:pt x="1461" y="563"/>
                  </a:lnTo>
                  <a:lnTo>
                    <a:pt x="1472" y="545"/>
                  </a:lnTo>
                  <a:lnTo>
                    <a:pt x="1486" y="527"/>
                  </a:lnTo>
                  <a:lnTo>
                    <a:pt x="1504" y="517"/>
                  </a:lnTo>
                  <a:lnTo>
                    <a:pt x="1515" y="513"/>
                  </a:lnTo>
                  <a:lnTo>
                    <a:pt x="1522" y="513"/>
                  </a:lnTo>
                  <a:lnTo>
                    <a:pt x="1533" y="513"/>
                  </a:lnTo>
                  <a:lnTo>
                    <a:pt x="1543" y="520"/>
                  </a:lnTo>
                  <a:lnTo>
                    <a:pt x="1551" y="520"/>
                  </a:lnTo>
                  <a:lnTo>
                    <a:pt x="1568" y="520"/>
                  </a:lnTo>
                  <a:lnTo>
                    <a:pt x="1579" y="517"/>
                  </a:lnTo>
                  <a:lnTo>
                    <a:pt x="1586" y="509"/>
                  </a:lnTo>
                  <a:lnTo>
                    <a:pt x="1597" y="499"/>
                  </a:lnTo>
                  <a:lnTo>
                    <a:pt x="1608" y="481"/>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5" name="Freeform 21"/>
            <p:cNvSpPr>
              <a:spLocks/>
            </p:cNvSpPr>
            <p:nvPr/>
          </p:nvSpPr>
          <p:spPr bwMode="auto">
            <a:xfrm>
              <a:off x="2970" y="2470"/>
              <a:ext cx="499" cy="168"/>
            </a:xfrm>
            <a:custGeom>
              <a:avLst/>
              <a:gdLst>
                <a:gd name="T0" fmla="*/ 0 w 499"/>
                <a:gd name="T1" fmla="*/ 72 h 168"/>
                <a:gd name="T2" fmla="*/ 0 w 499"/>
                <a:gd name="T3" fmla="*/ 72 h 168"/>
                <a:gd name="T4" fmla="*/ 32 w 499"/>
                <a:gd name="T5" fmla="*/ 61 h 168"/>
                <a:gd name="T6" fmla="*/ 103 w 499"/>
                <a:gd name="T7" fmla="*/ 40 h 168"/>
                <a:gd name="T8" fmla="*/ 142 w 499"/>
                <a:gd name="T9" fmla="*/ 32 h 168"/>
                <a:gd name="T10" fmla="*/ 178 w 499"/>
                <a:gd name="T11" fmla="*/ 29 h 168"/>
                <a:gd name="T12" fmla="*/ 192 w 499"/>
                <a:gd name="T13" fmla="*/ 29 h 168"/>
                <a:gd name="T14" fmla="*/ 206 w 499"/>
                <a:gd name="T15" fmla="*/ 29 h 168"/>
                <a:gd name="T16" fmla="*/ 213 w 499"/>
                <a:gd name="T17" fmla="*/ 36 h 168"/>
                <a:gd name="T18" fmla="*/ 221 w 499"/>
                <a:gd name="T19" fmla="*/ 43 h 168"/>
                <a:gd name="T20" fmla="*/ 221 w 499"/>
                <a:gd name="T21" fmla="*/ 43 h 168"/>
                <a:gd name="T22" fmla="*/ 224 w 499"/>
                <a:gd name="T23" fmla="*/ 43 h 168"/>
                <a:gd name="T24" fmla="*/ 231 w 499"/>
                <a:gd name="T25" fmla="*/ 54 h 168"/>
                <a:gd name="T26" fmla="*/ 242 w 499"/>
                <a:gd name="T27" fmla="*/ 75 h 168"/>
                <a:gd name="T28" fmla="*/ 242 w 499"/>
                <a:gd name="T29" fmla="*/ 89 h 168"/>
                <a:gd name="T30" fmla="*/ 242 w 499"/>
                <a:gd name="T31" fmla="*/ 111 h 168"/>
                <a:gd name="T32" fmla="*/ 242 w 499"/>
                <a:gd name="T33" fmla="*/ 111 h 168"/>
                <a:gd name="T34" fmla="*/ 246 w 499"/>
                <a:gd name="T35" fmla="*/ 125 h 168"/>
                <a:gd name="T36" fmla="*/ 249 w 499"/>
                <a:gd name="T37" fmla="*/ 129 h 168"/>
                <a:gd name="T38" fmla="*/ 253 w 499"/>
                <a:gd name="T39" fmla="*/ 132 h 168"/>
                <a:gd name="T40" fmla="*/ 263 w 499"/>
                <a:gd name="T41" fmla="*/ 132 h 168"/>
                <a:gd name="T42" fmla="*/ 274 w 499"/>
                <a:gd name="T43" fmla="*/ 129 h 168"/>
                <a:gd name="T44" fmla="*/ 295 w 499"/>
                <a:gd name="T45" fmla="*/ 111 h 168"/>
                <a:gd name="T46" fmla="*/ 306 w 499"/>
                <a:gd name="T47" fmla="*/ 104 h 168"/>
                <a:gd name="T48" fmla="*/ 306 w 499"/>
                <a:gd name="T49" fmla="*/ 104 h 168"/>
                <a:gd name="T50" fmla="*/ 310 w 499"/>
                <a:gd name="T51" fmla="*/ 100 h 168"/>
                <a:gd name="T52" fmla="*/ 328 w 499"/>
                <a:gd name="T53" fmla="*/ 93 h 168"/>
                <a:gd name="T54" fmla="*/ 335 w 499"/>
                <a:gd name="T55" fmla="*/ 97 h 168"/>
                <a:gd name="T56" fmla="*/ 345 w 499"/>
                <a:gd name="T57" fmla="*/ 100 h 168"/>
                <a:gd name="T58" fmla="*/ 356 w 499"/>
                <a:gd name="T59" fmla="*/ 107 h 168"/>
                <a:gd name="T60" fmla="*/ 367 w 499"/>
                <a:gd name="T61" fmla="*/ 122 h 168"/>
                <a:gd name="T62" fmla="*/ 367 w 499"/>
                <a:gd name="T63" fmla="*/ 122 h 168"/>
                <a:gd name="T64" fmla="*/ 377 w 499"/>
                <a:gd name="T65" fmla="*/ 139 h 168"/>
                <a:gd name="T66" fmla="*/ 399 w 499"/>
                <a:gd name="T67" fmla="*/ 154 h 168"/>
                <a:gd name="T68" fmla="*/ 420 w 499"/>
                <a:gd name="T69" fmla="*/ 164 h 168"/>
                <a:gd name="T70" fmla="*/ 445 w 499"/>
                <a:gd name="T71" fmla="*/ 168 h 168"/>
                <a:gd name="T72" fmla="*/ 467 w 499"/>
                <a:gd name="T73" fmla="*/ 168 h 168"/>
                <a:gd name="T74" fmla="*/ 477 w 499"/>
                <a:gd name="T75" fmla="*/ 164 h 168"/>
                <a:gd name="T76" fmla="*/ 484 w 499"/>
                <a:gd name="T77" fmla="*/ 157 h 168"/>
                <a:gd name="T78" fmla="*/ 488 w 499"/>
                <a:gd name="T79" fmla="*/ 150 h 168"/>
                <a:gd name="T80" fmla="*/ 492 w 499"/>
                <a:gd name="T81" fmla="*/ 139 h 168"/>
                <a:gd name="T82" fmla="*/ 492 w 499"/>
                <a:gd name="T83" fmla="*/ 129 h 168"/>
                <a:gd name="T84" fmla="*/ 488 w 499"/>
                <a:gd name="T85" fmla="*/ 114 h 168"/>
                <a:gd name="T86" fmla="*/ 488 w 499"/>
                <a:gd name="T87" fmla="*/ 114 h 168"/>
                <a:gd name="T88" fmla="*/ 484 w 499"/>
                <a:gd name="T89" fmla="*/ 107 h 168"/>
                <a:gd name="T90" fmla="*/ 481 w 499"/>
                <a:gd name="T91" fmla="*/ 89 h 168"/>
                <a:gd name="T92" fmla="*/ 481 w 499"/>
                <a:gd name="T93" fmla="*/ 68 h 168"/>
                <a:gd name="T94" fmla="*/ 484 w 499"/>
                <a:gd name="T95" fmla="*/ 54 h 168"/>
                <a:gd name="T96" fmla="*/ 488 w 499"/>
                <a:gd name="T97" fmla="*/ 43 h 168"/>
                <a:gd name="T98" fmla="*/ 488 w 499"/>
                <a:gd name="T99" fmla="*/ 43 h 168"/>
                <a:gd name="T100" fmla="*/ 495 w 499"/>
                <a:gd name="T101" fmla="*/ 32 h 168"/>
                <a:gd name="T102" fmla="*/ 499 w 499"/>
                <a:gd name="T103" fmla="*/ 22 h 168"/>
                <a:gd name="T104" fmla="*/ 499 w 499"/>
                <a:gd name="T105" fmla="*/ 15 h 168"/>
                <a:gd name="T106" fmla="*/ 499 w 499"/>
                <a:gd name="T107" fmla="*/ 11 h 168"/>
                <a:gd name="T108" fmla="*/ 492 w 499"/>
                <a:gd name="T109" fmla="*/ 4 h 168"/>
                <a:gd name="T110" fmla="*/ 488 w 499"/>
                <a:gd name="T111" fmla="*/ 0 h 1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99"/>
                <a:gd name="T169" fmla="*/ 0 h 168"/>
                <a:gd name="T170" fmla="*/ 499 w 499"/>
                <a:gd name="T171" fmla="*/ 168 h 16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99" h="168">
                  <a:moveTo>
                    <a:pt x="0" y="72"/>
                  </a:moveTo>
                  <a:lnTo>
                    <a:pt x="0" y="72"/>
                  </a:lnTo>
                  <a:lnTo>
                    <a:pt x="32" y="61"/>
                  </a:lnTo>
                  <a:lnTo>
                    <a:pt x="103" y="40"/>
                  </a:lnTo>
                  <a:lnTo>
                    <a:pt x="142" y="32"/>
                  </a:lnTo>
                  <a:lnTo>
                    <a:pt x="178" y="29"/>
                  </a:lnTo>
                  <a:lnTo>
                    <a:pt x="192" y="29"/>
                  </a:lnTo>
                  <a:lnTo>
                    <a:pt x="206" y="29"/>
                  </a:lnTo>
                  <a:lnTo>
                    <a:pt x="213" y="36"/>
                  </a:lnTo>
                  <a:lnTo>
                    <a:pt x="221" y="43"/>
                  </a:lnTo>
                  <a:lnTo>
                    <a:pt x="224" y="43"/>
                  </a:lnTo>
                  <a:lnTo>
                    <a:pt x="231" y="54"/>
                  </a:lnTo>
                  <a:lnTo>
                    <a:pt x="242" y="75"/>
                  </a:lnTo>
                  <a:lnTo>
                    <a:pt x="242" y="89"/>
                  </a:lnTo>
                  <a:lnTo>
                    <a:pt x="242" y="111"/>
                  </a:lnTo>
                  <a:lnTo>
                    <a:pt x="246" y="125"/>
                  </a:lnTo>
                  <a:lnTo>
                    <a:pt x="249" y="129"/>
                  </a:lnTo>
                  <a:lnTo>
                    <a:pt x="253" y="132"/>
                  </a:lnTo>
                  <a:lnTo>
                    <a:pt x="263" y="132"/>
                  </a:lnTo>
                  <a:lnTo>
                    <a:pt x="274" y="129"/>
                  </a:lnTo>
                  <a:lnTo>
                    <a:pt x="295" y="111"/>
                  </a:lnTo>
                  <a:lnTo>
                    <a:pt x="306" y="104"/>
                  </a:lnTo>
                  <a:lnTo>
                    <a:pt x="310" y="100"/>
                  </a:lnTo>
                  <a:lnTo>
                    <a:pt x="328" y="93"/>
                  </a:lnTo>
                  <a:lnTo>
                    <a:pt x="335" y="97"/>
                  </a:lnTo>
                  <a:lnTo>
                    <a:pt x="345" y="100"/>
                  </a:lnTo>
                  <a:lnTo>
                    <a:pt x="356" y="107"/>
                  </a:lnTo>
                  <a:lnTo>
                    <a:pt x="367" y="122"/>
                  </a:lnTo>
                  <a:lnTo>
                    <a:pt x="377" y="139"/>
                  </a:lnTo>
                  <a:lnTo>
                    <a:pt x="399" y="154"/>
                  </a:lnTo>
                  <a:lnTo>
                    <a:pt x="420" y="164"/>
                  </a:lnTo>
                  <a:lnTo>
                    <a:pt x="445" y="168"/>
                  </a:lnTo>
                  <a:lnTo>
                    <a:pt x="467" y="168"/>
                  </a:lnTo>
                  <a:lnTo>
                    <a:pt x="477" y="164"/>
                  </a:lnTo>
                  <a:lnTo>
                    <a:pt x="484" y="157"/>
                  </a:lnTo>
                  <a:lnTo>
                    <a:pt x="488" y="150"/>
                  </a:lnTo>
                  <a:lnTo>
                    <a:pt x="492" y="139"/>
                  </a:lnTo>
                  <a:lnTo>
                    <a:pt x="492" y="129"/>
                  </a:lnTo>
                  <a:lnTo>
                    <a:pt x="488" y="114"/>
                  </a:lnTo>
                  <a:lnTo>
                    <a:pt x="484" y="107"/>
                  </a:lnTo>
                  <a:lnTo>
                    <a:pt x="481" y="89"/>
                  </a:lnTo>
                  <a:lnTo>
                    <a:pt x="481" y="68"/>
                  </a:lnTo>
                  <a:lnTo>
                    <a:pt x="484" y="54"/>
                  </a:lnTo>
                  <a:lnTo>
                    <a:pt x="488" y="43"/>
                  </a:lnTo>
                  <a:lnTo>
                    <a:pt x="495" y="32"/>
                  </a:lnTo>
                  <a:lnTo>
                    <a:pt x="499" y="22"/>
                  </a:lnTo>
                  <a:lnTo>
                    <a:pt x="499" y="15"/>
                  </a:lnTo>
                  <a:lnTo>
                    <a:pt x="499" y="11"/>
                  </a:lnTo>
                  <a:lnTo>
                    <a:pt x="492" y="4"/>
                  </a:lnTo>
                  <a:lnTo>
                    <a:pt x="488" y="0"/>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6" name="Freeform 22"/>
            <p:cNvSpPr>
              <a:spLocks/>
            </p:cNvSpPr>
            <p:nvPr/>
          </p:nvSpPr>
          <p:spPr bwMode="auto">
            <a:xfrm>
              <a:off x="3429" y="2638"/>
              <a:ext cx="97" cy="421"/>
            </a:xfrm>
            <a:custGeom>
              <a:avLst/>
              <a:gdLst>
                <a:gd name="T0" fmla="*/ 29 w 97"/>
                <a:gd name="T1" fmla="*/ 421 h 421"/>
                <a:gd name="T2" fmla="*/ 29 w 97"/>
                <a:gd name="T3" fmla="*/ 421 h 421"/>
                <a:gd name="T4" fmla="*/ 47 w 97"/>
                <a:gd name="T5" fmla="*/ 399 h 421"/>
                <a:gd name="T6" fmla="*/ 65 w 97"/>
                <a:gd name="T7" fmla="*/ 385 h 421"/>
                <a:gd name="T8" fmla="*/ 79 w 97"/>
                <a:gd name="T9" fmla="*/ 374 h 421"/>
                <a:gd name="T10" fmla="*/ 79 w 97"/>
                <a:gd name="T11" fmla="*/ 374 h 421"/>
                <a:gd name="T12" fmla="*/ 86 w 97"/>
                <a:gd name="T13" fmla="*/ 371 h 421"/>
                <a:gd name="T14" fmla="*/ 90 w 97"/>
                <a:gd name="T15" fmla="*/ 360 h 421"/>
                <a:gd name="T16" fmla="*/ 93 w 97"/>
                <a:gd name="T17" fmla="*/ 349 h 421"/>
                <a:gd name="T18" fmla="*/ 97 w 97"/>
                <a:gd name="T19" fmla="*/ 335 h 421"/>
                <a:gd name="T20" fmla="*/ 97 w 97"/>
                <a:gd name="T21" fmla="*/ 317 h 421"/>
                <a:gd name="T22" fmla="*/ 93 w 97"/>
                <a:gd name="T23" fmla="*/ 303 h 421"/>
                <a:gd name="T24" fmla="*/ 86 w 97"/>
                <a:gd name="T25" fmla="*/ 289 h 421"/>
                <a:gd name="T26" fmla="*/ 75 w 97"/>
                <a:gd name="T27" fmla="*/ 274 h 421"/>
                <a:gd name="T28" fmla="*/ 75 w 97"/>
                <a:gd name="T29" fmla="*/ 274 h 421"/>
                <a:gd name="T30" fmla="*/ 57 w 97"/>
                <a:gd name="T31" fmla="*/ 249 h 421"/>
                <a:gd name="T32" fmla="*/ 40 w 97"/>
                <a:gd name="T33" fmla="*/ 224 h 421"/>
                <a:gd name="T34" fmla="*/ 25 w 97"/>
                <a:gd name="T35" fmla="*/ 200 h 421"/>
                <a:gd name="T36" fmla="*/ 25 w 97"/>
                <a:gd name="T37" fmla="*/ 200 h 421"/>
                <a:gd name="T38" fmla="*/ 22 w 97"/>
                <a:gd name="T39" fmla="*/ 157 h 421"/>
                <a:gd name="T40" fmla="*/ 22 w 97"/>
                <a:gd name="T41" fmla="*/ 118 h 421"/>
                <a:gd name="T42" fmla="*/ 22 w 97"/>
                <a:gd name="T43" fmla="*/ 78 h 421"/>
                <a:gd name="T44" fmla="*/ 22 w 97"/>
                <a:gd name="T45" fmla="*/ 78 h 421"/>
                <a:gd name="T46" fmla="*/ 22 w 97"/>
                <a:gd name="T47" fmla="*/ 61 h 421"/>
                <a:gd name="T48" fmla="*/ 22 w 97"/>
                <a:gd name="T49" fmla="*/ 46 h 421"/>
                <a:gd name="T50" fmla="*/ 15 w 97"/>
                <a:gd name="T51" fmla="*/ 21 h 421"/>
                <a:gd name="T52" fmla="*/ 4 w 97"/>
                <a:gd name="T53" fmla="*/ 3 h 421"/>
                <a:gd name="T54" fmla="*/ 0 w 97"/>
                <a:gd name="T55" fmla="*/ 0 h 42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97"/>
                <a:gd name="T85" fmla="*/ 0 h 421"/>
                <a:gd name="T86" fmla="*/ 97 w 97"/>
                <a:gd name="T87" fmla="*/ 421 h 421"/>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97" h="421">
                  <a:moveTo>
                    <a:pt x="29" y="421"/>
                  </a:moveTo>
                  <a:lnTo>
                    <a:pt x="29" y="421"/>
                  </a:lnTo>
                  <a:lnTo>
                    <a:pt x="47" y="399"/>
                  </a:lnTo>
                  <a:lnTo>
                    <a:pt x="65" y="385"/>
                  </a:lnTo>
                  <a:lnTo>
                    <a:pt x="79" y="374"/>
                  </a:lnTo>
                  <a:lnTo>
                    <a:pt x="86" y="371"/>
                  </a:lnTo>
                  <a:lnTo>
                    <a:pt x="90" y="360"/>
                  </a:lnTo>
                  <a:lnTo>
                    <a:pt x="93" y="349"/>
                  </a:lnTo>
                  <a:lnTo>
                    <a:pt x="97" y="335"/>
                  </a:lnTo>
                  <a:lnTo>
                    <a:pt x="97" y="317"/>
                  </a:lnTo>
                  <a:lnTo>
                    <a:pt x="93" y="303"/>
                  </a:lnTo>
                  <a:lnTo>
                    <a:pt x="86" y="289"/>
                  </a:lnTo>
                  <a:lnTo>
                    <a:pt x="75" y="274"/>
                  </a:lnTo>
                  <a:lnTo>
                    <a:pt x="57" y="249"/>
                  </a:lnTo>
                  <a:lnTo>
                    <a:pt x="40" y="224"/>
                  </a:lnTo>
                  <a:lnTo>
                    <a:pt x="25" y="200"/>
                  </a:lnTo>
                  <a:lnTo>
                    <a:pt x="22" y="157"/>
                  </a:lnTo>
                  <a:lnTo>
                    <a:pt x="22" y="118"/>
                  </a:lnTo>
                  <a:lnTo>
                    <a:pt x="22" y="78"/>
                  </a:lnTo>
                  <a:lnTo>
                    <a:pt x="22" y="61"/>
                  </a:lnTo>
                  <a:lnTo>
                    <a:pt x="22" y="46"/>
                  </a:lnTo>
                  <a:lnTo>
                    <a:pt x="15" y="21"/>
                  </a:lnTo>
                  <a:lnTo>
                    <a:pt x="4" y="3"/>
                  </a:lnTo>
                  <a:lnTo>
                    <a:pt x="0" y="0"/>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7" name="Freeform 23"/>
            <p:cNvSpPr>
              <a:spLocks/>
            </p:cNvSpPr>
            <p:nvPr/>
          </p:nvSpPr>
          <p:spPr bwMode="auto">
            <a:xfrm>
              <a:off x="2781" y="2495"/>
              <a:ext cx="745" cy="706"/>
            </a:xfrm>
            <a:custGeom>
              <a:avLst/>
              <a:gdLst>
                <a:gd name="T0" fmla="*/ 705 w 745"/>
                <a:gd name="T1" fmla="*/ 392 h 706"/>
                <a:gd name="T2" fmla="*/ 673 w 745"/>
                <a:gd name="T3" fmla="*/ 339 h 706"/>
                <a:gd name="T4" fmla="*/ 673 w 745"/>
                <a:gd name="T5" fmla="*/ 221 h 706"/>
                <a:gd name="T6" fmla="*/ 670 w 745"/>
                <a:gd name="T7" fmla="*/ 186 h 706"/>
                <a:gd name="T8" fmla="*/ 652 w 745"/>
                <a:gd name="T9" fmla="*/ 143 h 706"/>
                <a:gd name="T10" fmla="*/ 623 w 745"/>
                <a:gd name="T11" fmla="*/ 139 h 706"/>
                <a:gd name="T12" fmla="*/ 563 w 745"/>
                <a:gd name="T13" fmla="*/ 107 h 706"/>
                <a:gd name="T14" fmla="*/ 545 w 745"/>
                <a:gd name="T15" fmla="*/ 79 h 706"/>
                <a:gd name="T16" fmla="*/ 517 w 745"/>
                <a:gd name="T17" fmla="*/ 68 h 706"/>
                <a:gd name="T18" fmla="*/ 495 w 745"/>
                <a:gd name="T19" fmla="*/ 79 h 706"/>
                <a:gd name="T20" fmla="*/ 452 w 745"/>
                <a:gd name="T21" fmla="*/ 104 h 706"/>
                <a:gd name="T22" fmla="*/ 435 w 745"/>
                <a:gd name="T23" fmla="*/ 97 h 706"/>
                <a:gd name="T24" fmla="*/ 435 w 745"/>
                <a:gd name="T25" fmla="*/ 64 h 706"/>
                <a:gd name="T26" fmla="*/ 413 w 745"/>
                <a:gd name="T27" fmla="*/ 18 h 706"/>
                <a:gd name="T28" fmla="*/ 406 w 745"/>
                <a:gd name="T29" fmla="*/ 7 h 706"/>
                <a:gd name="T30" fmla="*/ 367 w 745"/>
                <a:gd name="T31" fmla="*/ 0 h 706"/>
                <a:gd name="T32" fmla="*/ 221 w 745"/>
                <a:gd name="T33" fmla="*/ 32 h 706"/>
                <a:gd name="T34" fmla="*/ 192 w 745"/>
                <a:gd name="T35" fmla="*/ 57 h 706"/>
                <a:gd name="T36" fmla="*/ 156 w 745"/>
                <a:gd name="T37" fmla="*/ 157 h 706"/>
                <a:gd name="T38" fmla="*/ 146 w 745"/>
                <a:gd name="T39" fmla="*/ 236 h 706"/>
                <a:gd name="T40" fmla="*/ 124 w 745"/>
                <a:gd name="T41" fmla="*/ 253 h 706"/>
                <a:gd name="T42" fmla="*/ 92 w 745"/>
                <a:gd name="T43" fmla="*/ 246 h 706"/>
                <a:gd name="T44" fmla="*/ 46 w 745"/>
                <a:gd name="T45" fmla="*/ 253 h 706"/>
                <a:gd name="T46" fmla="*/ 35 w 745"/>
                <a:gd name="T47" fmla="*/ 293 h 706"/>
                <a:gd name="T48" fmla="*/ 32 w 745"/>
                <a:gd name="T49" fmla="*/ 321 h 706"/>
                <a:gd name="T50" fmla="*/ 7 w 745"/>
                <a:gd name="T51" fmla="*/ 360 h 706"/>
                <a:gd name="T52" fmla="*/ 21 w 745"/>
                <a:gd name="T53" fmla="*/ 385 h 706"/>
                <a:gd name="T54" fmla="*/ 32 w 745"/>
                <a:gd name="T55" fmla="*/ 400 h 706"/>
                <a:gd name="T56" fmla="*/ 53 w 745"/>
                <a:gd name="T57" fmla="*/ 414 h 706"/>
                <a:gd name="T58" fmla="*/ 82 w 745"/>
                <a:gd name="T59" fmla="*/ 400 h 706"/>
                <a:gd name="T60" fmla="*/ 78 w 745"/>
                <a:gd name="T61" fmla="*/ 371 h 706"/>
                <a:gd name="T62" fmla="*/ 92 w 745"/>
                <a:gd name="T63" fmla="*/ 339 h 706"/>
                <a:gd name="T64" fmla="*/ 124 w 745"/>
                <a:gd name="T65" fmla="*/ 332 h 706"/>
                <a:gd name="T66" fmla="*/ 160 w 745"/>
                <a:gd name="T67" fmla="*/ 339 h 706"/>
                <a:gd name="T68" fmla="*/ 256 w 745"/>
                <a:gd name="T69" fmla="*/ 318 h 706"/>
                <a:gd name="T70" fmla="*/ 292 w 745"/>
                <a:gd name="T71" fmla="*/ 310 h 706"/>
                <a:gd name="T72" fmla="*/ 356 w 745"/>
                <a:gd name="T73" fmla="*/ 314 h 706"/>
                <a:gd name="T74" fmla="*/ 360 w 745"/>
                <a:gd name="T75" fmla="*/ 328 h 706"/>
                <a:gd name="T76" fmla="*/ 324 w 745"/>
                <a:gd name="T77" fmla="*/ 357 h 706"/>
                <a:gd name="T78" fmla="*/ 292 w 745"/>
                <a:gd name="T79" fmla="*/ 389 h 706"/>
                <a:gd name="T80" fmla="*/ 292 w 745"/>
                <a:gd name="T81" fmla="*/ 421 h 706"/>
                <a:gd name="T82" fmla="*/ 335 w 745"/>
                <a:gd name="T83" fmla="*/ 467 h 706"/>
                <a:gd name="T84" fmla="*/ 367 w 745"/>
                <a:gd name="T85" fmla="*/ 489 h 706"/>
                <a:gd name="T86" fmla="*/ 399 w 745"/>
                <a:gd name="T87" fmla="*/ 531 h 706"/>
                <a:gd name="T88" fmla="*/ 399 w 745"/>
                <a:gd name="T89" fmla="*/ 560 h 706"/>
                <a:gd name="T90" fmla="*/ 367 w 745"/>
                <a:gd name="T91" fmla="*/ 592 h 706"/>
                <a:gd name="T92" fmla="*/ 349 w 745"/>
                <a:gd name="T93" fmla="*/ 599 h 706"/>
                <a:gd name="T94" fmla="*/ 349 w 745"/>
                <a:gd name="T95" fmla="*/ 624 h 706"/>
                <a:gd name="T96" fmla="*/ 399 w 745"/>
                <a:gd name="T97" fmla="*/ 670 h 706"/>
                <a:gd name="T98" fmla="*/ 463 w 745"/>
                <a:gd name="T99" fmla="*/ 703 h 706"/>
                <a:gd name="T100" fmla="*/ 506 w 745"/>
                <a:gd name="T101" fmla="*/ 699 h 706"/>
                <a:gd name="T102" fmla="*/ 595 w 745"/>
                <a:gd name="T103" fmla="*/ 670 h 706"/>
                <a:gd name="T104" fmla="*/ 602 w 745"/>
                <a:gd name="T105" fmla="*/ 631 h 706"/>
                <a:gd name="T106" fmla="*/ 634 w 745"/>
                <a:gd name="T107" fmla="*/ 571 h 706"/>
                <a:gd name="T108" fmla="*/ 666 w 745"/>
                <a:gd name="T109" fmla="*/ 560 h 706"/>
                <a:gd name="T110" fmla="*/ 681 w 745"/>
                <a:gd name="T111" fmla="*/ 564 h 706"/>
                <a:gd name="T112" fmla="*/ 727 w 745"/>
                <a:gd name="T113" fmla="*/ 514 h 706"/>
                <a:gd name="T114" fmla="*/ 741 w 745"/>
                <a:gd name="T115" fmla="*/ 499 h 706"/>
                <a:gd name="T116" fmla="*/ 745 w 745"/>
                <a:gd name="T117" fmla="*/ 460 h 706"/>
                <a:gd name="T118" fmla="*/ 727 w 745"/>
                <a:gd name="T119" fmla="*/ 417 h 70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745"/>
                <a:gd name="T181" fmla="*/ 0 h 706"/>
                <a:gd name="T182" fmla="*/ 745 w 745"/>
                <a:gd name="T183" fmla="*/ 706 h 70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745" h="706">
                  <a:moveTo>
                    <a:pt x="727" y="417"/>
                  </a:moveTo>
                  <a:lnTo>
                    <a:pt x="727" y="417"/>
                  </a:lnTo>
                  <a:lnTo>
                    <a:pt x="705" y="392"/>
                  </a:lnTo>
                  <a:lnTo>
                    <a:pt x="688" y="367"/>
                  </a:lnTo>
                  <a:lnTo>
                    <a:pt x="673" y="339"/>
                  </a:lnTo>
                  <a:lnTo>
                    <a:pt x="670" y="296"/>
                  </a:lnTo>
                  <a:lnTo>
                    <a:pt x="670" y="261"/>
                  </a:lnTo>
                  <a:lnTo>
                    <a:pt x="673" y="221"/>
                  </a:lnTo>
                  <a:lnTo>
                    <a:pt x="673" y="204"/>
                  </a:lnTo>
                  <a:lnTo>
                    <a:pt x="670" y="186"/>
                  </a:lnTo>
                  <a:lnTo>
                    <a:pt x="663" y="161"/>
                  </a:lnTo>
                  <a:lnTo>
                    <a:pt x="656" y="146"/>
                  </a:lnTo>
                  <a:lnTo>
                    <a:pt x="652" y="143"/>
                  </a:lnTo>
                  <a:lnTo>
                    <a:pt x="638" y="143"/>
                  </a:lnTo>
                  <a:lnTo>
                    <a:pt x="623" y="139"/>
                  </a:lnTo>
                  <a:lnTo>
                    <a:pt x="595" y="132"/>
                  </a:lnTo>
                  <a:lnTo>
                    <a:pt x="570" y="114"/>
                  </a:lnTo>
                  <a:lnTo>
                    <a:pt x="563" y="107"/>
                  </a:lnTo>
                  <a:lnTo>
                    <a:pt x="556" y="97"/>
                  </a:lnTo>
                  <a:lnTo>
                    <a:pt x="545" y="79"/>
                  </a:lnTo>
                  <a:lnTo>
                    <a:pt x="534" y="72"/>
                  </a:lnTo>
                  <a:lnTo>
                    <a:pt x="527" y="68"/>
                  </a:lnTo>
                  <a:lnTo>
                    <a:pt x="517" y="68"/>
                  </a:lnTo>
                  <a:lnTo>
                    <a:pt x="502" y="72"/>
                  </a:lnTo>
                  <a:lnTo>
                    <a:pt x="495" y="79"/>
                  </a:lnTo>
                  <a:lnTo>
                    <a:pt x="484" y="86"/>
                  </a:lnTo>
                  <a:lnTo>
                    <a:pt x="463" y="100"/>
                  </a:lnTo>
                  <a:lnTo>
                    <a:pt x="452" y="104"/>
                  </a:lnTo>
                  <a:lnTo>
                    <a:pt x="442" y="104"/>
                  </a:lnTo>
                  <a:lnTo>
                    <a:pt x="438" y="100"/>
                  </a:lnTo>
                  <a:lnTo>
                    <a:pt x="435" y="97"/>
                  </a:lnTo>
                  <a:lnTo>
                    <a:pt x="435" y="82"/>
                  </a:lnTo>
                  <a:lnTo>
                    <a:pt x="435" y="64"/>
                  </a:lnTo>
                  <a:lnTo>
                    <a:pt x="431" y="50"/>
                  </a:lnTo>
                  <a:lnTo>
                    <a:pt x="424" y="29"/>
                  </a:lnTo>
                  <a:lnTo>
                    <a:pt x="413" y="18"/>
                  </a:lnTo>
                  <a:lnTo>
                    <a:pt x="410" y="15"/>
                  </a:lnTo>
                  <a:lnTo>
                    <a:pt x="406" y="7"/>
                  </a:lnTo>
                  <a:lnTo>
                    <a:pt x="395" y="4"/>
                  </a:lnTo>
                  <a:lnTo>
                    <a:pt x="385" y="0"/>
                  </a:lnTo>
                  <a:lnTo>
                    <a:pt x="367" y="0"/>
                  </a:lnTo>
                  <a:lnTo>
                    <a:pt x="331" y="4"/>
                  </a:lnTo>
                  <a:lnTo>
                    <a:pt x="292" y="11"/>
                  </a:lnTo>
                  <a:lnTo>
                    <a:pt x="221" y="32"/>
                  </a:lnTo>
                  <a:lnTo>
                    <a:pt x="189" y="43"/>
                  </a:lnTo>
                  <a:lnTo>
                    <a:pt x="192" y="57"/>
                  </a:lnTo>
                  <a:lnTo>
                    <a:pt x="192" y="72"/>
                  </a:lnTo>
                  <a:lnTo>
                    <a:pt x="189" y="82"/>
                  </a:lnTo>
                  <a:lnTo>
                    <a:pt x="156" y="157"/>
                  </a:lnTo>
                  <a:lnTo>
                    <a:pt x="142" y="228"/>
                  </a:lnTo>
                  <a:lnTo>
                    <a:pt x="146" y="236"/>
                  </a:lnTo>
                  <a:lnTo>
                    <a:pt x="146" y="239"/>
                  </a:lnTo>
                  <a:lnTo>
                    <a:pt x="139" y="246"/>
                  </a:lnTo>
                  <a:lnTo>
                    <a:pt x="124" y="253"/>
                  </a:lnTo>
                  <a:lnTo>
                    <a:pt x="110" y="250"/>
                  </a:lnTo>
                  <a:lnTo>
                    <a:pt x="92" y="246"/>
                  </a:lnTo>
                  <a:lnTo>
                    <a:pt x="78" y="246"/>
                  </a:lnTo>
                  <a:lnTo>
                    <a:pt x="60" y="250"/>
                  </a:lnTo>
                  <a:lnTo>
                    <a:pt x="46" y="253"/>
                  </a:lnTo>
                  <a:lnTo>
                    <a:pt x="39" y="264"/>
                  </a:lnTo>
                  <a:lnTo>
                    <a:pt x="32" y="275"/>
                  </a:lnTo>
                  <a:lnTo>
                    <a:pt x="35" y="293"/>
                  </a:lnTo>
                  <a:lnTo>
                    <a:pt x="35" y="307"/>
                  </a:lnTo>
                  <a:lnTo>
                    <a:pt x="32" y="321"/>
                  </a:lnTo>
                  <a:lnTo>
                    <a:pt x="28" y="332"/>
                  </a:lnTo>
                  <a:lnTo>
                    <a:pt x="21" y="343"/>
                  </a:lnTo>
                  <a:lnTo>
                    <a:pt x="7" y="360"/>
                  </a:lnTo>
                  <a:lnTo>
                    <a:pt x="0" y="367"/>
                  </a:lnTo>
                  <a:lnTo>
                    <a:pt x="21" y="385"/>
                  </a:lnTo>
                  <a:lnTo>
                    <a:pt x="28" y="392"/>
                  </a:lnTo>
                  <a:lnTo>
                    <a:pt x="32" y="400"/>
                  </a:lnTo>
                  <a:lnTo>
                    <a:pt x="39" y="410"/>
                  </a:lnTo>
                  <a:lnTo>
                    <a:pt x="46" y="414"/>
                  </a:lnTo>
                  <a:lnTo>
                    <a:pt x="53" y="414"/>
                  </a:lnTo>
                  <a:lnTo>
                    <a:pt x="64" y="407"/>
                  </a:lnTo>
                  <a:lnTo>
                    <a:pt x="78" y="400"/>
                  </a:lnTo>
                  <a:lnTo>
                    <a:pt x="82" y="400"/>
                  </a:lnTo>
                  <a:lnTo>
                    <a:pt x="78" y="385"/>
                  </a:lnTo>
                  <a:lnTo>
                    <a:pt x="78" y="371"/>
                  </a:lnTo>
                  <a:lnTo>
                    <a:pt x="82" y="357"/>
                  </a:lnTo>
                  <a:lnTo>
                    <a:pt x="85" y="346"/>
                  </a:lnTo>
                  <a:lnTo>
                    <a:pt x="92" y="339"/>
                  </a:lnTo>
                  <a:lnTo>
                    <a:pt x="99" y="332"/>
                  </a:lnTo>
                  <a:lnTo>
                    <a:pt x="110" y="332"/>
                  </a:lnTo>
                  <a:lnTo>
                    <a:pt x="124" y="332"/>
                  </a:lnTo>
                  <a:lnTo>
                    <a:pt x="142" y="339"/>
                  </a:lnTo>
                  <a:lnTo>
                    <a:pt x="160" y="339"/>
                  </a:lnTo>
                  <a:lnTo>
                    <a:pt x="196" y="335"/>
                  </a:lnTo>
                  <a:lnTo>
                    <a:pt x="228" y="325"/>
                  </a:lnTo>
                  <a:lnTo>
                    <a:pt x="256" y="318"/>
                  </a:lnTo>
                  <a:lnTo>
                    <a:pt x="271" y="310"/>
                  </a:lnTo>
                  <a:lnTo>
                    <a:pt x="292" y="310"/>
                  </a:lnTo>
                  <a:lnTo>
                    <a:pt x="317" y="307"/>
                  </a:lnTo>
                  <a:lnTo>
                    <a:pt x="338" y="310"/>
                  </a:lnTo>
                  <a:lnTo>
                    <a:pt x="356" y="314"/>
                  </a:lnTo>
                  <a:lnTo>
                    <a:pt x="360" y="318"/>
                  </a:lnTo>
                  <a:lnTo>
                    <a:pt x="360" y="321"/>
                  </a:lnTo>
                  <a:lnTo>
                    <a:pt x="360" y="328"/>
                  </a:lnTo>
                  <a:lnTo>
                    <a:pt x="353" y="339"/>
                  </a:lnTo>
                  <a:lnTo>
                    <a:pt x="324" y="357"/>
                  </a:lnTo>
                  <a:lnTo>
                    <a:pt x="310" y="367"/>
                  </a:lnTo>
                  <a:lnTo>
                    <a:pt x="299" y="378"/>
                  </a:lnTo>
                  <a:lnTo>
                    <a:pt x="292" y="389"/>
                  </a:lnTo>
                  <a:lnTo>
                    <a:pt x="292" y="400"/>
                  </a:lnTo>
                  <a:lnTo>
                    <a:pt x="292" y="410"/>
                  </a:lnTo>
                  <a:lnTo>
                    <a:pt x="292" y="421"/>
                  </a:lnTo>
                  <a:lnTo>
                    <a:pt x="303" y="439"/>
                  </a:lnTo>
                  <a:lnTo>
                    <a:pt x="320" y="457"/>
                  </a:lnTo>
                  <a:lnTo>
                    <a:pt x="335" y="467"/>
                  </a:lnTo>
                  <a:lnTo>
                    <a:pt x="349" y="478"/>
                  </a:lnTo>
                  <a:lnTo>
                    <a:pt x="367" y="489"/>
                  </a:lnTo>
                  <a:lnTo>
                    <a:pt x="377" y="499"/>
                  </a:lnTo>
                  <a:lnTo>
                    <a:pt x="392" y="514"/>
                  </a:lnTo>
                  <a:lnTo>
                    <a:pt x="399" y="531"/>
                  </a:lnTo>
                  <a:lnTo>
                    <a:pt x="402" y="542"/>
                  </a:lnTo>
                  <a:lnTo>
                    <a:pt x="402" y="549"/>
                  </a:lnTo>
                  <a:lnTo>
                    <a:pt x="399" y="560"/>
                  </a:lnTo>
                  <a:lnTo>
                    <a:pt x="392" y="571"/>
                  </a:lnTo>
                  <a:lnTo>
                    <a:pt x="381" y="581"/>
                  </a:lnTo>
                  <a:lnTo>
                    <a:pt x="367" y="592"/>
                  </a:lnTo>
                  <a:lnTo>
                    <a:pt x="360" y="592"/>
                  </a:lnTo>
                  <a:lnTo>
                    <a:pt x="349" y="599"/>
                  </a:lnTo>
                  <a:lnTo>
                    <a:pt x="345" y="603"/>
                  </a:lnTo>
                  <a:lnTo>
                    <a:pt x="345" y="613"/>
                  </a:lnTo>
                  <a:lnTo>
                    <a:pt x="349" y="624"/>
                  </a:lnTo>
                  <a:lnTo>
                    <a:pt x="363" y="638"/>
                  </a:lnTo>
                  <a:lnTo>
                    <a:pt x="399" y="670"/>
                  </a:lnTo>
                  <a:lnTo>
                    <a:pt x="420" y="685"/>
                  </a:lnTo>
                  <a:lnTo>
                    <a:pt x="442" y="695"/>
                  </a:lnTo>
                  <a:lnTo>
                    <a:pt x="463" y="703"/>
                  </a:lnTo>
                  <a:lnTo>
                    <a:pt x="484" y="706"/>
                  </a:lnTo>
                  <a:lnTo>
                    <a:pt x="495" y="703"/>
                  </a:lnTo>
                  <a:lnTo>
                    <a:pt x="506" y="699"/>
                  </a:lnTo>
                  <a:lnTo>
                    <a:pt x="513" y="692"/>
                  </a:lnTo>
                  <a:lnTo>
                    <a:pt x="524" y="681"/>
                  </a:lnTo>
                  <a:lnTo>
                    <a:pt x="595" y="670"/>
                  </a:lnTo>
                  <a:lnTo>
                    <a:pt x="599" y="649"/>
                  </a:lnTo>
                  <a:lnTo>
                    <a:pt x="602" y="631"/>
                  </a:lnTo>
                  <a:lnTo>
                    <a:pt x="609" y="606"/>
                  </a:lnTo>
                  <a:lnTo>
                    <a:pt x="620" y="585"/>
                  </a:lnTo>
                  <a:lnTo>
                    <a:pt x="634" y="571"/>
                  </a:lnTo>
                  <a:lnTo>
                    <a:pt x="645" y="564"/>
                  </a:lnTo>
                  <a:lnTo>
                    <a:pt x="656" y="560"/>
                  </a:lnTo>
                  <a:lnTo>
                    <a:pt x="666" y="560"/>
                  </a:lnTo>
                  <a:lnTo>
                    <a:pt x="681" y="564"/>
                  </a:lnTo>
                  <a:lnTo>
                    <a:pt x="698" y="542"/>
                  </a:lnTo>
                  <a:lnTo>
                    <a:pt x="713" y="524"/>
                  </a:lnTo>
                  <a:lnTo>
                    <a:pt x="727" y="514"/>
                  </a:lnTo>
                  <a:lnTo>
                    <a:pt x="734" y="510"/>
                  </a:lnTo>
                  <a:lnTo>
                    <a:pt x="741" y="499"/>
                  </a:lnTo>
                  <a:lnTo>
                    <a:pt x="745" y="489"/>
                  </a:lnTo>
                  <a:lnTo>
                    <a:pt x="745" y="474"/>
                  </a:lnTo>
                  <a:lnTo>
                    <a:pt x="745" y="460"/>
                  </a:lnTo>
                  <a:lnTo>
                    <a:pt x="741" y="446"/>
                  </a:lnTo>
                  <a:lnTo>
                    <a:pt x="734" y="428"/>
                  </a:lnTo>
                  <a:lnTo>
                    <a:pt x="727" y="417"/>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8" name="Freeform 24"/>
            <p:cNvSpPr>
              <a:spLocks/>
            </p:cNvSpPr>
            <p:nvPr/>
          </p:nvSpPr>
          <p:spPr bwMode="auto">
            <a:xfrm>
              <a:off x="2973" y="2321"/>
              <a:ext cx="574" cy="153"/>
            </a:xfrm>
            <a:custGeom>
              <a:avLst/>
              <a:gdLst>
                <a:gd name="T0" fmla="*/ 0 w 574"/>
                <a:gd name="T1" fmla="*/ 25 h 153"/>
                <a:gd name="T2" fmla="*/ 104 w 574"/>
                <a:gd name="T3" fmla="*/ 0 h 153"/>
                <a:gd name="T4" fmla="*/ 104 w 574"/>
                <a:gd name="T5" fmla="*/ 0 h 153"/>
                <a:gd name="T6" fmla="*/ 157 w 574"/>
                <a:gd name="T7" fmla="*/ 46 h 153"/>
                <a:gd name="T8" fmla="*/ 196 w 574"/>
                <a:gd name="T9" fmla="*/ 78 h 153"/>
                <a:gd name="T10" fmla="*/ 210 w 574"/>
                <a:gd name="T11" fmla="*/ 89 h 153"/>
                <a:gd name="T12" fmla="*/ 221 w 574"/>
                <a:gd name="T13" fmla="*/ 92 h 153"/>
                <a:gd name="T14" fmla="*/ 221 w 574"/>
                <a:gd name="T15" fmla="*/ 92 h 153"/>
                <a:gd name="T16" fmla="*/ 235 w 574"/>
                <a:gd name="T17" fmla="*/ 89 h 153"/>
                <a:gd name="T18" fmla="*/ 250 w 574"/>
                <a:gd name="T19" fmla="*/ 78 h 153"/>
                <a:gd name="T20" fmla="*/ 267 w 574"/>
                <a:gd name="T21" fmla="*/ 64 h 153"/>
                <a:gd name="T22" fmla="*/ 267 w 574"/>
                <a:gd name="T23" fmla="*/ 64 h 153"/>
                <a:gd name="T24" fmla="*/ 292 w 574"/>
                <a:gd name="T25" fmla="*/ 57 h 153"/>
                <a:gd name="T26" fmla="*/ 314 w 574"/>
                <a:gd name="T27" fmla="*/ 57 h 153"/>
                <a:gd name="T28" fmla="*/ 321 w 574"/>
                <a:gd name="T29" fmla="*/ 57 h 153"/>
                <a:gd name="T30" fmla="*/ 332 w 574"/>
                <a:gd name="T31" fmla="*/ 60 h 153"/>
                <a:gd name="T32" fmla="*/ 332 w 574"/>
                <a:gd name="T33" fmla="*/ 60 h 153"/>
                <a:gd name="T34" fmla="*/ 339 w 574"/>
                <a:gd name="T35" fmla="*/ 64 h 153"/>
                <a:gd name="T36" fmla="*/ 349 w 574"/>
                <a:gd name="T37" fmla="*/ 64 h 153"/>
                <a:gd name="T38" fmla="*/ 371 w 574"/>
                <a:gd name="T39" fmla="*/ 64 h 153"/>
                <a:gd name="T40" fmla="*/ 382 w 574"/>
                <a:gd name="T41" fmla="*/ 67 h 153"/>
                <a:gd name="T42" fmla="*/ 389 w 574"/>
                <a:gd name="T43" fmla="*/ 71 h 153"/>
                <a:gd name="T44" fmla="*/ 396 w 574"/>
                <a:gd name="T45" fmla="*/ 78 h 153"/>
                <a:gd name="T46" fmla="*/ 399 w 574"/>
                <a:gd name="T47" fmla="*/ 92 h 153"/>
                <a:gd name="T48" fmla="*/ 399 w 574"/>
                <a:gd name="T49" fmla="*/ 92 h 153"/>
                <a:gd name="T50" fmla="*/ 403 w 574"/>
                <a:gd name="T51" fmla="*/ 110 h 153"/>
                <a:gd name="T52" fmla="*/ 414 w 574"/>
                <a:gd name="T53" fmla="*/ 124 h 153"/>
                <a:gd name="T54" fmla="*/ 428 w 574"/>
                <a:gd name="T55" fmla="*/ 139 h 153"/>
                <a:gd name="T56" fmla="*/ 446 w 574"/>
                <a:gd name="T57" fmla="*/ 149 h 153"/>
                <a:gd name="T58" fmla="*/ 471 w 574"/>
                <a:gd name="T59" fmla="*/ 153 h 153"/>
                <a:gd name="T60" fmla="*/ 499 w 574"/>
                <a:gd name="T61" fmla="*/ 149 h 153"/>
                <a:gd name="T62" fmla="*/ 535 w 574"/>
                <a:gd name="T63" fmla="*/ 135 h 153"/>
                <a:gd name="T64" fmla="*/ 574 w 574"/>
                <a:gd name="T65" fmla="*/ 114 h 153"/>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74"/>
                <a:gd name="T100" fmla="*/ 0 h 153"/>
                <a:gd name="T101" fmla="*/ 574 w 574"/>
                <a:gd name="T102" fmla="*/ 153 h 153"/>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74" h="153">
                  <a:moveTo>
                    <a:pt x="0" y="25"/>
                  </a:moveTo>
                  <a:lnTo>
                    <a:pt x="104" y="0"/>
                  </a:lnTo>
                  <a:lnTo>
                    <a:pt x="157" y="46"/>
                  </a:lnTo>
                  <a:lnTo>
                    <a:pt x="196" y="78"/>
                  </a:lnTo>
                  <a:lnTo>
                    <a:pt x="210" y="89"/>
                  </a:lnTo>
                  <a:lnTo>
                    <a:pt x="221" y="92"/>
                  </a:lnTo>
                  <a:lnTo>
                    <a:pt x="235" y="89"/>
                  </a:lnTo>
                  <a:lnTo>
                    <a:pt x="250" y="78"/>
                  </a:lnTo>
                  <a:lnTo>
                    <a:pt x="267" y="64"/>
                  </a:lnTo>
                  <a:lnTo>
                    <a:pt x="292" y="57"/>
                  </a:lnTo>
                  <a:lnTo>
                    <a:pt x="314" y="57"/>
                  </a:lnTo>
                  <a:lnTo>
                    <a:pt x="321" y="57"/>
                  </a:lnTo>
                  <a:lnTo>
                    <a:pt x="332" y="60"/>
                  </a:lnTo>
                  <a:lnTo>
                    <a:pt x="339" y="64"/>
                  </a:lnTo>
                  <a:lnTo>
                    <a:pt x="349" y="64"/>
                  </a:lnTo>
                  <a:lnTo>
                    <a:pt x="371" y="64"/>
                  </a:lnTo>
                  <a:lnTo>
                    <a:pt x="382" y="67"/>
                  </a:lnTo>
                  <a:lnTo>
                    <a:pt x="389" y="71"/>
                  </a:lnTo>
                  <a:lnTo>
                    <a:pt x="396" y="78"/>
                  </a:lnTo>
                  <a:lnTo>
                    <a:pt x="399" y="92"/>
                  </a:lnTo>
                  <a:lnTo>
                    <a:pt x="403" y="110"/>
                  </a:lnTo>
                  <a:lnTo>
                    <a:pt x="414" y="124"/>
                  </a:lnTo>
                  <a:lnTo>
                    <a:pt x="428" y="139"/>
                  </a:lnTo>
                  <a:lnTo>
                    <a:pt x="446" y="149"/>
                  </a:lnTo>
                  <a:lnTo>
                    <a:pt x="471" y="153"/>
                  </a:lnTo>
                  <a:lnTo>
                    <a:pt x="499" y="149"/>
                  </a:lnTo>
                  <a:lnTo>
                    <a:pt x="535" y="135"/>
                  </a:lnTo>
                  <a:lnTo>
                    <a:pt x="574" y="114"/>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29" name="Freeform 25"/>
            <p:cNvSpPr>
              <a:spLocks/>
            </p:cNvSpPr>
            <p:nvPr/>
          </p:nvSpPr>
          <p:spPr bwMode="auto">
            <a:xfrm>
              <a:off x="3433" y="2424"/>
              <a:ext cx="567" cy="820"/>
            </a:xfrm>
            <a:custGeom>
              <a:avLst/>
              <a:gdLst>
                <a:gd name="T0" fmla="*/ 488 w 567"/>
                <a:gd name="T1" fmla="*/ 556 h 820"/>
                <a:gd name="T2" fmla="*/ 435 w 567"/>
                <a:gd name="T3" fmla="*/ 570 h 820"/>
                <a:gd name="T4" fmla="*/ 356 w 567"/>
                <a:gd name="T5" fmla="*/ 542 h 820"/>
                <a:gd name="T6" fmla="*/ 285 w 567"/>
                <a:gd name="T7" fmla="*/ 496 h 820"/>
                <a:gd name="T8" fmla="*/ 257 w 567"/>
                <a:gd name="T9" fmla="*/ 481 h 820"/>
                <a:gd name="T10" fmla="*/ 239 w 567"/>
                <a:gd name="T11" fmla="*/ 389 h 820"/>
                <a:gd name="T12" fmla="*/ 274 w 567"/>
                <a:gd name="T13" fmla="*/ 349 h 820"/>
                <a:gd name="T14" fmla="*/ 342 w 567"/>
                <a:gd name="T15" fmla="*/ 317 h 820"/>
                <a:gd name="T16" fmla="*/ 378 w 567"/>
                <a:gd name="T17" fmla="*/ 267 h 820"/>
                <a:gd name="T18" fmla="*/ 406 w 567"/>
                <a:gd name="T19" fmla="*/ 289 h 820"/>
                <a:gd name="T20" fmla="*/ 471 w 567"/>
                <a:gd name="T21" fmla="*/ 339 h 820"/>
                <a:gd name="T22" fmla="*/ 545 w 567"/>
                <a:gd name="T23" fmla="*/ 381 h 820"/>
                <a:gd name="T24" fmla="*/ 542 w 567"/>
                <a:gd name="T25" fmla="*/ 321 h 820"/>
                <a:gd name="T26" fmla="*/ 503 w 567"/>
                <a:gd name="T27" fmla="*/ 228 h 820"/>
                <a:gd name="T28" fmla="*/ 438 w 567"/>
                <a:gd name="T29" fmla="*/ 171 h 820"/>
                <a:gd name="T30" fmla="*/ 374 w 567"/>
                <a:gd name="T31" fmla="*/ 164 h 820"/>
                <a:gd name="T32" fmla="*/ 332 w 567"/>
                <a:gd name="T33" fmla="*/ 157 h 820"/>
                <a:gd name="T34" fmla="*/ 310 w 567"/>
                <a:gd name="T35" fmla="*/ 168 h 820"/>
                <a:gd name="T36" fmla="*/ 274 w 567"/>
                <a:gd name="T37" fmla="*/ 164 h 820"/>
                <a:gd name="T38" fmla="*/ 257 w 567"/>
                <a:gd name="T39" fmla="*/ 121 h 820"/>
                <a:gd name="T40" fmla="*/ 228 w 567"/>
                <a:gd name="T41" fmla="*/ 39 h 820"/>
                <a:gd name="T42" fmla="*/ 114 w 567"/>
                <a:gd name="T43" fmla="*/ 11 h 820"/>
                <a:gd name="T44" fmla="*/ 89 w 567"/>
                <a:gd name="T45" fmla="*/ 29 h 820"/>
                <a:gd name="T46" fmla="*/ 25 w 567"/>
                <a:gd name="T47" fmla="*/ 50 h 820"/>
                <a:gd name="T48" fmla="*/ 36 w 567"/>
                <a:gd name="T49" fmla="*/ 71 h 820"/>
                <a:gd name="T50" fmla="*/ 21 w 567"/>
                <a:gd name="T51" fmla="*/ 103 h 820"/>
                <a:gd name="T52" fmla="*/ 25 w 567"/>
                <a:gd name="T53" fmla="*/ 164 h 820"/>
                <a:gd name="T54" fmla="*/ 21 w 567"/>
                <a:gd name="T55" fmla="*/ 196 h 820"/>
                <a:gd name="T56" fmla="*/ 0 w 567"/>
                <a:gd name="T57" fmla="*/ 217 h 820"/>
                <a:gd name="T58" fmla="*/ 21 w 567"/>
                <a:gd name="T59" fmla="*/ 278 h 820"/>
                <a:gd name="T60" fmla="*/ 18 w 567"/>
                <a:gd name="T61" fmla="*/ 371 h 820"/>
                <a:gd name="T62" fmla="*/ 53 w 567"/>
                <a:gd name="T63" fmla="*/ 467 h 820"/>
                <a:gd name="T64" fmla="*/ 89 w 567"/>
                <a:gd name="T65" fmla="*/ 517 h 820"/>
                <a:gd name="T66" fmla="*/ 89 w 567"/>
                <a:gd name="T67" fmla="*/ 574 h 820"/>
                <a:gd name="T68" fmla="*/ 64 w 567"/>
                <a:gd name="T69" fmla="*/ 599 h 820"/>
                <a:gd name="T70" fmla="*/ 53 w 567"/>
                <a:gd name="T71" fmla="*/ 649 h 820"/>
                <a:gd name="T72" fmla="*/ 96 w 567"/>
                <a:gd name="T73" fmla="*/ 667 h 820"/>
                <a:gd name="T74" fmla="*/ 111 w 567"/>
                <a:gd name="T75" fmla="*/ 695 h 820"/>
                <a:gd name="T76" fmla="*/ 100 w 567"/>
                <a:gd name="T77" fmla="*/ 741 h 820"/>
                <a:gd name="T78" fmla="*/ 132 w 567"/>
                <a:gd name="T79" fmla="*/ 749 h 820"/>
                <a:gd name="T80" fmla="*/ 135 w 567"/>
                <a:gd name="T81" fmla="*/ 759 h 820"/>
                <a:gd name="T82" fmla="*/ 121 w 567"/>
                <a:gd name="T83" fmla="*/ 795 h 820"/>
                <a:gd name="T84" fmla="*/ 160 w 567"/>
                <a:gd name="T85" fmla="*/ 799 h 820"/>
                <a:gd name="T86" fmla="*/ 228 w 567"/>
                <a:gd name="T87" fmla="*/ 777 h 820"/>
                <a:gd name="T88" fmla="*/ 292 w 567"/>
                <a:gd name="T89" fmla="*/ 809 h 820"/>
                <a:gd name="T90" fmla="*/ 314 w 567"/>
                <a:gd name="T91" fmla="*/ 809 h 820"/>
                <a:gd name="T92" fmla="*/ 367 w 567"/>
                <a:gd name="T93" fmla="*/ 788 h 820"/>
                <a:gd name="T94" fmla="*/ 421 w 567"/>
                <a:gd name="T95" fmla="*/ 766 h 820"/>
                <a:gd name="T96" fmla="*/ 520 w 567"/>
                <a:gd name="T97" fmla="*/ 745 h 820"/>
                <a:gd name="T98" fmla="*/ 560 w 567"/>
                <a:gd name="T99" fmla="*/ 734 h 820"/>
                <a:gd name="T100" fmla="*/ 560 w 567"/>
                <a:gd name="T101" fmla="*/ 670 h 820"/>
                <a:gd name="T102" fmla="*/ 506 w 567"/>
                <a:gd name="T103" fmla="*/ 567 h 8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67"/>
                <a:gd name="T157" fmla="*/ 0 h 820"/>
                <a:gd name="T158" fmla="*/ 567 w 567"/>
                <a:gd name="T159" fmla="*/ 820 h 8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67" h="820">
                  <a:moveTo>
                    <a:pt x="506" y="567"/>
                  </a:moveTo>
                  <a:lnTo>
                    <a:pt x="506" y="567"/>
                  </a:lnTo>
                  <a:lnTo>
                    <a:pt x="499" y="560"/>
                  </a:lnTo>
                  <a:lnTo>
                    <a:pt x="488" y="556"/>
                  </a:lnTo>
                  <a:lnTo>
                    <a:pt x="478" y="549"/>
                  </a:lnTo>
                  <a:lnTo>
                    <a:pt x="463" y="549"/>
                  </a:lnTo>
                  <a:lnTo>
                    <a:pt x="449" y="556"/>
                  </a:lnTo>
                  <a:lnTo>
                    <a:pt x="435" y="570"/>
                  </a:lnTo>
                  <a:lnTo>
                    <a:pt x="424" y="592"/>
                  </a:lnTo>
                  <a:lnTo>
                    <a:pt x="364" y="574"/>
                  </a:lnTo>
                  <a:lnTo>
                    <a:pt x="360" y="563"/>
                  </a:lnTo>
                  <a:lnTo>
                    <a:pt x="356" y="542"/>
                  </a:lnTo>
                  <a:lnTo>
                    <a:pt x="321" y="496"/>
                  </a:lnTo>
                  <a:lnTo>
                    <a:pt x="303" y="492"/>
                  </a:lnTo>
                  <a:lnTo>
                    <a:pt x="285" y="496"/>
                  </a:lnTo>
                  <a:lnTo>
                    <a:pt x="274" y="499"/>
                  </a:lnTo>
                  <a:lnTo>
                    <a:pt x="267" y="506"/>
                  </a:lnTo>
                  <a:lnTo>
                    <a:pt x="257" y="481"/>
                  </a:lnTo>
                  <a:lnTo>
                    <a:pt x="246" y="460"/>
                  </a:lnTo>
                  <a:lnTo>
                    <a:pt x="239" y="431"/>
                  </a:lnTo>
                  <a:lnTo>
                    <a:pt x="235" y="403"/>
                  </a:lnTo>
                  <a:lnTo>
                    <a:pt x="239" y="389"/>
                  </a:lnTo>
                  <a:lnTo>
                    <a:pt x="242" y="378"/>
                  </a:lnTo>
                  <a:lnTo>
                    <a:pt x="250" y="367"/>
                  </a:lnTo>
                  <a:lnTo>
                    <a:pt x="260" y="356"/>
                  </a:lnTo>
                  <a:lnTo>
                    <a:pt x="274" y="349"/>
                  </a:lnTo>
                  <a:lnTo>
                    <a:pt x="292" y="346"/>
                  </a:lnTo>
                  <a:lnTo>
                    <a:pt x="335" y="339"/>
                  </a:lnTo>
                  <a:lnTo>
                    <a:pt x="342" y="317"/>
                  </a:lnTo>
                  <a:lnTo>
                    <a:pt x="349" y="299"/>
                  </a:lnTo>
                  <a:lnTo>
                    <a:pt x="360" y="282"/>
                  </a:lnTo>
                  <a:lnTo>
                    <a:pt x="371" y="271"/>
                  </a:lnTo>
                  <a:lnTo>
                    <a:pt x="378" y="267"/>
                  </a:lnTo>
                  <a:lnTo>
                    <a:pt x="385" y="267"/>
                  </a:lnTo>
                  <a:lnTo>
                    <a:pt x="392" y="267"/>
                  </a:lnTo>
                  <a:lnTo>
                    <a:pt x="399" y="275"/>
                  </a:lnTo>
                  <a:lnTo>
                    <a:pt x="406" y="289"/>
                  </a:lnTo>
                  <a:lnTo>
                    <a:pt x="414" y="303"/>
                  </a:lnTo>
                  <a:lnTo>
                    <a:pt x="442" y="310"/>
                  </a:lnTo>
                  <a:lnTo>
                    <a:pt x="471" y="339"/>
                  </a:lnTo>
                  <a:lnTo>
                    <a:pt x="496" y="360"/>
                  </a:lnTo>
                  <a:lnTo>
                    <a:pt x="524" y="378"/>
                  </a:lnTo>
                  <a:lnTo>
                    <a:pt x="535" y="381"/>
                  </a:lnTo>
                  <a:lnTo>
                    <a:pt x="545" y="381"/>
                  </a:lnTo>
                  <a:lnTo>
                    <a:pt x="549" y="374"/>
                  </a:lnTo>
                  <a:lnTo>
                    <a:pt x="553" y="364"/>
                  </a:lnTo>
                  <a:lnTo>
                    <a:pt x="549" y="349"/>
                  </a:lnTo>
                  <a:lnTo>
                    <a:pt x="542" y="321"/>
                  </a:lnTo>
                  <a:lnTo>
                    <a:pt x="528" y="289"/>
                  </a:lnTo>
                  <a:lnTo>
                    <a:pt x="506" y="246"/>
                  </a:lnTo>
                  <a:lnTo>
                    <a:pt x="503" y="228"/>
                  </a:lnTo>
                  <a:lnTo>
                    <a:pt x="492" y="214"/>
                  </a:lnTo>
                  <a:lnTo>
                    <a:pt x="481" y="196"/>
                  </a:lnTo>
                  <a:lnTo>
                    <a:pt x="463" y="182"/>
                  </a:lnTo>
                  <a:lnTo>
                    <a:pt x="438" y="171"/>
                  </a:lnTo>
                  <a:lnTo>
                    <a:pt x="424" y="164"/>
                  </a:lnTo>
                  <a:lnTo>
                    <a:pt x="410" y="164"/>
                  </a:lnTo>
                  <a:lnTo>
                    <a:pt x="392" y="164"/>
                  </a:lnTo>
                  <a:lnTo>
                    <a:pt x="374" y="164"/>
                  </a:lnTo>
                  <a:lnTo>
                    <a:pt x="346" y="164"/>
                  </a:lnTo>
                  <a:lnTo>
                    <a:pt x="342" y="160"/>
                  </a:lnTo>
                  <a:lnTo>
                    <a:pt x="332" y="157"/>
                  </a:lnTo>
                  <a:lnTo>
                    <a:pt x="321" y="157"/>
                  </a:lnTo>
                  <a:lnTo>
                    <a:pt x="317" y="160"/>
                  </a:lnTo>
                  <a:lnTo>
                    <a:pt x="310" y="168"/>
                  </a:lnTo>
                  <a:lnTo>
                    <a:pt x="307" y="171"/>
                  </a:lnTo>
                  <a:lnTo>
                    <a:pt x="292" y="171"/>
                  </a:lnTo>
                  <a:lnTo>
                    <a:pt x="282" y="171"/>
                  </a:lnTo>
                  <a:lnTo>
                    <a:pt x="274" y="164"/>
                  </a:lnTo>
                  <a:lnTo>
                    <a:pt x="264" y="153"/>
                  </a:lnTo>
                  <a:lnTo>
                    <a:pt x="257" y="135"/>
                  </a:lnTo>
                  <a:lnTo>
                    <a:pt x="257" y="121"/>
                  </a:lnTo>
                  <a:lnTo>
                    <a:pt x="253" y="89"/>
                  </a:lnTo>
                  <a:lnTo>
                    <a:pt x="242" y="57"/>
                  </a:lnTo>
                  <a:lnTo>
                    <a:pt x="235" y="46"/>
                  </a:lnTo>
                  <a:lnTo>
                    <a:pt x="228" y="39"/>
                  </a:lnTo>
                  <a:lnTo>
                    <a:pt x="221" y="21"/>
                  </a:lnTo>
                  <a:lnTo>
                    <a:pt x="221" y="0"/>
                  </a:lnTo>
                  <a:lnTo>
                    <a:pt x="160" y="11"/>
                  </a:lnTo>
                  <a:lnTo>
                    <a:pt x="114" y="11"/>
                  </a:lnTo>
                  <a:lnTo>
                    <a:pt x="114" y="7"/>
                  </a:lnTo>
                  <a:lnTo>
                    <a:pt x="114" y="11"/>
                  </a:lnTo>
                  <a:lnTo>
                    <a:pt x="89" y="29"/>
                  </a:lnTo>
                  <a:lnTo>
                    <a:pt x="64" y="39"/>
                  </a:lnTo>
                  <a:lnTo>
                    <a:pt x="46" y="46"/>
                  </a:lnTo>
                  <a:lnTo>
                    <a:pt x="25" y="50"/>
                  </a:lnTo>
                  <a:lnTo>
                    <a:pt x="29" y="53"/>
                  </a:lnTo>
                  <a:lnTo>
                    <a:pt x="36" y="61"/>
                  </a:lnTo>
                  <a:lnTo>
                    <a:pt x="36" y="64"/>
                  </a:lnTo>
                  <a:lnTo>
                    <a:pt x="36" y="71"/>
                  </a:lnTo>
                  <a:lnTo>
                    <a:pt x="32" y="82"/>
                  </a:lnTo>
                  <a:lnTo>
                    <a:pt x="25" y="93"/>
                  </a:lnTo>
                  <a:lnTo>
                    <a:pt x="21" y="103"/>
                  </a:lnTo>
                  <a:lnTo>
                    <a:pt x="18" y="114"/>
                  </a:lnTo>
                  <a:lnTo>
                    <a:pt x="18" y="139"/>
                  </a:lnTo>
                  <a:lnTo>
                    <a:pt x="21" y="157"/>
                  </a:lnTo>
                  <a:lnTo>
                    <a:pt x="25" y="164"/>
                  </a:lnTo>
                  <a:lnTo>
                    <a:pt x="25" y="175"/>
                  </a:lnTo>
                  <a:lnTo>
                    <a:pt x="25" y="185"/>
                  </a:lnTo>
                  <a:lnTo>
                    <a:pt x="21" y="196"/>
                  </a:lnTo>
                  <a:lnTo>
                    <a:pt x="14" y="203"/>
                  </a:lnTo>
                  <a:lnTo>
                    <a:pt x="4" y="214"/>
                  </a:lnTo>
                  <a:lnTo>
                    <a:pt x="0" y="217"/>
                  </a:lnTo>
                  <a:lnTo>
                    <a:pt x="4" y="221"/>
                  </a:lnTo>
                  <a:lnTo>
                    <a:pt x="11" y="235"/>
                  </a:lnTo>
                  <a:lnTo>
                    <a:pt x="18" y="260"/>
                  </a:lnTo>
                  <a:lnTo>
                    <a:pt x="21" y="278"/>
                  </a:lnTo>
                  <a:lnTo>
                    <a:pt x="18" y="292"/>
                  </a:lnTo>
                  <a:lnTo>
                    <a:pt x="18" y="335"/>
                  </a:lnTo>
                  <a:lnTo>
                    <a:pt x="18" y="371"/>
                  </a:lnTo>
                  <a:lnTo>
                    <a:pt x="21" y="414"/>
                  </a:lnTo>
                  <a:lnTo>
                    <a:pt x="36" y="442"/>
                  </a:lnTo>
                  <a:lnTo>
                    <a:pt x="53" y="467"/>
                  </a:lnTo>
                  <a:lnTo>
                    <a:pt x="75" y="492"/>
                  </a:lnTo>
                  <a:lnTo>
                    <a:pt x="82" y="503"/>
                  </a:lnTo>
                  <a:lnTo>
                    <a:pt x="89" y="517"/>
                  </a:lnTo>
                  <a:lnTo>
                    <a:pt x="93" y="535"/>
                  </a:lnTo>
                  <a:lnTo>
                    <a:pt x="93" y="549"/>
                  </a:lnTo>
                  <a:lnTo>
                    <a:pt x="93" y="563"/>
                  </a:lnTo>
                  <a:lnTo>
                    <a:pt x="89" y="574"/>
                  </a:lnTo>
                  <a:lnTo>
                    <a:pt x="82" y="585"/>
                  </a:lnTo>
                  <a:lnTo>
                    <a:pt x="75" y="588"/>
                  </a:lnTo>
                  <a:lnTo>
                    <a:pt x="64" y="599"/>
                  </a:lnTo>
                  <a:lnTo>
                    <a:pt x="46" y="613"/>
                  </a:lnTo>
                  <a:lnTo>
                    <a:pt x="29" y="635"/>
                  </a:lnTo>
                  <a:lnTo>
                    <a:pt x="53" y="649"/>
                  </a:lnTo>
                  <a:lnTo>
                    <a:pt x="82" y="674"/>
                  </a:lnTo>
                  <a:lnTo>
                    <a:pt x="89" y="670"/>
                  </a:lnTo>
                  <a:lnTo>
                    <a:pt x="96" y="667"/>
                  </a:lnTo>
                  <a:lnTo>
                    <a:pt x="103" y="667"/>
                  </a:lnTo>
                  <a:lnTo>
                    <a:pt x="107" y="670"/>
                  </a:lnTo>
                  <a:lnTo>
                    <a:pt x="111" y="681"/>
                  </a:lnTo>
                  <a:lnTo>
                    <a:pt x="111" y="695"/>
                  </a:lnTo>
                  <a:lnTo>
                    <a:pt x="103" y="720"/>
                  </a:lnTo>
                  <a:lnTo>
                    <a:pt x="100" y="727"/>
                  </a:lnTo>
                  <a:lnTo>
                    <a:pt x="100" y="741"/>
                  </a:lnTo>
                  <a:lnTo>
                    <a:pt x="100" y="749"/>
                  </a:lnTo>
                  <a:lnTo>
                    <a:pt x="107" y="752"/>
                  </a:lnTo>
                  <a:lnTo>
                    <a:pt x="118" y="752"/>
                  </a:lnTo>
                  <a:lnTo>
                    <a:pt x="132" y="749"/>
                  </a:lnTo>
                  <a:lnTo>
                    <a:pt x="135" y="749"/>
                  </a:lnTo>
                  <a:lnTo>
                    <a:pt x="139" y="749"/>
                  </a:lnTo>
                  <a:lnTo>
                    <a:pt x="135" y="759"/>
                  </a:lnTo>
                  <a:lnTo>
                    <a:pt x="121" y="784"/>
                  </a:lnTo>
                  <a:lnTo>
                    <a:pt x="121" y="791"/>
                  </a:lnTo>
                  <a:lnTo>
                    <a:pt x="121" y="795"/>
                  </a:lnTo>
                  <a:lnTo>
                    <a:pt x="125" y="799"/>
                  </a:lnTo>
                  <a:lnTo>
                    <a:pt x="132" y="802"/>
                  </a:lnTo>
                  <a:lnTo>
                    <a:pt x="143" y="806"/>
                  </a:lnTo>
                  <a:lnTo>
                    <a:pt x="160" y="799"/>
                  </a:lnTo>
                  <a:lnTo>
                    <a:pt x="182" y="788"/>
                  </a:lnTo>
                  <a:lnTo>
                    <a:pt x="207" y="781"/>
                  </a:lnTo>
                  <a:lnTo>
                    <a:pt x="228" y="777"/>
                  </a:lnTo>
                  <a:lnTo>
                    <a:pt x="250" y="784"/>
                  </a:lnTo>
                  <a:lnTo>
                    <a:pt x="267" y="791"/>
                  </a:lnTo>
                  <a:lnTo>
                    <a:pt x="282" y="802"/>
                  </a:lnTo>
                  <a:lnTo>
                    <a:pt x="292" y="809"/>
                  </a:lnTo>
                  <a:lnTo>
                    <a:pt x="299" y="820"/>
                  </a:lnTo>
                  <a:lnTo>
                    <a:pt x="307" y="816"/>
                  </a:lnTo>
                  <a:lnTo>
                    <a:pt x="314" y="809"/>
                  </a:lnTo>
                  <a:lnTo>
                    <a:pt x="321" y="795"/>
                  </a:lnTo>
                  <a:lnTo>
                    <a:pt x="364" y="795"/>
                  </a:lnTo>
                  <a:lnTo>
                    <a:pt x="367" y="788"/>
                  </a:lnTo>
                  <a:lnTo>
                    <a:pt x="381" y="777"/>
                  </a:lnTo>
                  <a:lnTo>
                    <a:pt x="392" y="770"/>
                  </a:lnTo>
                  <a:lnTo>
                    <a:pt x="406" y="766"/>
                  </a:lnTo>
                  <a:lnTo>
                    <a:pt x="421" y="766"/>
                  </a:lnTo>
                  <a:lnTo>
                    <a:pt x="438" y="770"/>
                  </a:lnTo>
                  <a:lnTo>
                    <a:pt x="499" y="738"/>
                  </a:lnTo>
                  <a:lnTo>
                    <a:pt x="520" y="745"/>
                  </a:lnTo>
                  <a:lnTo>
                    <a:pt x="538" y="745"/>
                  </a:lnTo>
                  <a:lnTo>
                    <a:pt x="545" y="745"/>
                  </a:lnTo>
                  <a:lnTo>
                    <a:pt x="556" y="741"/>
                  </a:lnTo>
                  <a:lnTo>
                    <a:pt x="560" y="734"/>
                  </a:lnTo>
                  <a:lnTo>
                    <a:pt x="567" y="724"/>
                  </a:lnTo>
                  <a:lnTo>
                    <a:pt x="567" y="709"/>
                  </a:lnTo>
                  <a:lnTo>
                    <a:pt x="563" y="692"/>
                  </a:lnTo>
                  <a:lnTo>
                    <a:pt x="560" y="670"/>
                  </a:lnTo>
                  <a:lnTo>
                    <a:pt x="545" y="642"/>
                  </a:lnTo>
                  <a:lnTo>
                    <a:pt x="531" y="610"/>
                  </a:lnTo>
                  <a:lnTo>
                    <a:pt x="506" y="567"/>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0" name="Freeform 26"/>
            <p:cNvSpPr>
              <a:spLocks/>
            </p:cNvSpPr>
            <p:nvPr/>
          </p:nvSpPr>
          <p:spPr bwMode="auto">
            <a:xfrm>
              <a:off x="2920" y="2321"/>
              <a:ext cx="552" cy="317"/>
            </a:xfrm>
            <a:custGeom>
              <a:avLst/>
              <a:gdLst>
                <a:gd name="T0" fmla="*/ 157 w 552"/>
                <a:gd name="T1" fmla="*/ 0 h 317"/>
                <a:gd name="T2" fmla="*/ 210 w 552"/>
                <a:gd name="T3" fmla="*/ 46 h 317"/>
                <a:gd name="T4" fmla="*/ 267 w 552"/>
                <a:gd name="T5" fmla="*/ 89 h 317"/>
                <a:gd name="T6" fmla="*/ 278 w 552"/>
                <a:gd name="T7" fmla="*/ 92 h 317"/>
                <a:gd name="T8" fmla="*/ 306 w 552"/>
                <a:gd name="T9" fmla="*/ 78 h 317"/>
                <a:gd name="T10" fmla="*/ 320 w 552"/>
                <a:gd name="T11" fmla="*/ 64 h 317"/>
                <a:gd name="T12" fmla="*/ 367 w 552"/>
                <a:gd name="T13" fmla="*/ 57 h 317"/>
                <a:gd name="T14" fmla="*/ 385 w 552"/>
                <a:gd name="T15" fmla="*/ 60 h 317"/>
                <a:gd name="T16" fmla="*/ 395 w 552"/>
                <a:gd name="T17" fmla="*/ 64 h 317"/>
                <a:gd name="T18" fmla="*/ 424 w 552"/>
                <a:gd name="T19" fmla="*/ 64 h 317"/>
                <a:gd name="T20" fmla="*/ 442 w 552"/>
                <a:gd name="T21" fmla="*/ 71 h 317"/>
                <a:gd name="T22" fmla="*/ 452 w 552"/>
                <a:gd name="T23" fmla="*/ 92 h 317"/>
                <a:gd name="T24" fmla="*/ 456 w 552"/>
                <a:gd name="T25" fmla="*/ 103 h 317"/>
                <a:gd name="T26" fmla="*/ 467 w 552"/>
                <a:gd name="T27" fmla="*/ 124 h 317"/>
                <a:gd name="T28" fmla="*/ 492 w 552"/>
                <a:gd name="T29" fmla="*/ 142 h 317"/>
                <a:gd name="T30" fmla="*/ 520 w 552"/>
                <a:gd name="T31" fmla="*/ 153 h 317"/>
                <a:gd name="T32" fmla="*/ 542 w 552"/>
                <a:gd name="T33" fmla="*/ 149 h 317"/>
                <a:gd name="T34" fmla="*/ 549 w 552"/>
                <a:gd name="T35" fmla="*/ 160 h 317"/>
                <a:gd name="T36" fmla="*/ 552 w 552"/>
                <a:gd name="T37" fmla="*/ 174 h 317"/>
                <a:gd name="T38" fmla="*/ 542 w 552"/>
                <a:gd name="T39" fmla="*/ 196 h 317"/>
                <a:gd name="T40" fmla="*/ 534 w 552"/>
                <a:gd name="T41" fmla="*/ 206 h 317"/>
                <a:gd name="T42" fmla="*/ 531 w 552"/>
                <a:gd name="T43" fmla="*/ 242 h 317"/>
                <a:gd name="T44" fmla="*/ 538 w 552"/>
                <a:gd name="T45" fmla="*/ 267 h 317"/>
                <a:gd name="T46" fmla="*/ 542 w 552"/>
                <a:gd name="T47" fmla="*/ 278 h 317"/>
                <a:gd name="T48" fmla="*/ 534 w 552"/>
                <a:gd name="T49" fmla="*/ 299 h 317"/>
                <a:gd name="T50" fmla="*/ 520 w 552"/>
                <a:gd name="T51" fmla="*/ 313 h 317"/>
                <a:gd name="T52" fmla="*/ 513 w 552"/>
                <a:gd name="T53" fmla="*/ 317 h 317"/>
                <a:gd name="T54" fmla="*/ 488 w 552"/>
                <a:gd name="T55" fmla="*/ 313 h 317"/>
                <a:gd name="T56" fmla="*/ 435 w 552"/>
                <a:gd name="T57" fmla="*/ 288 h 317"/>
                <a:gd name="T58" fmla="*/ 417 w 552"/>
                <a:gd name="T59" fmla="*/ 271 h 317"/>
                <a:gd name="T60" fmla="*/ 410 w 552"/>
                <a:gd name="T61" fmla="*/ 253 h 317"/>
                <a:gd name="T62" fmla="*/ 388 w 552"/>
                <a:gd name="T63" fmla="*/ 242 h 317"/>
                <a:gd name="T64" fmla="*/ 363 w 552"/>
                <a:gd name="T65" fmla="*/ 246 h 317"/>
                <a:gd name="T66" fmla="*/ 360 w 552"/>
                <a:gd name="T67" fmla="*/ 253 h 317"/>
                <a:gd name="T68" fmla="*/ 328 w 552"/>
                <a:gd name="T69" fmla="*/ 274 h 317"/>
                <a:gd name="T70" fmla="*/ 303 w 552"/>
                <a:gd name="T71" fmla="*/ 278 h 317"/>
                <a:gd name="T72" fmla="*/ 299 w 552"/>
                <a:gd name="T73" fmla="*/ 271 h 317"/>
                <a:gd name="T74" fmla="*/ 296 w 552"/>
                <a:gd name="T75" fmla="*/ 256 h 317"/>
                <a:gd name="T76" fmla="*/ 292 w 552"/>
                <a:gd name="T77" fmla="*/ 224 h 317"/>
                <a:gd name="T78" fmla="*/ 278 w 552"/>
                <a:gd name="T79" fmla="*/ 192 h 317"/>
                <a:gd name="T80" fmla="*/ 274 w 552"/>
                <a:gd name="T81" fmla="*/ 189 h 317"/>
                <a:gd name="T82" fmla="*/ 260 w 552"/>
                <a:gd name="T83" fmla="*/ 178 h 317"/>
                <a:gd name="T84" fmla="*/ 231 w 552"/>
                <a:gd name="T85" fmla="*/ 174 h 317"/>
                <a:gd name="T86" fmla="*/ 153 w 552"/>
                <a:gd name="T87" fmla="*/ 189 h 317"/>
                <a:gd name="T88" fmla="*/ 46 w 552"/>
                <a:gd name="T89" fmla="*/ 217 h 317"/>
                <a:gd name="T90" fmla="*/ 32 w 552"/>
                <a:gd name="T91" fmla="*/ 199 h 317"/>
                <a:gd name="T92" fmla="*/ 28 w 552"/>
                <a:gd name="T93" fmla="*/ 164 h 317"/>
                <a:gd name="T94" fmla="*/ 32 w 552"/>
                <a:gd name="T95" fmla="*/ 156 h 317"/>
                <a:gd name="T96" fmla="*/ 39 w 552"/>
                <a:gd name="T97" fmla="*/ 139 h 317"/>
                <a:gd name="T98" fmla="*/ 25 w 552"/>
                <a:gd name="T99" fmla="*/ 124 h 317"/>
                <a:gd name="T100" fmla="*/ 7 w 552"/>
                <a:gd name="T101" fmla="*/ 114 h 317"/>
                <a:gd name="T102" fmla="*/ 0 w 552"/>
                <a:gd name="T103" fmla="*/ 103 h 317"/>
                <a:gd name="T104" fmla="*/ 0 w 552"/>
                <a:gd name="T105" fmla="*/ 92 h 317"/>
                <a:gd name="T106" fmla="*/ 14 w 552"/>
                <a:gd name="T107" fmla="*/ 82 h 317"/>
                <a:gd name="T108" fmla="*/ 57 w 552"/>
                <a:gd name="T109" fmla="*/ 25 h 317"/>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52"/>
                <a:gd name="T166" fmla="*/ 0 h 317"/>
                <a:gd name="T167" fmla="*/ 552 w 552"/>
                <a:gd name="T168" fmla="*/ 317 h 317"/>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52" h="317">
                  <a:moveTo>
                    <a:pt x="57" y="25"/>
                  </a:moveTo>
                  <a:lnTo>
                    <a:pt x="157" y="0"/>
                  </a:lnTo>
                  <a:lnTo>
                    <a:pt x="210" y="46"/>
                  </a:lnTo>
                  <a:lnTo>
                    <a:pt x="249" y="78"/>
                  </a:lnTo>
                  <a:lnTo>
                    <a:pt x="267" y="89"/>
                  </a:lnTo>
                  <a:lnTo>
                    <a:pt x="278" y="92"/>
                  </a:lnTo>
                  <a:lnTo>
                    <a:pt x="292" y="89"/>
                  </a:lnTo>
                  <a:lnTo>
                    <a:pt x="306" y="78"/>
                  </a:lnTo>
                  <a:lnTo>
                    <a:pt x="320" y="64"/>
                  </a:lnTo>
                  <a:lnTo>
                    <a:pt x="345" y="57"/>
                  </a:lnTo>
                  <a:lnTo>
                    <a:pt x="367" y="57"/>
                  </a:lnTo>
                  <a:lnTo>
                    <a:pt x="378" y="57"/>
                  </a:lnTo>
                  <a:lnTo>
                    <a:pt x="385" y="60"/>
                  </a:lnTo>
                  <a:lnTo>
                    <a:pt x="395" y="64"/>
                  </a:lnTo>
                  <a:lnTo>
                    <a:pt x="402" y="64"/>
                  </a:lnTo>
                  <a:lnTo>
                    <a:pt x="424" y="64"/>
                  </a:lnTo>
                  <a:lnTo>
                    <a:pt x="435" y="67"/>
                  </a:lnTo>
                  <a:lnTo>
                    <a:pt x="442" y="71"/>
                  </a:lnTo>
                  <a:lnTo>
                    <a:pt x="449" y="78"/>
                  </a:lnTo>
                  <a:lnTo>
                    <a:pt x="452" y="92"/>
                  </a:lnTo>
                  <a:lnTo>
                    <a:pt x="456" y="103"/>
                  </a:lnTo>
                  <a:lnTo>
                    <a:pt x="460" y="114"/>
                  </a:lnTo>
                  <a:lnTo>
                    <a:pt x="467" y="124"/>
                  </a:lnTo>
                  <a:lnTo>
                    <a:pt x="477" y="135"/>
                  </a:lnTo>
                  <a:lnTo>
                    <a:pt x="492" y="142"/>
                  </a:lnTo>
                  <a:lnTo>
                    <a:pt x="506" y="149"/>
                  </a:lnTo>
                  <a:lnTo>
                    <a:pt x="520" y="153"/>
                  </a:lnTo>
                  <a:lnTo>
                    <a:pt x="542" y="149"/>
                  </a:lnTo>
                  <a:lnTo>
                    <a:pt x="542" y="153"/>
                  </a:lnTo>
                  <a:lnTo>
                    <a:pt x="549" y="160"/>
                  </a:lnTo>
                  <a:lnTo>
                    <a:pt x="552" y="167"/>
                  </a:lnTo>
                  <a:lnTo>
                    <a:pt x="552" y="174"/>
                  </a:lnTo>
                  <a:lnTo>
                    <a:pt x="549" y="185"/>
                  </a:lnTo>
                  <a:lnTo>
                    <a:pt x="542" y="196"/>
                  </a:lnTo>
                  <a:lnTo>
                    <a:pt x="534" y="206"/>
                  </a:lnTo>
                  <a:lnTo>
                    <a:pt x="531" y="217"/>
                  </a:lnTo>
                  <a:lnTo>
                    <a:pt x="531" y="242"/>
                  </a:lnTo>
                  <a:lnTo>
                    <a:pt x="534" y="260"/>
                  </a:lnTo>
                  <a:lnTo>
                    <a:pt x="538" y="267"/>
                  </a:lnTo>
                  <a:lnTo>
                    <a:pt x="542" y="278"/>
                  </a:lnTo>
                  <a:lnTo>
                    <a:pt x="538" y="288"/>
                  </a:lnTo>
                  <a:lnTo>
                    <a:pt x="534" y="299"/>
                  </a:lnTo>
                  <a:lnTo>
                    <a:pt x="531" y="303"/>
                  </a:lnTo>
                  <a:lnTo>
                    <a:pt x="520" y="313"/>
                  </a:lnTo>
                  <a:lnTo>
                    <a:pt x="513" y="317"/>
                  </a:lnTo>
                  <a:lnTo>
                    <a:pt x="499" y="317"/>
                  </a:lnTo>
                  <a:lnTo>
                    <a:pt x="488" y="313"/>
                  </a:lnTo>
                  <a:lnTo>
                    <a:pt x="460" y="306"/>
                  </a:lnTo>
                  <a:lnTo>
                    <a:pt x="435" y="288"/>
                  </a:lnTo>
                  <a:lnTo>
                    <a:pt x="424" y="281"/>
                  </a:lnTo>
                  <a:lnTo>
                    <a:pt x="417" y="271"/>
                  </a:lnTo>
                  <a:lnTo>
                    <a:pt x="410" y="253"/>
                  </a:lnTo>
                  <a:lnTo>
                    <a:pt x="399" y="246"/>
                  </a:lnTo>
                  <a:lnTo>
                    <a:pt x="388" y="242"/>
                  </a:lnTo>
                  <a:lnTo>
                    <a:pt x="378" y="242"/>
                  </a:lnTo>
                  <a:lnTo>
                    <a:pt x="363" y="246"/>
                  </a:lnTo>
                  <a:lnTo>
                    <a:pt x="360" y="253"/>
                  </a:lnTo>
                  <a:lnTo>
                    <a:pt x="349" y="260"/>
                  </a:lnTo>
                  <a:lnTo>
                    <a:pt x="328" y="274"/>
                  </a:lnTo>
                  <a:lnTo>
                    <a:pt x="313" y="278"/>
                  </a:lnTo>
                  <a:lnTo>
                    <a:pt x="303" y="278"/>
                  </a:lnTo>
                  <a:lnTo>
                    <a:pt x="299" y="274"/>
                  </a:lnTo>
                  <a:lnTo>
                    <a:pt x="299" y="271"/>
                  </a:lnTo>
                  <a:lnTo>
                    <a:pt x="296" y="256"/>
                  </a:lnTo>
                  <a:lnTo>
                    <a:pt x="296" y="238"/>
                  </a:lnTo>
                  <a:lnTo>
                    <a:pt x="292" y="224"/>
                  </a:lnTo>
                  <a:lnTo>
                    <a:pt x="285" y="203"/>
                  </a:lnTo>
                  <a:lnTo>
                    <a:pt x="278" y="192"/>
                  </a:lnTo>
                  <a:lnTo>
                    <a:pt x="274" y="189"/>
                  </a:lnTo>
                  <a:lnTo>
                    <a:pt x="267" y="181"/>
                  </a:lnTo>
                  <a:lnTo>
                    <a:pt x="260" y="178"/>
                  </a:lnTo>
                  <a:lnTo>
                    <a:pt x="246" y="174"/>
                  </a:lnTo>
                  <a:lnTo>
                    <a:pt x="231" y="174"/>
                  </a:lnTo>
                  <a:lnTo>
                    <a:pt x="196" y="178"/>
                  </a:lnTo>
                  <a:lnTo>
                    <a:pt x="153" y="189"/>
                  </a:lnTo>
                  <a:lnTo>
                    <a:pt x="82" y="206"/>
                  </a:lnTo>
                  <a:lnTo>
                    <a:pt x="46" y="217"/>
                  </a:lnTo>
                  <a:lnTo>
                    <a:pt x="32" y="199"/>
                  </a:lnTo>
                  <a:lnTo>
                    <a:pt x="7" y="181"/>
                  </a:lnTo>
                  <a:lnTo>
                    <a:pt x="28" y="164"/>
                  </a:lnTo>
                  <a:lnTo>
                    <a:pt x="32" y="156"/>
                  </a:lnTo>
                  <a:lnTo>
                    <a:pt x="39" y="146"/>
                  </a:lnTo>
                  <a:lnTo>
                    <a:pt x="39" y="139"/>
                  </a:lnTo>
                  <a:lnTo>
                    <a:pt x="35" y="132"/>
                  </a:lnTo>
                  <a:lnTo>
                    <a:pt x="25" y="124"/>
                  </a:lnTo>
                  <a:lnTo>
                    <a:pt x="7" y="114"/>
                  </a:lnTo>
                  <a:lnTo>
                    <a:pt x="3" y="110"/>
                  </a:lnTo>
                  <a:lnTo>
                    <a:pt x="0" y="103"/>
                  </a:lnTo>
                  <a:lnTo>
                    <a:pt x="0" y="96"/>
                  </a:lnTo>
                  <a:lnTo>
                    <a:pt x="0" y="92"/>
                  </a:lnTo>
                  <a:lnTo>
                    <a:pt x="3" y="85"/>
                  </a:lnTo>
                  <a:lnTo>
                    <a:pt x="14" y="82"/>
                  </a:lnTo>
                  <a:lnTo>
                    <a:pt x="28" y="46"/>
                  </a:lnTo>
                  <a:lnTo>
                    <a:pt x="57" y="25"/>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1" name="Freeform 27"/>
            <p:cNvSpPr>
              <a:spLocks/>
            </p:cNvSpPr>
            <p:nvPr/>
          </p:nvSpPr>
          <p:spPr bwMode="auto">
            <a:xfrm>
              <a:off x="3041" y="2085"/>
              <a:ext cx="488" cy="157"/>
            </a:xfrm>
            <a:custGeom>
              <a:avLst/>
              <a:gdLst>
                <a:gd name="T0" fmla="*/ 0 w 488"/>
                <a:gd name="T1" fmla="*/ 0 h 157"/>
                <a:gd name="T2" fmla="*/ 0 w 488"/>
                <a:gd name="T3" fmla="*/ 0 h 157"/>
                <a:gd name="T4" fmla="*/ 14 w 488"/>
                <a:gd name="T5" fmla="*/ 4 h 157"/>
                <a:gd name="T6" fmla="*/ 39 w 488"/>
                <a:gd name="T7" fmla="*/ 11 h 157"/>
                <a:gd name="T8" fmla="*/ 57 w 488"/>
                <a:gd name="T9" fmla="*/ 18 h 157"/>
                <a:gd name="T10" fmla="*/ 75 w 488"/>
                <a:gd name="T11" fmla="*/ 25 h 157"/>
                <a:gd name="T12" fmla="*/ 96 w 488"/>
                <a:gd name="T13" fmla="*/ 40 h 157"/>
                <a:gd name="T14" fmla="*/ 114 w 488"/>
                <a:gd name="T15" fmla="*/ 57 h 157"/>
                <a:gd name="T16" fmla="*/ 114 w 488"/>
                <a:gd name="T17" fmla="*/ 57 h 157"/>
                <a:gd name="T18" fmla="*/ 117 w 488"/>
                <a:gd name="T19" fmla="*/ 61 h 157"/>
                <a:gd name="T20" fmla="*/ 132 w 488"/>
                <a:gd name="T21" fmla="*/ 65 h 157"/>
                <a:gd name="T22" fmla="*/ 139 w 488"/>
                <a:gd name="T23" fmla="*/ 61 h 157"/>
                <a:gd name="T24" fmla="*/ 150 w 488"/>
                <a:gd name="T25" fmla="*/ 61 h 157"/>
                <a:gd name="T26" fmla="*/ 157 w 488"/>
                <a:gd name="T27" fmla="*/ 54 h 157"/>
                <a:gd name="T28" fmla="*/ 164 w 488"/>
                <a:gd name="T29" fmla="*/ 47 h 157"/>
                <a:gd name="T30" fmla="*/ 164 w 488"/>
                <a:gd name="T31" fmla="*/ 47 h 157"/>
                <a:gd name="T32" fmla="*/ 171 w 488"/>
                <a:gd name="T33" fmla="*/ 54 h 157"/>
                <a:gd name="T34" fmla="*/ 185 w 488"/>
                <a:gd name="T35" fmla="*/ 68 h 157"/>
                <a:gd name="T36" fmla="*/ 196 w 488"/>
                <a:gd name="T37" fmla="*/ 72 h 157"/>
                <a:gd name="T38" fmla="*/ 207 w 488"/>
                <a:gd name="T39" fmla="*/ 68 h 157"/>
                <a:gd name="T40" fmla="*/ 214 w 488"/>
                <a:gd name="T41" fmla="*/ 61 h 157"/>
                <a:gd name="T42" fmla="*/ 224 w 488"/>
                <a:gd name="T43" fmla="*/ 47 h 157"/>
                <a:gd name="T44" fmla="*/ 224 w 488"/>
                <a:gd name="T45" fmla="*/ 47 h 157"/>
                <a:gd name="T46" fmla="*/ 235 w 488"/>
                <a:gd name="T47" fmla="*/ 29 h 157"/>
                <a:gd name="T48" fmla="*/ 249 w 488"/>
                <a:gd name="T49" fmla="*/ 18 h 157"/>
                <a:gd name="T50" fmla="*/ 264 w 488"/>
                <a:gd name="T51" fmla="*/ 11 h 157"/>
                <a:gd name="T52" fmla="*/ 281 w 488"/>
                <a:gd name="T53" fmla="*/ 15 h 157"/>
                <a:gd name="T54" fmla="*/ 296 w 488"/>
                <a:gd name="T55" fmla="*/ 18 h 157"/>
                <a:gd name="T56" fmla="*/ 306 w 488"/>
                <a:gd name="T57" fmla="*/ 32 h 157"/>
                <a:gd name="T58" fmla="*/ 314 w 488"/>
                <a:gd name="T59" fmla="*/ 50 h 157"/>
                <a:gd name="T60" fmla="*/ 317 w 488"/>
                <a:gd name="T61" fmla="*/ 72 h 157"/>
                <a:gd name="T62" fmla="*/ 331 w 488"/>
                <a:gd name="T63" fmla="*/ 82 h 157"/>
                <a:gd name="T64" fmla="*/ 353 w 488"/>
                <a:gd name="T65" fmla="*/ 75 h 157"/>
                <a:gd name="T66" fmla="*/ 385 w 488"/>
                <a:gd name="T67" fmla="*/ 86 h 157"/>
                <a:gd name="T68" fmla="*/ 410 w 488"/>
                <a:gd name="T69" fmla="*/ 68 h 157"/>
                <a:gd name="T70" fmla="*/ 435 w 488"/>
                <a:gd name="T71" fmla="*/ 79 h 157"/>
                <a:gd name="T72" fmla="*/ 488 w 488"/>
                <a:gd name="T73" fmla="*/ 157 h 157"/>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488"/>
                <a:gd name="T112" fmla="*/ 0 h 157"/>
                <a:gd name="T113" fmla="*/ 488 w 488"/>
                <a:gd name="T114" fmla="*/ 157 h 157"/>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488" h="157">
                  <a:moveTo>
                    <a:pt x="0" y="0"/>
                  </a:moveTo>
                  <a:lnTo>
                    <a:pt x="0" y="0"/>
                  </a:lnTo>
                  <a:lnTo>
                    <a:pt x="14" y="4"/>
                  </a:lnTo>
                  <a:lnTo>
                    <a:pt x="39" y="11"/>
                  </a:lnTo>
                  <a:lnTo>
                    <a:pt x="57" y="18"/>
                  </a:lnTo>
                  <a:lnTo>
                    <a:pt x="75" y="25"/>
                  </a:lnTo>
                  <a:lnTo>
                    <a:pt x="96" y="40"/>
                  </a:lnTo>
                  <a:lnTo>
                    <a:pt x="114" y="57"/>
                  </a:lnTo>
                  <a:lnTo>
                    <a:pt x="117" y="61"/>
                  </a:lnTo>
                  <a:lnTo>
                    <a:pt x="132" y="65"/>
                  </a:lnTo>
                  <a:lnTo>
                    <a:pt x="139" y="61"/>
                  </a:lnTo>
                  <a:lnTo>
                    <a:pt x="150" y="61"/>
                  </a:lnTo>
                  <a:lnTo>
                    <a:pt x="157" y="54"/>
                  </a:lnTo>
                  <a:lnTo>
                    <a:pt x="164" y="47"/>
                  </a:lnTo>
                  <a:lnTo>
                    <a:pt x="171" y="54"/>
                  </a:lnTo>
                  <a:lnTo>
                    <a:pt x="185" y="68"/>
                  </a:lnTo>
                  <a:lnTo>
                    <a:pt x="196" y="72"/>
                  </a:lnTo>
                  <a:lnTo>
                    <a:pt x="207" y="68"/>
                  </a:lnTo>
                  <a:lnTo>
                    <a:pt x="214" y="61"/>
                  </a:lnTo>
                  <a:lnTo>
                    <a:pt x="224" y="47"/>
                  </a:lnTo>
                  <a:lnTo>
                    <a:pt x="235" y="29"/>
                  </a:lnTo>
                  <a:lnTo>
                    <a:pt x="249" y="18"/>
                  </a:lnTo>
                  <a:lnTo>
                    <a:pt x="264" y="11"/>
                  </a:lnTo>
                  <a:lnTo>
                    <a:pt x="281" y="15"/>
                  </a:lnTo>
                  <a:lnTo>
                    <a:pt x="296" y="18"/>
                  </a:lnTo>
                  <a:lnTo>
                    <a:pt x="306" y="32"/>
                  </a:lnTo>
                  <a:lnTo>
                    <a:pt x="314" y="50"/>
                  </a:lnTo>
                  <a:lnTo>
                    <a:pt x="317" y="72"/>
                  </a:lnTo>
                  <a:lnTo>
                    <a:pt x="331" y="82"/>
                  </a:lnTo>
                  <a:lnTo>
                    <a:pt x="353" y="75"/>
                  </a:lnTo>
                  <a:lnTo>
                    <a:pt x="385" y="86"/>
                  </a:lnTo>
                  <a:lnTo>
                    <a:pt x="410" y="68"/>
                  </a:lnTo>
                  <a:lnTo>
                    <a:pt x="435" y="79"/>
                  </a:lnTo>
                  <a:lnTo>
                    <a:pt x="488" y="157"/>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2" name="Freeform 28"/>
            <p:cNvSpPr>
              <a:spLocks/>
            </p:cNvSpPr>
            <p:nvPr/>
          </p:nvSpPr>
          <p:spPr bwMode="auto">
            <a:xfrm>
              <a:off x="2984" y="2085"/>
              <a:ext cx="563" cy="385"/>
            </a:xfrm>
            <a:custGeom>
              <a:avLst/>
              <a:gdLst>
                <a:gd name="T0" fmla="*/ 560 w 563"/>
                <a:gd name="T1" fmla="*/ 350 h 385"/>
                <a:gd name="T2" fmla="*/ 560 w 563"/>
                <a:gd name="T3" fmla="*/ 314 h 385"/>
                <a:gd name="T4" fmla="*/ 524 w 563"/>
                <a:gd name="T5" fmla="*/ 278 h 385"/>
                <a:gd name="T6" fmla="*/ 495 w 563"/>
                <a:gd name="T7" fmla="*/ 229 h 385"/>
                <a:gd name="T8" fmla="*/ 495 w 563"/>
                <a:gd name="T9" fmla="*/ 196 h 385"/>
                <a:gd name="T10" fmla="*/ 531 w 563"/>
                <a:gd name="T11" fmla="*/ 175 h 385"/>
                <a:gd name="T12" fmla="*/ 545 w 563"/>
                <a:gd name="T13" fmla="*/ 157 h 385"/>
                <a:gd name="T14" fmla="*/ 467 w 563"/>
                <a:gd name="T15" fmla="*/ 68 h 385"/>
                <a:gd name="T16" fmla="*/ 413 w 563"/>
                <a:gd name="T17" fmla="*/ 72 h 385"/>
                <a:gd name="T18" fmla="*/ 378 w 563"/>
                <a:gd name="T19" fmla="*/ 72 h 385"/>
                <a:gd name="T20" fmla="*/ 374 w 563"/>
                <a:gd name="T21" fmla="*/ 50 h 385"/>
                <a:gd name="T22" fmla="*/ 353 w 563"/>
                <a:gd name="T23" fmla="*/ 18 h 385"/>
                <a:gd name="T24" fmla="*/ 324 w 563"/>
                <a:gd name="T25" fmla="*/ 11 h 385"/>
                <a:gd name="T26" fmla="*/ 292 w 563"/>
                <a:gd name="T27" fmla="*/ 25 h 385"/>
                <a:gd name="T28" fmla="*/ 281 w 563"/>
                <a:gd name="T29" fmla="*/ 43 h 385"/>
                <a:gd name="T30" fmla="*/ 264 w 563"/>
                <a:gd name="T31" fmla="*/ 68 h 385"/>
                <a:gd name="T32" fmla="*/ 246 w 563"/>
                <a:gd name="T33" fmla="*/ 65 h 385"/>
                <a:gd name="T34" fmla="*/ 224 w 563"/>
                <a:gd name="T35" fmla="*/ 43 h 385"/>
                <a:gd name="T36" fmla="*/ 214 w 563"/>
                <a:gd name="T37" fmla="*/ 54 h 385"/>
                <a:gd name="T38" fmla="*/ 196 w 563"/>
                <a:gd name="T39" fmla="*/ 61 h 385"/>
                <a:gd name="T40" fmla="*/ 178 w 563"/>
                <a:gd name="T41" fmla="*/ 61 h 385"/>
                <a:gd name="T42" fmla="*/ 171 w 563"/>
                <a:gd name="T43" fmla="*/ 57 h 385"/>
                <a:gd name="T44" fmla="*/ 135 w 563"/>
                <a:gd name="T45" fmla="*/ 25 h 385"/>
                <a:gd name="T46" fmla="*/ 100 w 563"/>
                <a:gd name="T47" fmla="*/ 8 h 385"/>
                <a:gd name="T48" fmla="*/ 60 w 563"/>
                <a:gd name="T49" fmla="*/ 0 h 385"/>
                <a:gd name="T50" fmla="*/ 68 w 563"/>
                <a:gd name="T51" fmla="*/ 18 h 385"/>
                <a:gd name="T52" fmla="*/ 93 w 563"/>
                <a:gd name="T53" fmla="*/ 79 h 385"/>
                <a:gd name="T54" fmla="*/ 93 w 563"/>
                <a:gd name="T55" fmla="*/ 107 h 385"/>
                <a:gd name="T56" fmla="*/ 82 w 563"/>
                <a:gd name="T57" fmla="*/ 122 h 385"/>
                <a:gd name="T58" fmla="*/ 7 w 563"/>
                <a:gd name="T59" fmla="*/ 171 h 385"/>
                <a:gd name="T60" fmla="*/ 11 w 563"/>
                <a:gd name="T61" fmla="*/ 207 h 385"/>
                <a:gd name="T62" fmla="*/ 7 w 563"/>
                <a:gd name="T63" fmla="*/ 246 h 385"/>
                <a:gd name="T64" fmla="*/ 96 w 563"/>
                <a:gd name="T65" fmla="*/ 232 h 385"/>
                <a:gd name="T66" fmla="*/ 146 w 563"/>
                <a:gd name="T67" fmla="*/ 282 h 385"/>
                <a:gd name="T68" fmla="*/ 203 w 563"/>
                <a:gd name="T69" fmla="*/ 325 h 385"/>
                <a:gd name="T70" fmla="*/ 214 w 563"/>
                <a:gd name="T71" fmla="*/ 328 h 385"/>
                <a:gd name="T72" fmla="*/ 242 w 563"/>
                <a:gd name="T73" fmla="*/ 314 h 385"/>
                <a:gd name="T74" fmla="*/ 256 w 563"/>
                <a:gd name="T75" fmla="*/ 300 h 385"/>
                <a:gd name="T76" fmla="*/ 303 w 563"/>
                <a:gd name="T77" fmla="*/ 293 h 385"/>
                <a:gd name="T78" fmla="*/ 324 w 563"/>
                <a:gd name="T79" fmla="*/ 296 h 385"/>
                <a:gd name="T80" fmla="*/ 331 w 563"/>
                <a:gd name="T81" fmla="*/ 300 h 385"/>
                <a:gd name="T82" fmla="*/ 363 w 563"/>
                <a:gd name="T83" fmla="*/ 300 h 385"/>
                <a:gd name="T84" fmla="*/ 381 w 563"/>
                <a:gd name="T85" fmla="*/ 307 h 385"/>
                <a:gd name="T86" fmla="*/ 392 w 563"/>
                <a:gd name="T87" fmla="*/ 328 h 385"/>
                <a:gd name="T88" fmla="*/ 392 w 563"/>
                <a:gd name="T89" fmla="*/ 339 h 385"/>
                <a:gd name="T90" fmla="*/ 406 w 563"/>
                <a:gd name="T91" fmla="*/ 360 h 385"/>
                <a:gd name="T92" fmla="*/ 428 w 563"/>
                <a:gd name="T93" fmla="*/ 378 h 385"/>
                <a:gd name="T94" fmla="*/ 460 w 563"/>
                <a:gd name="T95" fmla="*/ 385 h 385"/>
                <a:gd name="T96" fmla="*/ 478 w 563"/>
                <a:gd name="T97" fmla="*/ 385 h 385"/>
                <a:gd name="T98" fmla="*/ 535 w 563"/>
                <a:gd name="T99" fmla="*/ 368 h 385"/>
                <a:gd name="T100" fmla="*/ 563 w 563"/>
                <a:gd name="T101" fmla="*/ 350 h 38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3"/>
                <a:gd name="T154" fmla="*/ 0 h 385"/>
                <a:gd name="T155" fmla="*/ 563 w 563"/>
                <a:gd name="T156" fmla="*/ 385 h 385"/>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3" h="385">
                  <a:moveTo>
                    <a:pt x="563" y="350"/>
                  </a:moveTo>
                  <a:lnTo>
                    <a:pt x="560" y="350"/>
                  </a:lnTo>
                  <a:lnTo>
                    <a:pt x="560" y="339"/>
                  </a:lnTo>
                  <a:lnTo>
                    <a:pt x="560" y="314"/>
                  </a:lnTo>
                  <a:lnTo>
                    <a:pt x="549" y="293"/>
                  </a:lnTo>
                  <a:lnTo>
                    <a:pt x="524" y="278"/>
                  </a:lnTo>
                  <a:lnTo>
                    <a:pt x="506" y="261"/>
                  </a:lnTo>
                  <a:lnTo>
                    <a:pt x="495" y="229"/>
                  </a:lnTo>
                  <a:lnTo>
                    <a:pt x="495" y="196"/>
                  </a:lnTo>
                  <a:lnTo>
                    <a:pt x="513" y="186"/>
                  </a:lnTo>
                  <a:lnTo>
                    <a:pt x="531" y="175"/>
                  </a:lnTo>
                  <a:lnTo>
                    <a:pt x="549" y="157"/>
                  </a:lnTo>
                  <a:lnTo>
                    <a:pt x="545" y="157"/>
                  </a:lnTo>
                  <a:lnTo>
                    <a:pt x="492" y="79"/>
                  </a:lnTo>
                  <a:lnTo>
                    <a:pt x="467" y="68"/>
                  </a:lnTo>
                  <a:lnTo>
                    <a:pt x="442" y="82"/>
                  </a:lnTo>
                  <a:lnTo>
                    <a:pt x="413" y="72"/>
                  </a:lnTo>
                  <a:lnTo>
                    <a:pt x="388" y="82"/>
                  </a:lnTo>
                  <a:lnTo>
                    <a:pt x="378" y="72"/>
                  </a:lnTo>
                  <a:lnTo>
                    <a:pt x="374" y="50"/>
                  </a:lnTo>
                  <a:lnTo>
                    <a:pt x="363" y="32"/>
                  </a:lnTo>
                  <a:lnTo>
                    <a:pt x="353" y="18"/>
                  </a:lnTo>
                  <a:lnTo>
                    <a:pt x="338" y="11"/>
                  </a:lnTo>
                  <a:lnTo>
                    <a:pt x="324" y="11"/>
                  </a:lnTo>
                  <a:lnTo>
                    <a:pt x="306" y="15"/>
                  </a:lnTo>
                  <a:lnTo>
                    <a:pt x="292" y="25"/>
                  </a:lnTo>
                  <a:lnTo>
                    <a:pt x="281" y="43"/>
                  </a:lnTo>
                  <a:lnTo>
                    <a:pt x="274" y="61"/>
                  </a:lnTo>
                  <a:lnTo>
                    <a:pt x="264" y="68"/>
                  </a:lnTo>
                  <a:lnTo>
                    <a:pt x="253" y="68"/>
                  </a:lnTo>
                  <a:lnTo>
                    <a:pt x="246" y="65"/>
                  </a:lnTo>
                  <a:lnTo>
                    <a:pt x="228" y="54"/>
                  </a:lnTo>
                  <a:lnTo>
                    <a:pt x="224" y="43"/>
                  </a:lnTo>
                  <a:lnTo>
                    <a:pt x="214" y="54"/>
                  </a:lnTo>
                  <a:lnTo>
                    <a:pt x="207" y="57"/>
                  </a:lnTo>
                  <a:lnTo>
                    <a:pt x="196" y="61"/>
                  </a:lnTo>
                  <a:lnTo>
                    <a:pt x="189" y="61"/>
                  </a:lnTo>
                  <a:lnTo>
                    <a:pt x="178" y="61"/>
                  </a:lnTo>
                  <a:lnTo>
                    <a:pt x="171" y="57"/>
                  </a:lnTo>
                  <a:lnTo>
                    <a:pt x="153" y="40"/>
                  </a:lnTo>
                  <a:lnTo>
                    <a:pt x="135" y="25"/>
                  </a:lnTo>
                  <a:lnTo>
                    <a:pt x="114" y="15"/>
                  </a:lnTo>
                  <a:lnTo>
                    <a:pt x="100" y="8"/>
                  </a:lnTo>
                  <a:lnTo>
                    <a:pt x="71" y="0"/>
                  </a:lnTo>
                  <a:lnTo>
                    <a:pt x="60" y="0"/>
                  </a:lnTo>
                  <a:lnTo>
                    <a:pt x="68" y="18"/>
                  </a:lnTo>
                  <a:lnTo>
                    <a:pt x="85" y="57"/>
                  </a:lnTo>
                  <a:lnTo>
                    <a:pt x="93" y="79"/>
                  </a:lnTo>
                  <a:lnTo>
                    <a:pt x="93" y="100"/>
                  </a:lnTo>
                  <a:lnTo>
                    <a:pt x="93" y="107"/>
                  </a:lnTo>
                  <a:lnTo>
                    <a:pt x="89" y="118"/>
                  </a:lnTo>
                  <a:lnTo>
                    <a:pt x="82" y="122"/>
                  </a:lnTo>
                  <a:lnTo>
                    <a:pt x="71" y="129"/>
                  </a:lnTo>
                  <a:lnTo>
                    <a:pt x="7" y="171"/>
                  </a:lnTo>
                  <a:lnTo>
                    <a:pt x="11" y="207"/>
                  </a:lnTo>
                  <a:lnTo>
                    <a:pt x="7" y="236"/>
                  </a:lnTo>
                  <a:lnTo>
                    <a:pt x="7" y="246"/>
                  </a:lnTo>
                  <a:lnTo>
                    <a:pt x="0" y="253"/>
                  </a:lnTo>
                  <a:lnTo>
                    <a:pt x="96" y="232"/>
                  </a:lnTo>
                  <a:lnTo>
                    <a:pt x="146" y="282"/>
                  </a:lnTo>
                  <a:lnTo>
                    <a:pt x="189" y="314"/>
                  </a:lnTo>
                  <a:lnTo>
                    <a:pt x="203" y="325"/>
                  </a:lnTo>
                  <a:lnTo>
                    <a:pt x="214" y="328"/>
                  </a:lnTo>
                  <a:lnTo>
                    <a:pt x="228" y="321"/>
                  </a:lnTo>
                  <a:lnTo>
                    <a:pt x="242" y="314"/>
                  </a:lnTo>
                  <a:lnTo>
                    <a:pt x="256" y="300"/>
                  </a:lnTo>
                  <a:lnTo>
                    <a:pt x="281" y="293"/>
                  </a:lnTo>
                  <a:lnTo>
                    <a:pt x="303" y="293"/>
                  </a:lnTo>
                  <a:lnTo>
                    <a:pt x="314" y="293"/>
                  </a:lnTo>
                  <a:lnTo>
                    <a:pt x="324" y="296"/>
                  </a:lnTo>
                  <a:lnTo>
                    <a:pt x="331" y="300"/>
                  </a:lnTo>
                  <a:lnTo>
                    <a:pt x="342" y="300"/>
                  </a:lnTo>
                  <a:lnTo>
                    <a:pt x="363" y="300"/>
                  </a:lnTo>
                  <a:lnTo>
                    <a:pt x="371" y="303"/>
                  </a:lnTo>
                  <a:lnTo>
                    <a:pt x="381" y="307"/>
                  </a:lnTo>
                  <a:lnTo>
                    <a:pt x="388" y="314"/>
                  </a:lnTo>
                  <a:lnTo>
                    <a:pt x="392" y="328"/>
                  </a:lnTo>
                  <a:lnTo>
                    <a:pt x="392" y="339"/>
                  </a:lnTo>
                  <a:lnTo>
                    <a:pt x="399" y="350"/>
                  </a:lnTo>
                  <a:lnTo>
                    <a:pt x="406" y="360"/>
                  </a:lnTo>
                  <a:lnTo>
                    <a:pt x="413" y="371"/>
                  </a:lnTo>
                  <a:lnTo>
                    <a:pt x="428" y="378"/>
                  </a:lnTo>
                  <a:lnTo>
                    <a:pt x="442" y="385"/>
                  </a:lnTo>
                  <a:lnTo>
                    <a:pt x="460" y="385"/>
                  </a:lnTo>
                  <a:lnTo>
                    <a:pt x="478" y="385"/>
                  </a:lnTo>
                  <a:lnTo>
                    <a:pt x="506" y="378"/>
                  </a:lnTo>
                  <a:lnTo>
                    <a:pt x="535" y="368"/>
                  </a:lnTo>
                  <a:lnTo>
                    <a:pt x="563" y="350"/>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3" name="Freeform 29"/>
            <p:cNvSpPr>
              <a:spLocks/>
            </p:cNvSpPr>
            <p:nvPr/>
          </p:nvSpPr>
          <p:spPr bwMode="auto">
            <a:xfrm>
              <a:off x="2923" y="1804"/>
              <a:ext cx="738" cy="442"/>
            </a:xfrm>
            <a:custGeom>
              <a:avLst/>
              <a:gdLst>
                <a:gd name="T0" fmla="*/ 553 w 738"/>
                <a:gd name="T1" fmla="*/ 360 h 442"/>
                <a:gd name="T2" fmla="*/ 613 w 738"/>
                <a:gd name="T3" fmla="*/ 442 h 442"/>
                <a:gd name="T4" fmla="*/ 645 w 738"/>
                <a:gd name="T5" fmla="*/ 392 h 442"/>
                <a:gd name="T6" fmla="*/ 717 w 738"/>
                <a:gd name="T7" fmla="*/ 363 h 442"/>
                <a:gd name="T8" fmla="*/ 724 w 738"/>
                <a:gd name="T9" fmla="*/ 328 h 442"/>
                <a:gd name="T10" fmla="*/ 724 w 738"/>
                <a:gd name="T11" fmla="*/ 264 h 442"/>
                <a:gd name="T12" fmla="*/ 656 w 738"/>
                <a:gd name="T13" fmla="*/ 239 h 442"/>
                <a:gd name="T14" fmla="*/ 653 w 738"/>
                <a:gd name="T15" fmla="*/ 203 h 442"/>
                <a:gd name="T16" fmla="*/ 649 w 738"/>
                <a:gd name="T17" fmla="*/ 203 h 442"/>
                <a:gd name="T18" fmla="*/ 624 w 738"/>
                <a:gd name="T19" fmla="*/ 199 h 442"/>
                <a:gd name="T20" fmla="*/ 585 w 738"/>
                <a:gd name="T21" fmla="*/ 167 h 442"/>
                <a:gd name="T22" fmla="*/ 567 w 738"/>
                <a:gd name="T23" fmla="*/ 132 h 442"/>
                <a:gd name="T24" fmla="*/ 539 w 738"/>
                <a:gd name="T25" fmla="*/ 110 h 442"/>
                <a:gd name="T26" fmla="*/ 453 w 738"/>
                <a:gd name="T27" fmla="*/ 107 h 442"/>
                <a:gd name="T28" fmla="*/ 432 w 738"/>
                <a:gd name="T29" fmla="*/ 107 h 442"/>
                <a:gd name="T30" fmla="*/ 389 w 738"/>
                <a:gd name="T31" fmla="*/ 39 h 442"/>
                <a:gd name="T32" fmla="*/ 382 w 738"/>
                <a:gd name="T33" fmla="*/ 28 h 442"/>
                <a:gd name="T34" fmla="*/ 346 w 738"/>
                <a:gd name="T35" fmla="*/ 18 h 442"/>
                <a:gd name="T36" fmla="*/ 317 w 738"/>
                <a:gd name="T37" fmla="*/ 3 h 442"/>
                <a:gd name="T38" fmla="*/ 289 w 738"/>
                <a:gd name="T39" fmla="*/ 7 h 442"/>
                <a:gd name="T40" fmla="*/ 300 w 738"/>
                <a:gd name="T41" fmla="*/ 32 h 442"/>
                <a:gd name="T42" fmla="*/ 285 w 738"/>
                <a:gd name="T43" fmla="*/ 53 h 442"/>
                <a:gd name="T44" fmla="*/ 260 w 738"/>
                <a:gd name="T45" fmla="*/ 57 h 442"/>
                <a:gd name="T46" fmla="*/ 228 w 738"/>
                <a:gd name="T47" fmla="*/ 39 h 442"/>
                <a:gd name="T48" fmla="*/ 207 w 738"/>
                <a:gd name="T49" fmla="*/ 7 h 442"/>
                <a:gd name="T50" fmla="*/ 154 w 738"/>
                <a:gd name="T51" fmla="*/ 3 h 442"/>
                <a:gd name="T52" fmla="*/ 107 w 738"/>
                <a:gd name="T53" fmla="*/ 21 h 442"/>
                <a:gd name="T54" fmla="*/ 93 w 738"/>
                <a:gd name="T55" fmla="*/ 57 h 442"/>
                <a:gd name="T56" fmla="*/ 47 w 738"/>
                <a:gd name="T57" fmla="*/ 60 h 442"/>
                <a:gd name="T58" fmla="*/ 14 w 738"/>
                <a:gd name="T59" fmla="*/ 103 h 442"/>
                <a:gd name="T60" fmla="*/ 0 w 738"/>
                <a:gd name="T61" fmla="*/ 153 h 442"/>
                <a:gd name="T62" fmla="*/ 7 w 738"/>
                <a:gd name="T63" fmla="*/ 167 h 442"/>
                <a:gd name="T64" fmla="*/ 79 w 738"/>
                <a:gd name="T65" fmla="*/ 221 h 442"/>
                <a:gd name="T66" fmla="*/ 121 w 738"/>
                <a:gd name="T67" fmla="*/ 281 h 442"/>
                <a:gd name="T68" fmla="*/ 175 w 738"/>
                <a:gd name="T69" fmla="*/ 296 h 442"/>
                <a:gd name="T70" fmla="*/ 232 w 738"/>
                <a:gd name="T71" fmla="*/ 338 h 442"/>
                <a:gd name="T72" fmla="*/ 250 w 738"/>
                <a:gd name="T73" fmla="*/ 342 h 442"/>
                <a:gd name="T74" fmla="*/ 275 w 738"/>
                <a:gd name="T75" fmla="*/ 335 h 442"/>
                <a:gd name="T76" fmla="*/ 289 w 738"/>
                <a:gd name="T77" fmla="*/ 335 h 442"/>
                <a:gd name="T78" fmla="*/ 325 w 738"/>
                <a:gd name="T79" fmla="*/ 349 h 442"/>
                <a:gd name="T80" fmla="*/ 342 w 738"/>
                <a:gd name="T81" fmla="*/ 328 h 442"/>
                <a:gd name="T82" fmla="*/ 385 w 738"/>
                <a:gd name="T83" fmla="*/ 292 h 442"/>
                <a:gd name="T84" fmla="*/ 424 w 738"/>
                <a:gd name="T85" fmla="*/ 313 h 442"/>
                <a:gd name="T86" fmla="*/ 449 w 738"/>
                <a:gd name="T87" fmla="*/ 363 h 44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38"/>
                <a:gd name="T133" fmla="*/ 0 h 442"/>
                <a:gd name="T134" fmla="*/ 738 w 738"/>
                <a:gd name="T135" fmla="*/ 442 h 44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38" h="442">
                  <a:moveTo>
                    <a:pt x="503" y="363"/>
                  </a:moveTo>
                  <a:lnTo>
                    <a:pt x="528" y="349"/>
                  </a:lnTo>
                  <a:lnTo>
                    <a:pt x="553" y="360"/>
                  </a:lnTo>
                  <a:lnTo>
                    <a:pt x="610" y="442"/>
                  </a:lnTo>
                  <a:lnTo>
                    <a:pt x="613" y="442"/>
                  </a:lnTo>
                  <a:lnTo>
                    <a:pt x="628" y="428"/>
                  </a:lnTo>
                  <a:lnTo>
                    <a:pt x="638" y="410"/>
                  </a:lnTo>
                  <a:lnTo>
                    <a:pt x="645" y="392"/>
                  </a:lnTo>
                  <a:lnTo>
                    <a:pt x="649" y="374"/>
                  </a:lnTo>
                  <a:lnTo>
                    <a:pt x="663" y="363"/>
                  </a:lnTo>
                  <a:lnTo>
                    <a:pt x="717" y="363"/>
                  </a:lnTo>
                  <a:lnTo>
                    <a:pt x="720" y="349"/>
                  </a:lnTo>
                  <a:lnTo>
                    <a:pt x="724" y="328"/>
                  </a:lnTo>
                  <a:lnTo>
                    <a:pt x="727" y="303"/>
                  </a:lnTo>
                  <a:lnTo>
                    <a:pt x="738" y="281"/>
                  </a:lnTo>
                  <a:lnTo>
                    <a:pt x="724" y="264"/>
                  </a:lnTo>
                  <a:lnTo>
                    <a:pt x="656" y="242"/>
                  </a:lnTo>
                  <a:lnTo>
                    <a:pt x="656" y="239"/>
                  </a:lnTo>
                  <a:lnTo>
                    <a:pt x="649" y="231"/>
                  </a:lnTo>
                  <a:lnTo>
                    <a:pt x="649" y="221"/>
                  </a:lnTo>
                  <a:lnTo>
                    <a:pt x="653" y="203"/>
                  </a:lnTo>
                  <a:lnTo>
                    <a:pt x="649" y="203"/>
                  </a:lnTo>
                  <a:lnTo>
                    <a:pt x="642" y="203"/>
                  </a:lnTo>
                  <a:lnTo>
                    <a:pt x="624" y="199"/>
                  </a:lnTo>
                  <a:lnTo>
                    <a:pt x="613" y="192"/>
                  </a:lnTo>
                  <a:lnTo>
                    <a:pt x="599" y="182"/>
                  </a:lnTo>
                  <a:lnTo>
                    <a:pt x="585" y="167"/>
                  </a:lnTo>
                  <a:lnTo>
                    <a:pt x="574" y="142"/>
                  </a:lnTo>
                  <a:lnTo>
                    <a:pt x="567" y="132"/>
                  </a:lnTo>
                  <a:lnTo>
                    <a:pt x="556" y="125"/>
                  </a:lnTo>
                  <a:lnTo>
                    <a:pt x="546" y="117"/>
                  </a:lnTo>
                  <a:lnTo>
                    <a:pt x="539" y="110"/>
                  </a:lnTo>
                  <a:lnTo>
                    <a:pt x="514" y="103"/>
                  </a:lnTo>
                  <a:lnTo>
                    <a:pt x="492" y="103"/>
                  </a:lnTo>
                  <a:lnTo>
                    <a:pt x="453" y="107"/>
                  </a:lnTo>
                  <a:lnTo>
                    <a:pt x="439" y="110"/>
                  </a:lnTo>
                  <a:lnTo>
                    <a:pt x="432" y="107"/>
                  </a:lnTo>
                  <a:lnTo>
                    <a:pt x="410" y="82"/>
                  </a:lnTo>
                  <a:lnTo>
                    <a:pt x="396" y="53"/>
                  </a:lnTo>
                  <a:lnTo>
                    <a:pt x="389" y="39"/>
                  </a:lnTo>
                  <a:lnTo>
                    <a:pt x="385" y="25"/>
                  </a:lnTo>
                  <a:lnTo>
                    <a:pt x="382" y="28"/>
                  </a:lnTo>
                  <a:lnTo>
                    <a:pt x="375" y="28"/>
                  </a:lnTo>
                  <a:lnTo>
                    <a:pt x="364" y="25"/>
                  </a:lnTo>
                  <a:lnTo>
                    <a:pt x="346" y="18"/>
                  </a:lnTo>
                  <a:lnTo>
                    <a:pt x="332" y="7"/>
                  </a:lnTo>
                  <a:lnTo>
                    <a:pt x="317" y="3"/>
                  </a:lnTo>
                  <a:lnTo>
                    <a:pt x="300" y="0"/>
                  </a:lnTo>
                  <a:lnTo>
                    <a:pt x="293" y="3"/>
                  </a:lnTo>
                  <a:lnTo>
                    <a:pt x="289" y="7"/>
                  </a:lnTo>
                  <a:lnTo>
                    <a:pt x="293" y="14"/>
                  </a:lnTo>
                  <a:lnTo>
                    <a:pt x="300" y="32"/>
                  </a:lnTo>
                  <a:lnTo>
                    <a:pt x="300" y="39"/>
                  </a:lnTo>
                  <a:lnTo>
                    <a:pt x="296" y="50"/>
                  </a:lnTo>
                  <a:lnTo>
                    <a:pt x="285" y="53"/>
                  </a:lnTo>
                  <a:lnTo>
                    <a:pt x="268" y="57"/>
                  </a:lnTo>
                  <a:lnTo>
                    <a:pt x="260" y="57"/>
                  </a:lnTo>
                  <a:lnTo>
                    <a:pt x="246" y="53"/>
                  </a:lnTo>
                  <a:lnTo>
                    <a:pt x="235" y="46"/>
                  </a:lnTo>
                  <a:lnTo>
                    <a:pt x="228" y="39"/>
                  </a:lnTo>
                  <a:lnTo>
                    <a:pt x="218" y="25"/>
                  </a:lnTo>
                  <a:lnTo>
                    <a:pt x="207" y="7"/>
                  </a:lnTo>
                  <a:lnTo>
                    <a:pt x="203" y="7"/>
                  </a:lnTo>
                  <a:lnTo>
                    <a:pt x="186" y="3"/>
                  </a:lnTo>
                  <a:lnTo>
                    <a:pt x="154" y="3"/>
                  </a:lnTo>
                  <a:lnTo>
                    <a:pt x="107" y="10"/>
                  </a:lnTo>
                  <a:lnTo>
                    <a:pt x="107" y="21"/>
                  </a:lnTo>
                  <a:lnTo>
                    <a:pt x="104" y="32"/>
                  </a:lnTo>
                  <a:lnTo>
                    <a:pt x="100" y="46"/>
                  </a:lnTo>
                  <a:lnTo>
                    <a:pt x="93" y="57"/>
                  </a:lnTo>
                  <a:lnTo>
                    <a:pt x="82" y="64"/>
                  </a:lnTo>
                  <a:lnTo>
                    <a:pt x="68" y="67"/>
                  </a:lnTo>
                  <a:lnTo>
                    <a:pt x="47" y="60"/>
                  </a:lnTo>
                  <a:lnTo>
                    <a:pt x="36" y="71"/>
                  </a:lnTo>
                  <a:lnTo>
                    <a:pt x="14" y="103"/>
                  </a:lnTo>
                  <a:lnTo>
                    <a:pt x="7" y="121"/>
                  </a:lnTo>
                  <a:lnTo>
                    <a:pt x="0" y="139"/>
                  </a:lnTo>
                  <a:lnTo>
                    <a:pt x="0" y="153"/>
                  </a:lnTo>
                  <a:lnTo>
                    <a:pt x="4" y="160"/>
                  </a:lnTo>
                  <a:lnTo>
                    <a:pt x="7" y="167"/>
                  </a:lnTo>
                  <a:lnTo>
                    <a:pt x="43" y="192"/>
                  </a:lnTo>
                  <a:lnTo>
                    <a:pt x="68" y="210"/>
                  </a:lnTo>
                  <a:lnTo>
                    <a:pt x="79" y="221"/>
                  </a:lnTo>
                  <a:lnTo>
                    <a:pt x="82" y="228"/>
                  </a:lnTo>
                  <a:lnTo>
                    <a:pt x="121" y="281"/>
                  </a:lnTo>
                  <a:lnTo>
                    <a:pt x="132" y="281"/>
                  </a:lnTo>
                  <a:lnTo>
                    <a:pt x="161" y="289"/>
                  </a:lnTo>
                  <a:lnTo>
                    <a:pt x="175" y="296"/>
                  </a:lnTo>
                  <a:lnTo>
                    <a:pt x="196" y="306"/>
                  </a:lnTo>
                  <a:lnTo>
                    <a:pt x="214" y="321"/>
                  </a:lnTo>
                  <a:lnTo>
                    <a:pt x="232" y="338"/>
                  </a:lnTo>
                  <a:lnTo>
                    <a:pt x="239" y="342"/>
                  </a:lnTo>
                  <a:lnTo>
                    <a:pt x="250" y="342"/>
                  </a:lnTo>
                  <a:lnTo>
                    <a:pt x="257" y="342"/>
                  </a:lnTo>
                  <a:lnTo>
                    <a:pt x="268" y="338"/>
                  </a:lnTo>
                  <a:lnTo>
                    <a:pt x="275" y="335"/>
                  </a:lnTo>
                  <a:lnTo>
                    <a:pt x="285" y="328"/>
                  </a:lnTo>
                  <a:lnTo>
                    <a:pt x="289" y="335"/>
                  </a:lnTo>
                  <a:lnTo>
                    <a:pt x="307" y="349"/>
                  </a:lnTo>
                  <a:lnTo>
                    <a:pt x="314" y="353"/>
                  </a:lnTo>
                  <a:lnTo>
                    <a:pt x="325" y="349"/>
                  </a:lnTo>
                  <a:lnTo>
                    <a:pt x="335" y="342"/>
                  </a:lnTo>
                  <a:lnTo>
                    <a:pt x="342" y="328"/>
                  </a:lnTo>
                  <a:lnTo>
                    <a:pt x="353" y="310"/>
                  </a:lnTo>
                  <a:lnTo>
                    <a:pt x="367" y="296"/>
                  </a:lnTo>
                  <a:lnTo>
                    <a:pt x="385" y="292"/>
                  </a:lnTo>
                  <a:lnTo>
                    <a:pt x="399" y="292"/>
                  </a:lnTo>
                  <a:lnTo>
                    <a:pt x="414" y="299"/>
                  </a:lnTo>
                  <a:lnTo>
                    <a:pt x="424" y="313"/>
                  </a:lnTo>
                  <a:lnTo>
                    <a:pt x="435" y="331"/>
                  </a:lnTo>
                  <a:lnTo>
                    <a:pt x="439" y="353"/>
                  </a:lnTo>
                  <a:lnTo>
                    <a:pt x="449" y="363"/>
                  </a:lnTo>
                  <a:lnTo>
                    <a:pt x="474" y="356"/>
                  </a:lnTo>
                  <a:lnTo>
                    <a:pt x="503" y="363"/>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4" name="Freeform 30"/>
            <p:cNvSpPr>
              <a:spLocks/>
            </p:cNvSpPr>
            <p:nvPr/>
          </p:nvSpPr>
          <p:spPr bwMode="auto">
            <a:xfrm>
              <a:off x="2699" y="1283"/>
              <a:ext cx="623" cy="549"/>
            </a:xfrm>
            <a:custGeom>
              <a:avLst/>
              <a:gdLst>
                <a:gd name="T0" fmla="*/ 513 w 623"/>
                <a:gd name="T1" fmla="*/ 524 h 549"/>
                <a:gd name="T2" fmla="*/ 470 w 623"/>
                <a:gd name="T3" fmla="*/ 474 h 549"/>
                <a:gd name="T4" fmla="*/ 449 w 623"/>
                <a:gd name="T5" fmla="*/ 449 h 549"/>
                <a:gd name="T6" fmla="*/ 442 w 623"/>
                <a:gd name="T7" fmla="*/ 421 h 549"/>
                <a:gd name="T8" fmla="*/ 427 w 623"/>
                <a:gd name="T9" fmla="*/ 403 h 549"/>
                <a:gd name="T10" fmla="*/ 378 w 623"/>
                <a:gd name="T11" fmla="*/ 382 h 549"/>
                <a:gd name="T12" fmla="*/ 313 w 623"/>
                <a:gd name="T13" fmla="*/ 375 h 549"/>
                <a:gd name="T14" fmla="*/ 256 w 623"/>
                <a:gd name="T15" fmla="*/ 371 h 549"/>
                <a:gd name="T16" fmla="*/ 214 w 623"/>
                <a:gd name="T17" fmla="*/ 357 h 549"/>
                <a:gd name="T18" fmla="*/ 181 w 623"/>
                <a:gd name="T19" fmla="*/ 332 h 549"/>
                <a:gd name="T20" fmla="*/ 153 w 623"/>
                <a:gd name="T21" fmla="*/ 300 h 549"/>
                <a:gd name="T22" fmla="*/ 117 w 623"/>
                <a:gd name="T23" fmla="*/ 264 h 549"/>
                <a:gd name="T24" fmla="*/ 67 w 623"/>
                <a:gd name="T25" fmla="*/ 203 h 549"/>
                <a:gd name="T26" fmla="*/ 64 w 623"/>
                <a:gd name="T27" fmla="*/ 196 h 549"/>
                <a:gd name="T28" fmla="*/ 32 w 623"/>
                <a:gd name="T29" fmla="*/ 179 h 549"/>
                <a:gd name="T30" fmla="*/ 14 w 623"/>
                <a:gd name="T31" fmla="*/ 150 h 549"/>
                <a:gd name="T32" fmla="*/ 32 w 623"/>
                <a:gd name="T33" fmla="*/ 129 h 549"/>
                <a:gd name="T34" fmla="*/ 64 w 623"/>
                <a:gd name="T35" fmla="*/ 104 h 549"/>
                <a:gd name="T36" fmla="*/ 85 w 623"/>
                <a:gd name="T37" fmla="*/ 86 h 549"/>
                <a:gd name="T38" fmla="*/ 114 w 623"/>
                <a:gd name="T39" fmla="*/ 29 h 549"/>
                <a:gd name="T40" fmla="*/ 139 w 623"/>
                <a:gd name="T41" fmla="*/ 0 h 549"/>
                <a:gd name="T42" fmla="*/ 203 w 623"/>
                <a:gd name="T43" fmla="*/ 100 h 549"/>
                <a:gd name="T44" fmla="*/ 231 w 623"/>
                <a:gd name="T45" fmla="*/ 107 h 549"/>
                <a:gd name="T46" fmla="*/ 278 w 623"/>
                <a:gd name="T47" fmla="*/ 111 h 549"/>
                <a:gd name="T48" fmla="*/ 292 w 623"/>
                <a:gd name="T49" fmla="*/ 104 h 549"/>
                <a:gd name="T50" fmla="*/ 338 w 623"/>
                <a:gd name="T51" fmla="*/ 86 h 549"/>
                <a:gd name="T52" fmla="*/ 349 w 623"/>
                <a:gd name="T53" fmla="*/ 93 h 549"/>
                <a:gd name="T54" fmla="*/ 360 w 623"/>
                <a:gd name="T55" fmla="*/ 118 h 549"/>
                <a:gd name="T56" fmla="*/ 381 w 623"/>
                <a:gd name="T57" fmla="*/ 143 h 549"/>
                <a:gd name="T58" fmla="*/ 410 w 623"/>
                <a:gd name="T59" fmla="*/ 164 h 549"/>
                <a:gd name="T60" fmla="*/ 424 w 623"/>
                <a:gd name="T61" fmla="*/ 164 h 549"/>
                <a:gd name="T62" fmla="*/ 438 w 623"/>
                <a:gd name="T63" fmla="*/ 175 h 549"/>
                <a:gd name="T64" fmla="*/ 438 w 623"/>
                <a:gd name="T65" fmla="*/ 193 h 549"/>
                <a:gd name="T66" fmla="*/ 435 w 623"/>
                <a:gd name="T67" fmla="*/ 221 h 549"/>
                <a:gd name="T68" fmla="*/ 456 w 623"/>
                <a:gd name="T69" fmla="*/ 250 h 549"/>
                <a:gd name="T70" fmla="*/ 474 w 623"/>
                <a:gd name="T71" fmla="*/ 293 h 549"/>
                <a:gd name="T72" fmla="*/ 477 w 623"/>
                <a:gd name="T73" fmla="*/ 307 h 549"/>
                <a:gd name="T74" fmla="*/ 484 w 623"/>
                <a:gd name="T75" fmla="*/ 328 h 549"/>
                <a:gd name="T76" fmla="*/ 506 w 623"/>
                <a:gd name="T77" fmla="*/ 343 h 549"/>
                <a:gd name="T78" fmla="*/ 541 w 623"/>
                <a:gd name="T79" fmla="*/ 353 h 549"/>
                <a:gd name="T80" fmla="*/ 545 w 623"/>
                <a:gd name="T81" fmla="*/ 353 h 549"/>
                <a:gd name="T82" fmla="*/ 559 w 623"/>
                <a:gd name="T83" fmla="*/ 382 h 549"/>
                <a:gd name="T84" fmla="*/ 577 w 623"/>
                <a:gd name="T85" fmla="*/ 400 h 549"/>
                <a:gd name="T86" fmla="*/ 609 w 623"/>
                <a:gd name="T87" fmla="*/ 403 h 549"/>
                <a:gd name="T88" fmla="*/ 623 w 623"/>
                <a:gd name="T89" fmla="*/ 471 h 549"/>
                <a:gd name="T90" fmla="*/ 620 w 623"/>
                <a:gd name="T91" fmla="*/ 478 h 549"/>
                <a:gd name="T92" fmla="*/ 613 w 623"/>
                <a:gd name="T93" fmla="*/ 496 h 549"/>
                <a:gd name="T94" fmla="*/ 609 w 623"/>
                <a:gd name="T95" fmla="*/ 546 h 549"/>
                <a:gd name="T96" fmla="*/ 606 w 623"/>
                <a:gd name="T97" fmla="*/ 549 h 549"/>
                <a:gd name="T98" fmla="*/ 588 w 623"/>
                <a:gd name="T99" fmla="*/ 546 h 549"/>
                <a:gd name="T100" fmla="*/ 570 w 623"/>
                <a:gd name="T101" fmla="*/ 539 h 549"/>
                <a:gd name="T102" fmla="*/ 524 w 623"/>
                <a:gd name="T103" fmla="*/ 521 h 549"/>
                <a:gd name="T104" fmla="*/ 513 w 623"/>
                <a:gd name="T105" fmla="*/ 524 h 54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23"/>
                <a:gd name="T160" fmla="*/ 0 h 549"/>
                <a:gd name="T161" fmla="*/ 623 w 623"/>
                <a:gd name="T162" fmla="*/ 549 h 549"/>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23" h="549">
                  <a:moveTo>
                    <a:pt x="513" y="524"/>
                  </a:moveTo>
                  <a:lnTo>
                    <a:pt x="513" y="524"/>
                  </a:lnTo>
                  <a:lnTo>
                    <a:pt x="492" y="499"/>
                  </a:lnTo>
                  <a:lnTo>
                    <a:pt x="470" y="474"/>
                  </a:lnTo>
                  <a:lnTo>
                    <a:pt x="449" y="449"/>
                  </a:lnTo>
                  <a:lnTo>
                    <a:pt x="445" y="435"/>
                  </a:lnTo>
                  <a:lnTo>
                    <a:pt x="442" y="421"/>
                  </a:lnTo>
                  <a:lnTo>
                    <a:pt x="435" y="414"/>
                  </a:lnTo>
                  <a:lnTo>
                    <a:pt x="427" y="403"/>
                  </a:lnTo>
                  <a:lnTo>
                    <a:pt x="402" y="392"/>
                  </a:lnTo>
                  <a:lnTo>
                    <a:pt x="378" y="382"/>
                  </a:lnTo>
                  <a:lnTo>
                    <a:pt x="345" y="378"/>
                  </a:lnTo>
                  <a:lnTo>
                    <a:pt x="313" y="375"/>
                  </a:lnTo>
                  <a:lnTo>
                    <a:pt x="256" y="371"/>
                  </a:lnTo>
                  <a:lnTo>
                    <a:pt x="235" y="364"/>
                  </a:lnTo>
                  <a:lnTo>
                    <a:pt x="214" y="357"/>
                  </a:lnTo>
                  <a:lnTo>
                    <a:pt x="196" y="346"/>
                  </a:lnTo>
                  <a:lnTo>
                    <a:pt x="181" y="332"/>
                  </a:lnTo>
                  <a:lnTo>
                    <a:pt x="160" y="310"/>
                  </a:lnTo>
                  <a:lnTo>
                    <a:pt x="153" y="300"/>
                  </a:lnTo>
                  <a:lnTo>
                    <a:pt x="117" y="264"/>
                  </a:lnTo>
                  <a:lnTo>
                    <a:pt x="89" y="232"/>
                  </a:lnTo>
                  <a:lnTo>
                    <a:pt x="67" y="203"/>
                  </a:lnTo>
                  <a:lnTo>
                    <a:pt x="64" y="196"/>
                  </a:lnTo>
                  <a:lnTo>
                    <a:pt x="53" y="189"/>
                  </a:lnTo>
                  <a:lnTo>
                    <a:pt x="32" y="179"/>
                  </a:lnTo>
                  <a:lnTo>
                    <a:pt x="0" y="168"/>
                  </a:lnTo>
                  <a:lnTo>
                    <a:pt x="14" y="150"/>
                  </a:lnTo>
                  <a:lnTo>
                    <a:pt x="32" y="129"/>
                  </a:lnTo>
                  <a:lnTo>
                    <a:pt x="46" y="114"/>
                  </a:lnTo>
                  <a:lnTo>
                    <a:pt x="64" y="104"/>
                  </a:lnTo>
                  <a:lnTo>
                    <a:pt x="85" y="86"/>
                  </a:lnTo>
                  <a:lnTo>
                    <a:pt x="99" y="54"/>
                  </a:lnTo>
                  <a:lnTo>
                    <a:pt x="114" y="29"/>
                  </a:lnTo>
                  <a:lnTo>
                    <a:pt x="128" y="11"/>
                  </a:lnTo>
                  <a:lnTo>
                    <a:pt x="139" y="0"/>
                  </a:lnTo>
                  <a:lnTo>
                    <a:pt x="203" y="100"/>
                  </a:lnTo>
                  <a:lnTo>
                    <a:pt x="210" y="104"/>
                  </a:lnTo>
                  <a:lnTo>
                    <a:pt x="231" y="107"/>
                  </a:lnTo>
                  <a:lnTo>
                    <a:pt x="263" y="111"/>
                  </a:lnTo>
                  <a:lnTo>
                    <a:pt x="278" y="111"/>
                  </a:lnTo>
                  <a:lnTo>
                    <a:pt x="292" y="104"/>
                  </a:lnTo>
                  <a:lnTo>
                    <a:pt x="317" y="93"/>
                  </a:lnTo>
                  <a:lnTo>
                    <a:pt x="338" y="86"/>
                  </a:lnTo>
                  <a:lnTo>
                    <a:pt x="345" y="86"/>
                  </a:lnTo>
                  <a:lnTo>
                    <a:pt x="349" y="93"/>
                  </a:lnTo>
                  <a:lnTo>
                    <a:pt x="356" y="104"/>
                  </a:lnTo>
                  <a:lnTo>
                    <a:pt x="360" y="118"/>
                  </a:lnTo>
                  <a:lnTo>
                    <a:pt x="381" y="143"/>
                  </a:lnTo>
                  <a:lnTo>
                    <a:pt x="399" y="157"/>
                  </a:lnTo>
                  <a:lnTo>
                    <a:pt x="410" y="164"/>
                  </a:lnTo>
                  <a:lnTo>
                    <a:pt x="424" y="164"/>
                  </a:lnTo>
                  <a:lnTo>
                    <a:pt x="431" y="168"/>
                  </a:lnTo>
                  <a:lnTo>
                    <a:pt x="438" y="175"/>
                  </a:lnTo>
                  <a:lnTo>
                    <a:pt x="438" y="182"/>
                  </a:lnTo>
                  <a:lnTo>
                    <a:pt x="438" y="193"/>
                  </a:lnTo>
                  <a:lnTo>
                    <a:pt x="435" y="211"/>
                  </a:lnTo>
                  <a:lnTo>
                    <a:pt x="435" y="221"/>
                  </a:lnTo>
                  <a:lnTo>
                    <a:pt x="456" y="250"/>
                  </a:lnTo>
                  <a:lnTo>
                    <a:pt x="470" y="275"/>
                  </a:lnTo>
                  <a:lnTo>
                    <a:pt x="474" y="293"/>
                  </a:lnTo>
                  <a:lnTo>
                    <a:pt x="477" y="307"/>
                  </a:lnTo>
                  <a:lnTo>
                    <a:pt x="481" y="318"/>
                  </a:lnTo>
                  <a:lnTo>
                    <a:pt x="484" y="328"/>
                  </a:lnTo>
                  <a:lnTo>
                    <a:pt x="495" y="335"/>
                  </a:lnTo>
                  <a:lnTo>
                    <a:pt x="506" y="343"/>
                  </a:lnTo>
                  <a:lnTo>
                    <a:pt x="527" y="350"/>
                  </a:lnTo>
                  <a:lnTo>
                    <a:pt x="541" y="353"/>
                  </a:lnTo>
                  <a:lnTo>
                    <a:pt x="545" y="353"/>
                  </a:lnTo>
                  <a:lnTo>
                    <a:pt x="549" y="360"/>
                  </a:lnTo>
                  <a:lnTo>
                    <a:pt x="559" y="382"/>
                  </a:lnTo>
                  <a:lnTo>
                    <a:pt x="566" y="389"/>
                  </a:lnTo>
                  <a:lnTo>
                    <a:pt x="577" y="400"/>
                  </a:lnTo>
                  <a:lnTo>
                    <a:pt x="591" y="403"/>
                  </a:lnTo>
                  <a:lnTo>
                    <a:pt x="609" y="403"/>
                  </a:lnTo>
                  <a:lnTo>
                    <a:pt x="623" y="417"/>
                  </a:lnTo>
                  <a:lnTo>
                    <a:pt x="623" y="471"/>
                  </a:lnTo>
                  <a:lnTo>
                    <a:pt x="620" y="478"/>
                  </a:lnTo>
                  <a:lnTo>
                    <a:pt x="613" y="496"/>
                  </a:lnTo>
                  <a:lnTo>
                    <a:pt x="609" y="521"/>
                  </a:lnTo>
                  <a:lnTo>
                    <a:pt x="609" y="546"/>
                  </a:lnTo>
                  <a:lnTo>
                    <a:pt x="606" y="549"/>
                  </a:lnTo>
                  <a:lnTo>
                    <a:pt x="599" y="549"/>
                  </a:lnTo>
                  <a:lnTo>
                    <a:pt x="588" y="546"/>
                  </a:lnTo>
                  <a:lnTo>
                    <a:pt x="570" y="539"/>
                  </a:lnTo>
                  <a:lnTo>
                    <a:pt x="541" y="524"/>
                  </a:lnTo>
                  <a:lnTo>
                    <a:pt x="524" y="521"/>
                  </a:lnTo>
                  <a:lnTo>
                    <a:pt x="517" y="524"/>
                  </a:lnTo>
                  <a:lnTo>
                    <a:pt x="513" y="524"/>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5" name="Freeform 31"/>
            <p:cNvSpPr>
              <a:spLocks/>
            </p:cNvSpPr>
            <p:nvPr/>
          </p:nvSpPr>
          <p:spPr bwMode="auto">
            <a:xfrm>
              <a:off x="2442" y="1451"/>
              <a:ext cx="777" cy="634"/>
            </a:xfrm>
            <a:custGeom>
              <a:avLst/>
              <a:gdLst>
                <a:gd name="T0" fmla="*/ 53 w 777"/>
                <a:gd name="T1" fmla="*/ 435 h 634"/>
                <a:gd name="T2" fmla="*/ 61 w 777"/>
                <a:gd name="T3" fmla="*/ 478 h 634"/>
                <a:gd name="T4" fmla="*/ 28 w 777"/>
                <a:gd name="T5" fmla="*/ 552 h 634"/>
                <a:gd name="T6" fmla="*/ 18 w 777"/>
                <a:gd name="T7" fmla="*/ 599 h 634"/>
                <a:gd name="T8" fmla="*/ 50 w 777"/>
                <a:gd name="T9" fmla="*/ 602 h 634"/>
                <a:gd name="T10" fmla="*/ 118 w 777"/>
                <a:gd name="T11" fmla="*/ 581 h 634"/>
                <a:gd name="T12" fmla="*/ 160 w 777"/>
                <a:gd name="T13" fmla="*/ 599 h 634"/>
                <a:gd name="T14" fmla="*/ 171 w 777"/>
                <a:gd name="T15" fmla="*/ 631 h 634"/>
                <a:gd name="T16" fmla="*/ 189 w 777"/>
                <a:gd name="T17" fmla="*/ 631 h 634"/>
                <a:gd name="T18" fmla="*/ 239 w 777"/>
                <a:gd name="T19" fmla="*/ 592 h 634"/>
                <a:gd name="T20" fmla="*/ 282 w 777"/>
                <a:gd name="T21" fmla="*/ 542 h 634"/>
                <a:gd name="T22" fmla="*/ 349 w 777"/>
                <a:gd name="T23" fmla="*/ 510 h 634"/>
                <a:gd name="T24" fmla="*/ 413 w 777"/>
                <a:gd name="T25" fmla="*/ 513 h 634"/>
                <a:gd name="T26" fmla="*/ 431 w 777"/>
                <a:gd name="T27" fmla="*/ 531 h 634"/>
                <a:gd name="T28" fmla="*/ 463 w 777"/>
                <a:gd name="T29" fmla="*/ 549 h 634"/>
                <a:gd name="T30" fmla="*/ 481 w 777"/>
                <a:gd name="T31" fmla="*/ 513 h 634"/>
                <a:gd name="T32" fmla="*/ 481 w 777"/>
                <a:gd name="T33" fmla="*/ 485 h 634"/>
                <a:gd name="T34" fmla="*/ 517 w 777"/>
                <a:gd name="T35" fmla="*/ 424 h 634"/>
                <a:gd name="T36" fmla="*/ 545 w 777"/>
                <a:gd name="T37" fmla="*/ 420 h 634"/>
                <a:gd name="T38" fmla="*/ 577 w 777"/>
                <a:gd name="T39" fmla="*/ 399 h 634"/>
                <a:gd name="T40" fmla="*/ 588 w 777"/>
                <a:gd name="T41" fmla="*/ 363 h 634"/>
                <a:gd name="T42" fmla="*/ 667 w 777"/>
                <a:gd name="T43" fmla="*/ 356 h 634"/>
                <a:gd name="T44" fmla="*/ 688 w 777"/>
                <a:gd name="T45" fmla="*/ 363 h 634"/>
                <a:gd name="T46" fmla="*/ 716 w 777"/>
                <a:gd name="T47" fmla="*/ 403 h 634"/>
                <a:gd name="T48" fmla="*/ 749 w 777"/>
                <a:gd name="T49" fmla="*/ 410 h 634"/>
                <a:gd name="T50" fmla="*/ 774 w 777"/>
                <a:gd name="T51" fmla="*/ 403 h 634"/>
                <a:gd name="T52" fmla="*/ 774 w 777"/>
                <a:gd name="T53" fmla="*/ 367 h 634"/>
                <a:gd name="T54" fmla="*/ 749 w 777"/>
                <a:gd name="T55" fmla="*/ 331 h 634"/>
                <a:gd name="T56" fmla="*/ 702 w 777"/>
                <a:gd name="T57" fmla="*/ 281 h 634"/>
                <a:gd name="T58" fmla="*/ 692 w 777"/>
                <a:gd name="T59" fmla="*/ 246 h 634"/>
                <a:gd name="T60" fmla="*/ 631 w 777"/>
                <a:gd name="T61" fmla="*/ 214 h 634"/>
                <a:gd name="T62" fmla="*/ 513 w 777"/>
                <a:gd name="T63" fmla="*/ 203 h 634"/>
                <a:gd name="T64" fmla="*/ 471 w 777"/>
                <a:gd name="T65" fmla="*/ 189 h 634"/>
                <a:gd name="T66" fmla="*/ 413 w 777"/>
                <a:gd name="T67" fmla="*/ 142 h 634"/>
                <a:gd name="T68" fmla="*/ 371 w 777"/>
                <a:gd name="T69" fmla="*/ 96 h 634"/>
                <a:gd name="T70" fmla="*/ 324 w 777"/>
                <a:gd name="T71" fmla="*/ 39 h 634"/>
                <a:gd name="T72" fmla="*/ 285 w 777"/>
                <a:gd name="T73" fmla="*/ 11 h 634"/>
                <a:gd name="T74" fmla="*/ 232 w 777"/>
                <a:gd name="T75" fmla="*/ 28 h 634"/>
                <a:gd name="T76" fmla="*/ 217 w 777"/>
                <a:gd name="T77" fmla="*/ 57 h 634"/>
                <a:gd name="T78" fmla="*/ 196 w 777"/>
                <a:gd name="T79" fmla="*/ 171 h 634"/>
                <a:gd name="T80" fmla="*/ 175 w 777"/>
                <a:gd name="T81" fmla="*/ 235 h 634"/>
                <a:gd name="T82" fmla="*/ 139 w 777"/>
                <a:gd name="T83" fmla="*/ 274 h 634"/>
                <a:gd name="T84" fmla="*/ 28 w 777"/>
                <a:gd name="T85" fmla="*/ 303 h 634"/>
                <a:gd name="T86" fmla="*/ 11 w 777"/>
                <a:gd name="T87" fmla="*/ 353 h 634"/>
                <a:gd name="T88" fmla="*/ 43 w 777"/>
                <a:gd name="T89" fmla="*/ 420 h 63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77"/>
                <a:gd name="T136" fmla="*/ 0 h 634"/>
                <a:gd name="T137" fmla="*/ 777 w 777"/>
                <a:gd name="T138" fmla="*/ 634 h 63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77" h="634">
                  <a:moveTo>
                    <a:pt x="43" y="420"/>
                  </a:moveTo>
                  <a:lnTo>
                    <a:pt x="43" y="420"/>
                  </a:lnTo>
                  <a:lnTo>
                    <a:pt x="53" y="435"/>
                  </a:lnTo>
                  <a:lnTo>
                    <a:pt x="61" y="449"/>
                  </a:lnTo>
                  <a:lnTo>
                    <a:pt x="61" y="463"/>
                  </a:lnTo>
                  <a:lnTo>
                    <a:pt x="61" y="478"/>
                  </a:lnTo>
                  <a:lnTo>
                    <a:pt x="46" y="510"/>
                  </a:lnTo>
                  <a:lnTo>
                    <a:pt x="28" y="552"/>
                  </a:lnTo>
                  <a:lnTo>
                    <a:pt x="21" y="574"/>
                  </a:lnTo>
                  <a:lnTo>
                    <a:pt x="18" y="592"/>
                  </a:lnTo>
                  <a:lnTo>
                    <a:pt x="18" y="599"/>
                  </a:lnTo>
                  <a:lnTo>
                    <a:pt x="25" y="606"/>
                  </a:lnTo>
                  <a:lnTo>
                    <a:pt x="36" y="606"/>
                  </a:lnTo>
                  <a:lnTo>
                    <a:pt x="50" y="602"/>
                  </a:lnTo>
                  <a:lnTo>
                    <a:pt x="93" y="588"/>
                  </a:lnTo>
                  <a:lnTo>
                    <a:pt x="118" y="581"/>
                  </a:lnTo>
                  <a:lnTo>
                    <a:pt x="135" y="581"/>
                  </a:lnTo>
                  <a:lnTo>
                    <a:pt x="150" y="588"/>
                  </a:lnTo>
                  <a:lnTo>
                    <a:pt x="160" y="599"/>
                  </a:lnTo>
                  <a:lnTo>
                    <a:pt x="168" y="609"/>
                  </a:lnTo>
                  <a:lnTo>
                    <a:pt x="171" y="620"/>
                  </a:lnTo>
                  <a:lnTo>
                    <a:pt x="171" y="631"/>
                  </a:lnTo>
                  <a:lnTo>
                    <a:pt x="182" y="634"/>
                  </a:lnTo>
                  <a:lnTo>
                    <a:pt x="189" y="631"/>
                  </a:lnTo>
                  <a:lnTo>
                    <a:pt x="200" y="627"/>
                  </a:lnTo>
                  <a:lnTo>
                    <a:pt x="214" y="617"/>
                  </a:lnTo>
                  <a:lnTo>
                    <a:pt x="239" y="592"/>
                  </a:lnTo>
                  <a:lnTo>
                    <a:pt x="264" y="560"/>
                  </a:lnTo>
                  <a:lnTo>
                    <a:pt x="282" y="542"/>
                  </a:lnTo>
                  <a:lnTo>
                    <a:pt x="303" y="527"/>
                  </a:lnTo>
                  <a:lnTo>
                    <a:pt x="324" y="517"/>
                  </a:lnTo>
                  <a:lnTo>
                    <a:pt x="349" y="510"/>
                  </a:lnTo>
                  <a:lnTo>
                    <a:pt x="374" y="502"/>
                  </a:lnTo>
                  <a:lnTo>
                    <a:pt x="396" y="506"/>
                  </a:lnTo>
                  <a:lnTo>
                    <a:pt x="413" y="513"/>
                  </a:lnTo>
                  <a:lnTo>
                    <a:pt x="424" y="520"/>
                  </a:lnTo>
                  <a:lnTo>
                    <a:pt x="431" y="531"/>
                  </a:lnTo>
                  <a:lnTo>
                    <a:pt x="442" y="545"/>
                  </a:lnTo>
                  <a:lnTo>
                    <a:pt x="453" y="549"/>
                  </a:lnTo>
                  <a:lnTo>
                    <a:pt x="463" y="549"/>
                  </a:lnTo>
                  <a:lnTo>
                    <a:pt x="471" y="542"/>
                  </a:lnTo>
                  <a:lnTo>
                    <a:pt x="478" y="524"/>
                  </a:lnTo>
                  <a:lnTo>
                    <a:pt x="481" y="513"/>
                  </a:lnTo>
                  <a:lnTo>
                    <a:pt x="478" y="499"/>
                  </a:lnTo>
                  <a:lnTo>
                    <a:pt x="481" y="485"/>
                  </a:lnTo>
                  <a:lnTo>
                    <a:pt x="488" y="467"/>
                  </a:lnTo>
                  <a:lnTo>
                    <a:pt x="499" y="449"/>
                  </a:lnTo>
                  <a:lnTo>
                    <a:pt x="517" y="424"/>
                  </a:lnTo>
                  <a:lnTo>
                    <a:pt x="528" y="413"/>
                  </a:lnTo>
                  <a:lnTo>
                    <a:pt x="545" y="420"/>
                  </a:lnTo>
                  <a:lnTo>
                    <a:pt x="560" y="417"/>
                  </a:lnTo>
                  <a:lnTo>
                    <a:pt x="570" y="410"/>
                  </a:lnTo>
                  <a:lnTo>
                    <a:pt x="577" y="399"/>
                  </a:lnTo>
                  <a:lnTo>
                    <a:pt x="585" y="388"/>
                  </a:lnTo>
                  <a:lnTo>
                    <a:pt x="585" y="374"/>
                  </a:lnTo>
                  <a:lnTo>
                    <a:pt x="588" y="363"/>
                  </a:lnTo>
                  <a:lnTo>
                    <a:pt x="635" y="360"/>
                  </a:lnTo>
                  <a:lnTo>
                    <a:pt x="667" y="356"/>
                  </a:lnTo>
                  <a:lnTo>
                    <a:pt x="681" y="360"/>
                  </a:lnTo>
                  <a:lnTo>
                    <a:pt x="688" y="363"/>
                  </a:lnTo>
                  <a:lnTo>
                    <a:pt x="699" y="378"/>
                  </a:lnTo>
                  <a:lnTo>
                    <a:pt x="706" y="392"/>
                  </a:lnTo>
                  <a:lnTo>
                    <a:pt x="716" y="403"/>
                  </a:lnTo>
                  <a:lnTo>
                    <a:pt x="727" y="406"/>
                  </a:lnTo>
                  <a:lnTo>
                    <a:pt x="741" y="410"/>
                  </a:lnTo>
                  <a:lnTo>
                    <a:pt x="749" y="410"/>
                  </a:lnTo>
                  <a:lnTo>
                    <a:pt x="763" y="406"/>
                  </a:lnTo>
                  <a:lnTo>
                    <a:pt x="774" y="403"/>
                  </a:lnTo>
                  <a:lnTo>
                    <a:pt x="777" y="392"/>
                  </a:lnTo>
                  <a:lnTo>
                    <a:pt x="777" y="385"/>
                  </a:lnTo>
                  <a:lnTo>
                    <a:pt x="774" y="367"/>
                  </a:lnTo>
                  <a:lnTo>
                    <a:pt x="766" y="356"/>
                  </a:lnTo>
                  <a:lnTo>
                    <a:pt x="749" y="331"/>
                  </a:lnTo>
                  <a:lnTo>
                    <a:pt x="727" y="306"/>
                  </a:lnTo>
                  <a:lnTo>
                    <a:pt x="702" y="281"/>
                  </a:lnTo>
                  <a:lnTo>
                    <a:pt x="702" y="267"/>
                  </a:lnTo>
                  <a:lnTo>
                    <a:pt x="695" y="257"/>
                  </a:lnTo>
                  <a:lnTo>
                    <a:pt x="692" y="246"/>
                  </a:lnTo>
                  <a:lnTo>
                    <a:pt x="681" y="235"/>
                  </a:lnTo>
                  <a:lnTo>
                    <a:pt x="659" y="224"/>
                  </a:lnTo>
                  <a:lnTo>
                    <a:pt x="631" y="214"/>
                  </a:lnTo>
                  <a:lnTo>
                    <a:pt x="602" y="210"/>
                  </a:lnTo>
                  <a:lnTo>
                    <a:pt x="570" y="207"/>
                  </a:lnTo>
                  <a:lnTo>
                    <a:pt x="513" y="203"/>
                  </a:lnTo>
                  <a:lnTo>
                    <a:pt x="492" y="199"/>
                  </a:lnTo>
                  <a:lnTo>
                    <a:pt x="471" y="189"/>
                  </a:lnTo>
                  <a:lnTo>
                    <a:pt x="453" y="178"/>
                  </a:lnTo>
                  <a:lnTo>
                    <a:pt x="435" y="167"/>
                  </a:lnTo>
                  <a:lnTo>
                    <a:pt x="413" y="142"/>
                  </a:lnTo>
                  <a:lnTo>
                    <a:pt x="406" y="132"/>
                  </a:lnTo>
                  <a:lnTo>
                    <a:pt x="371" y="96"/>
                  </a:lnTo>
                  <a:lnTo>
                    <a:pt x="346" y="64"/>
                  </a:lnTo>
                  <a:lnTo>
                    <a:pt x="324" y="39"/>
                  </a:lnTo>
                  <a:lnTo>
                    <a:pt x="317" y="28"/>
                  </a:lnTo>
                  <a:lnTo>
                    <a:pt x="307" y="21"/>
                  </a:lnTo>
                  <a:lnTo>
                    <a:pt x="285" y="11"/>
                  </a:lnTo>
                  <a:lnTo>
                    <a:pt x="257" y="0"/>
                  </a:lnTo>
                  <a:lnTo>
                    <a:pt x="232" y="28"/>
                  </a:lnTo>
                  <a:lnTo>
                    <a:pt x="225" y="43"/>
                  </a:lnTo>
                  <a:lnTo>
                    <a:pt x="217" y="57"/>
                  </a:lnTo>
                  <a:lnTo>
                    <a:pt x="207" y="125"/>
                  </a:lnTo>
                  <a:lnTo>
                    <a:pt x="196" y="171"/>
                  </a:lnTo>
                  <a:lnTo>
                    <a:pt x="192" y="185"/>
                  </a:lnTo>
                  <a:lnTo>
                    <a:pt x="182" y="217"/>
                  </a:lnTo>
                  <a:lnTo>
                    <a:pt x="175" y="235"/>
                  </a:lnTo>
                  <a:lnTo>
                    <a:pt x="168" y="253"/>
                  </a:lnTo>
                  <a:lnTo>
                    <a:pt x="153" y="267"/>
                  </a:lnTo>
                  <a:lnTo>
                    <a:pt x="139" y="274"/>
                  </a:lnTo>
                  <a:lnTo>
                    <a:pt x="68" y="292"/>
                  </a:lnTo>
                  <a:lnTo>
                    <a:pt x="28" y="303"/>
                  </a:lnTo>
                  <a:lnTo>
                    <a:pt x="0" y="314"/>
                  </a:lnTo>
                  <a:lnTo>
                    <a:pt x="11" y="353"/>
                  </a:lnTo>
                  <a:lnTo>
                    <a:pt x="25" y="385"/>
                  </a:lnTo>
                  <a:lnTo>
                    <a:pt x="32" y="403"/>
                  </a:lnTo>
                  <a:lnTo>
                    <a:pt x="43" y="420"/>
                  </a:lnTo>
                  <a:close/>
                </a:path>
              </a:pathLst>
            </a:custGeom>
            <a:solidFill>
              <a:srgbClr val="FFFFCC"/>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6" name="Freeform 32"/>
            <p:cNvSpPr>
              <a:spLocks/>
            </p:cNvSpPr>
            <p:nvPr/>
          </p:nvSpPr>
          <p:spPr bwMode="auto">
            <a:xfrm>
              <a:off x="2410" y="2082"/>
              <a:ext cx="203" cy="392"/>
            </a:xfrm>
            <a:custGeom>
              <a:avLst/>
              <a:gdLst>
                <a:gd name="T0" fmla="*/ 43 w 203"/>
                <a:gd name="T1" fmla="*/ 392 h 392"/>
                <a:gd name="T2" fmla="*/ 43 w 203"/>
                <a:gd name="T3" fmla="*/ 392 h 392"/>
                <a:gd name="T4" fmla="*/ 32 w 203"/>
                <a:gd name="T5" fmla="*/ 381 h 392"/>
                <a:gd name="T6" fmla="*/ 11 w 203"/>
                <a:gd name="T7" fmla="*/ 360 h 392"/>
                <a:gd name="T8" fmla="*/ 3 w 203"/>
                <a:gd name="T9" fmla="*/ 349 h 392"/>
                <a:gd name="T10" fmla="*/ 0 w 203"/>
                <a:gd name="T11" fmla="*/ 335 h 392"/>
                <a:gd name="T12" fmla="*/ 0 w 203"/>
                <a:gd name="T13" fmla="*/ 328 h 392"/>
                <a:gd name="T14" fmla="*/ 3 w 203"/>
                <a:gd name="T15" fmla="*/ 321 h 392"/>
                <a:gd name="T16" fmla="*/ 11 w 203"/>
                <a:gd name="T17" fmla="*/ 314 h 392"/>
                <a:gd name="T18" fmla="*/ 18 w 203"/>
                <a:gd name="T19" fmla="*/ 306 h 392"/>
                <a:gd name="T20" fmla="*/ 18 w 203"/>
                <a:gd name="T21" fmla="*/ 306 h 392"/>
                <a:gd name="T22" fmla="*/ 25 w 203"/>
                <a:gd name="T23" fmla="*/ 292 h 392"/>
                <a:gd name="T24" fmla="*/ 28 w 203"/>
                <a:gd name="T25" fmla="*/ 274 h 392"/>
                <a:gd name="T26" fmla="*/ 32 w 203"/>
                <a:gd name="T27" fmla="*/ 256 h 392"/>
                <a:gd name="T28" fmla="*/ 32 w 203"/>
                <a:gd name="T29" fmla="*/ 256 h 392"/>
                <a:gd name="T30" fmla="*/ 32 w 203"/>
                <a:gd name="T31" fmla="*/ 246 h 392"/>
                <a:gd name="T32" fmla="*/ 36 w 203"/>
                <a:gd name="T33" fmla="*/ 242 h 392"/>
                <a:gd name="T34" fmla="*/ 39 w 203"/>
                <a:gd name="T35" fmla="*/ 235 h 392"/>
                <a:gd name="T36" fmla="*/ 46 w 203"/>
                <a:gd name="T37" fmla="*/ 235 h 392"/>
                <a:gd name="T38" fmla="*/ 64 w 203"/>
                <a:gd name="T39" fmla="*/ 239 h 392"/>
                <a:gd name="T40" fmla="*/ 78 w 203"/>
                <a:gd name="T41" fmla="*/ 249 h 392"/>
                <a:gd name="T42" fmla="*/ 78 w 203"/>
                <a:gd name="T43" fmla="*/ 249 h 392"/>
                <a:gd name="T44" fmla="*/ 85 w 203"/>
                <a:gd name="T45" fmla="*/ 253 h 392"/>
                <a:gd name="T46" fmla="*/ 93 w 203"/>
                <a:gd name="T47" fmla="*/ 253 h 392"/>
                <a:gd name="T48" fmla="*/ 100 w 203"/>
                <a:gd name="T49" fmla="*/ 253 h 392"/>
                <a:gd name="T50" fmla="*/ 107 w 203"/>
                <a:gd name="T51" fmla="*/ 246 h 392"/>
                <a:gd name="T52" fmla="*/ 114 w 203"/>
                <a:gd name="T53" fmla="*/ 239 h 392"/>
                <a:gd name="T54" fmla="*/ 118 w 203"/>
                <a:gd name="T55" fmla="*/ 224 h 392"/>
                <a:gd name="T56" fmla="*/ 114 w 203"/>
                <a:gd name="T57" fmla="*/ 214 h 392"/>
                <a:gd name="T58" fmla="*/ 107 w 203"/>
                <a:gd name="T59" fmla="*/ 196 h 392"/>
                <a:gd name="T60" fmla="*/ 107 w 203"/>
                <a:gd name="T61" fmla="*/ 196 h 392"/>
                <a:gd name="T62" fmla="*/ 93 w 203"/>
                <a:gd name="T63" fmla="*/ 164 h 392"/>
                <a:gd name="T64" fmla="*/ 89 w 203"/>
                <a:gd name="T65" fmla="*/ 150 h 392"/>
                <a:gd name="T66" fmla="*/ 85 w 203"/>
                <a:gd name="T67" fmla="*/ 135 h 392"/>
                <a:gd name="T68" fmla="*/ 85 w 203"/>
                <a:gd name="T69" fmla="*/ 121 h 392"/>
                <a:gd name="T70" fmla="*/ 89 w 203"/>
                <a:gd name="T71" fmla="*/ 107 h 392"/>
                <a:gd name="T72" fmla="*/ 100 w 203"/>
                <a:gd name="T73" fmla="*/ 96 h 392"/>
                <a:gd name="T74" fmla="*/ 110 w 203"/>
                <a:gd name="T75" fmla="*/ 85 h 392"/>
                <a:gd name="T76" fmla="*/ 110 w 203"/>
                <a:gd name="T77" fmla="*/ 85 h 392"/>
                <a:gd name="T78" fmla="*/ 139 w 203"/>
                <a:gd name="T79" fmla="*/ 60 h 392"/>
                <a:gd name="T80" fmla="*/ 157 w 203"/>
                <a:gd name="T81" fmla="*/ 39 h 392"/>
                <a:gd name="T82" fmla="*/ 175 w 203"/>
                <a:gd name="T83" fmla="*/ 21 h 392"/>
                <a:gd name="T84" fmla="*/ 175 w 203"/>
                <a:gd name="T85" fmla="*/ 21 h 392"/>
                <a:gd name="T86" fmla="*/ 178 w 203"/>
                <a:gd name="T87" fmla="*/ 21 h 392"/>
                <a:gd name="T88" fmla="*/ 189 w 203"/>
                <a:gd name="T89" fmla="*/ 25 h 392"/>
                <a:gd name="T90" fmla="*/ 196 w 203"/>
                <a:gd name="T91" fmla="*/ 21 h 392"/>
                <a:gd name="T92" fmla="*/ 200 w 203"/>
                <a:gd name="T93" fmla="*/ 18 h 392"/>
                <a:gd name="T94" fmla="*/ 203 w 203"/>
                <a:gd name="T95" fmla="*/ 11 h 392"/>
                <a:gd name="T96" fmla="*/ 203 w 203"/>
                <a:gd name="T97" fmla="*/ 0 h 39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03"/>
                <a:gd name="T148" fmla="*/ 0 h 392"/>
                <a:gd name="T149" fmla="*/ 203 w 203"/>
                <a:gd name="T150" fmla="*/ 392 h 39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03" h="392">
                  <a:moveTo>
                    <a:pt x="43" y="392"/>
                  </a:moveTo>
                  <a:lnTo>
                    <a:pt x="43" y="392"/>
                  </a:lnTo>
                  <a:lnTo>
                    <a:pt x="32" y="381"/>
                  </a:lnTo>
                  <a:lnTo>
                    <a:pt x="11" y="360"/>
                  </a:lnTo>
                  <a:lnTo>
                    <a:pt x="3" y="349"/>
                  </a:lnTo>
                  <a:lnTo>
                    <a:pt x="0" y="335"/>
                  </a:lnTo>
                  <a:lnTo>
                    <a:pt x="0" y="328"/>
                  </a:lnTo>
                  <a:lnTo>
                    <a:pt x="3" y="321"/>
                  </a:lnTo>
                  <a:lnTo>
                    <a:pt x="11" y="314"/>
                  </a:lnTo>
                  <a:lnTo>
                    <a:pt x="18" y="306"/>
                  </a:lnTo>
                  <a:lnTo>
                    <a:pt x="25" y="292"/>
                  </a:lnTo>
                  <a:lnTo>
                    <a:pt x="28" y="274"/>
                  </a:lnTo>
                  <a:lnTo>
                    <a:pt x="32" y="256"/>
                  </a:lnTo>
                  <a:lnTo>
                    <a:pt x="32" y="246"/>
                  </a:lnTo>
                  <a:lnTo>
                    <a:pt x="36" y="242"/>
                  </a:lnTo>
                  <a:lnTo>
                    <a:pt x="39" y="235"/>
                  </a:lnTo>
                  <a:lnTo>
                    <a:pt x="46" y="235"/>
                  </a:lnTo>
                  <a:lnTo>
                    <a:pt x="64" y="239"/>
                  </a:lnTo>
                  <a:lnTo>
                    <a:pt x="78" y="249"/>
                  </a:lnTo>
                  <a:lnTo>
                    <a:pt x="85" y="253"/>
                  </a:lnTo>
                  <a:lnTo>
                    <a:pt x="93" y="253"/>
                  </a:lnTo>
                  <a:lnTo>
                    <a:pt x="100" y="253"/>
                  </a:lnTo>
                  <a:lnTo>
                    <a:pt x="107" y="246"/>
                  </a:lnTo>
                  <a:lnTo>
                    <a:pt x="114" y="239"/>
                  </a:lnTo>
                  <a:lnTo>
                    <a:pt x="118" y="224"/>
                  </a:lnTo>
                  <a:lnTo>
                    <a:pt x="114" y="214"/>
                  </a:lnTo>
                  <a:lnTo>
                    <a:pt x="107" y="196"/>
                  </a:lnTo>
                  <a:lnTo>
                    <a:pt x="93" y="164"/>
                  </a:lnTo>
                  <a:lnTo>
                    <a:pt x="89" y="150"/>
                  </a:lnTo>
                  <a:lnTo>
                    <a:pt x="85" y="135"/>
                  </a:lnTo>
                  <a:lnTo>
                    <a:pt x="85" y="121"/>
                  </a:lnTo>
                  <a:lnTo>
                    <a:pt x="89" y="107"/>
                  </a:lnTo>
                  <a:lnTo>
                    <a:pt x="100" y="96"/>
                  </a:lnTo>
                  <a:lnTo>
                    <a:pt x="110" y="85"/>
                  </a:lnTo>
                  <a:lnTo>
                    <a:pt x="139" y="60"/>
                  </a:lnTo>
                  <a:lnTo>
                    <a:pt x="157" y="39"/>
                  </a:lnTo>
                  <a:lnTo>
                    <a:pt x="175" y="21"/>
                  </a:lnTo>
                  <a:lnTo>
                    <a:pt x="178" y="21"/>
                  </a:lnTo>
                  <a:lnTo>
                    <a:pt x="189" y="25"/>
                  </a:lnTo>
                  <a:lnTo>
                    <a:pt x="196" y="21"/>
                  </a:lnTo>
                  <a:lnTo>
                    <a:pt x="200" y="18"/>
                  </a:lnTo>
                  <a:lnTo>
                    <a:pt x="203" y="11"/>
                  </a:lnTo>
                  <a:lnTo>
                    <a:pt x="203" y="0"/>
                  </a:lnTo>
                </a:path>
              </a:pathLst>
            </a:custGeom>
            <a:noFill/>
            <a:ln w="22225" cmpd="sng">
              <a:solidFill>
                <a:srgbClr val="59BDED"/>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7" name="Freeform 33"/>
            <p:cNvSpPr>
              <a:spLocks/>
            </p:cNvSpPr>
            <p:nvPr/>
          </p:nvSpPr>
          <p:spPr bwMode="auto">
            <a:xfrm>
              <a:off x="2025" y="1700"/>
              <a:ext cx="588" cy="1052"/>
            </a:xfrm>
            <a:custGeom>
              <a:avLst/>
              <a:gdLst>
                <a:gd name="T0" fmla="*/ 178 w 588"/>
                <a:gd name="T1" fmla="*/ 129 h 1052"/>
                <a:gd name="T2" fmla="*/ 199 w 588"/>
                <a:gd name="T3" fmla="*/ 79 h 1052"/>
                <a:gd name="T4" fmla="*/ 235 w 588"/>
                <a:gd name="T5" fmla="*/ 57 h 1052"/>
                <a:gd name="T6" fmla="*/ 310 w 588"/>
                <a:gd name="T7" fmla="*/ 11 h 1052"/>
                <a:gd name="T8" fmla="*/ 360 w 588"/>
                <a:gd name="T9" fmla="*/ 0 h 1052"/>
                <a:gd name="T10" fmla="*/ 371 w 588"/>
                <a:gd name="T11" fmla="*/ 15 h 1052"/>
                <a:gd name="T12" fmla="*/ 363 w 588"/>
                <a:gd name="T13" fmla="*/ 79 h 1052"/>
                <a:gd name="T14" fmla="*/ 417 w 588"/>
                <a:gd name="T15" fmla="*/ 68 h 1052"/>
                <a:gd name="T16" fmla="*/ 449 w 588"/>
                <a:gd name="T17" fmla="*/ 154 h 1052"/>
                <a:gd name="T18" fmla="*/ 470 w 588"/>
                <a:gd name="T19" fmla="*/ 189 h 1052"/>
                <a:gd name="T20" fmla="*/ 474 w 588"/>
                <a:gd name="T21" fmla="*/ 229 h 1052"/>
                <a:gd name="T22" fmla="*/ 445 w 588"/>
                <a:gd name="T23" fmla="*/ 303 h 1052"/>
                <a:gd name="T24" fmla="*/ 435 w 588"/>
                <a:gd name="T25" fmla="*/ 353 h 1052"/>
                <a:gd name="T26" fmla="*/ 467 w 588"/>
                <a:gd name="T27" fmla="*/ 353 h 1052"/>
                <a:gd name="T28" fmla="*/ 535 w 588"/>
                <a:gd name="T29" fmla="*/ 332 h 1052"/>
                <a:gd name="T30" fmla="*/ 577 w 588"/>
                <a:gd name="T31" fmla="*/ 350 h 1052"/>
                <a:gd name="T32" fmla="*/ 588 w 588"/>
                <a:gd name="T33" fmla="*/ 385 h 1052"/>
                <a:gd name="T34" fmla="*/ 581 w 588"/>
                <a:gd name="T35" fmla="*/ 403 h 1052"/>
                <a:gd name="T36" fmla="*/ 560 w 588"/>
                <a:gd name="T37" fmla="*/ 407 h 1052"/>
                <a:gd name="T38" fmla="*/ 542 w 588"/>
                <a:gd name="T39" fmla="*/ 425 h 1052"/>
                <a:gd name="T40" fmla="*/ 495 w 588"/>
                <a:gd name="T41" fmla="*/ 467 h 1052"/>
                <a:gd name="T42" fmla="*/ 470 w 588"/>
                <a:gd name="T43" fmla="*/ 503 h 1052"/>
                <a:gd name="T44" fmla="*/ 478 w 588"/>
                <a:gd name="T45" fmla="*/ 546 h 1052"/>
                <a:gd name="T46" fmla="*/ 499 w 588"/>
                <a:gd name="T47" fmla="*/ 596 h 1052"/>
                <a:gd name="T48" fmla="*/ 492 w 588"/>
                <a:gd name="T49" fmla="*/ 631 h 1052"/>
                <a:gd name="T50" fmla="*/ 467 w 588"/>
                <a:gd name="T51" fmla="*/ 635 h 1052"/>
                <a:gd name="T52" fmla="*/ 445 w 588"/>
                <a:gd name="T53" fmla="*/ 621 h 1052"/>
                <a:gd name="T54" fmla="*/ 417 w 588"/>
                <a:gd name="T55" fmla="*/ 624 h 1052"/>
                <a:gd name="T56" fmla="*/ 413 w 588"/>
                <a:gd name="T57" fmla="*/ 638 h 1052"/>
                <a:gd name="T58" fmla="*/ 399 w 588"/>
                <a:gd name="T59" fmla="*/ 692 h 1052"/>
                <a:gd name="T60" fmla="*/ 388 w 588"/>
                <a:gd name="T61" fmla="*/ 703 h 1052"/>
                <a:gd name="T62" fmla="*/ 385 w 588"/>
                <a:gd name="T63" fmla="*/ 731 h 1052"/>
                <a:gd name="T64" fmla="*/ 428 w 588"/>
                <a:gd name="T65" fmla="*/ 774 h 1052"/>
                <a:gd name="T66" fmla="*/ 435 w 588"/>
                <a:gd name="T67" fmla="*/ 781 h 1052"/>
                <a:gd name="T68" fmla="*/ 435 w 588"/>
                <a:gd name="T69" fmla="*/ 817 h 1052"/>
                <a:gd name="T70" fmla="*/ 406 w 588"/>
                <a:gd name="T71" fmla="*/ 852 h 1052"/>
                <a:gd name="T72" fmla="*/ 396 w 588"/>
                <a:gd name="T73" fmla="*/ 852 h 1052"/>
                <a:gd name="T74" fmla="*/ 367 w 588"/>
                <a:gd name="T75" fmla="*/ 867 h 1052"/>
                <a:gd name="T76" fmla="*/ 335 w 588"/>
                <a:gd name="T77" fmla="*/ 888 h 1052"/>
                <a:gd name="T78" fmla="*/ 292 w 588"/>
                <a:gd name="T79" fmla="*/ 902 h 1052"/>
                <a:gd name="T80" fmla="*/ 264 w 588"/>
                <a:gd name="T81" fmla="*/ 945 h 1052"/>
                <a:gd name="T82" fmla="*/ 260 w 588"/>
                <a:gd name="T83" fmla="*/ 1009 h 1052"/>
                <a:gd name="T84" fmla="*/ 242 w 588"/>
                <a:gd name="T85" fmla="*/ 1041 h 1052"/>
                <a:gd name="T86" fmla="*/ 207 w 588"/>
                <a:gd name="T87" fmla="*/ 1052 h 1052"/>
                <a:gd name="T88" fmla="*/ 125 w 588"/>
                <a:gd name="T89" fmla="*/ 1020 h 1052"/>
                <a:gd name="T90" fmla="*/ 89 w 588"/>
                <a:gd name="T91" fmla="*/ 970 h 1052"/>
                <a:gd name="T92" fmla="*/ 11 w 588"/>
                <a:gd name="T93" fmla="*/ 831 h 1052"/>
                <a:gd name="T94" fmla="*/ 0 w 588"/>
                <a:gd name="T95" fmla="*/ 785 h 1052"/>
                <a:gd name="T96" fmla="*/ 18 w 588"/>
                <a:gd name="T97" fmla="*/ 753 h 1052"/>
                <a:gd name="T98" fmla="*/ 89 w 588"/>
                <a:gd name="T99" fmla="*/ 753 h 1052"/>
                <a:gd name="T100" fmla="*/ 146 w 588"/>
                <a:gd name="T101" fmla="*/ 735 h 1052"/>
                <a:gd name="T102" fmla="*/ 150 w 588"/>
                <a:gd name="T103" fmla="*/ 699 h 1052"/>
                <a:gd name="T104" fmla="*/ 153 w 588"/>
                <a:gd name="T105" fmla="*/ 663 h 1052"/>
                <a:gd name="T106" fmla="*/ 139 w 588"/>
                <a:gd name="T107" fmla="*/ 549 h 1052"/>
                <a:gd name="T108" fmla="*/ 121 w 588"/>
                <a:gd name="T109" fmla="*/ 467 h 1052"/>
                <a:gd name="T110" fmla="*/ 132 w 588"/>
                <a:gd name="T111" fmla="*/ 414 h 1052"/>
                <a:gd name="T112" fmla="*/ 157 w 588"/>
                <a:gd name="T113" fmla="*/ 385 h 1052"/>
                <a:gd name="T114" fmla="*/ 178 w 588"/>
                <a:gd name="T115" fmla="*/ 346 h 1052"/>
                <a:gd name="T116" fmla="*/ 175 w 588"/>
                <a:gd name="T117" fmla="*/ 264 h 1052"/>
                <a:gd name="T118" fmla="*/ 192 w 588"/>
                <a:gd name="T119" fmla="*/ 175 h 1052"/>
                <a:gd name="T120" fmla="*/ 178 w 588"/>
                <a:gd name="T121" fmla="*/ 154 h 105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588"/>
                <a:gd name="T184" fmla="*/ 0 h 1052"/>
                <a:gd name="T185" fmla="*/ 588 w 588"/>
                <a:gd name="T186" fmla="*/ 1052 h 105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588" h="1052">
                  <a:moveTo>
                    <a:pt x="178" y="154"/>
                  </a:moveTo>
                  <a:lnTo>
                    <a:pt x="178" y="154"/>
                  </a:lnTo>
                  <a:lnTo>
                    <a:pt x="178" y="129"/>
                  </a:lnTo>
                  <a:lnTo>
                    <a:pt x="182" y="111"/>
                  </a:lnTo>
                  <a:lnTo>
                    <a:pt x="189" y="93"/>
                  </a:lnTo>
                  <a:lnTo>
                    <a:pt x="199" y="79"/>
                  </a:lnTo>
                  <a:lnTo>
                    <a:pt x="214" y="72"/>
                  </a:lnTo>
                  <a:lnTo>
                    <a:pt x="224" y="65"/>
                  </a:lnTo>
                  <a:lnTo>
                    <a:pt x="235" y="57"/>
                  </a:lnTo>
                  <a:lnTo>
                    <a:pt x="257" y="54"/>
                  </a:lnTo>
                  <a:lnTo>
                    <a:pt x="310" y="11"/>
                  </a:lnTo>
                  <a:lnTo>
                    <a:pt x="331" y="4"/>
                  </a:lnTo>
                  <a:lnTo>
                    <a:pt x="349" y="0"/>
                  </a:lnTo>
                  <a:lnTo>
                    <a:pt x="360" y="0"/>
                  </a:lnTo>
                  <a:lnTo>
                    <a:pt x="367" y="4"/>
                  </a:lnTo>
                  <a:lnTo>
                    <a:pt x="367" y="11"/>
                  </a:lnTo>
                  <a:lnTo>
                    <a:pt x="371" y="15"/>
                  </a:lnTo>
                  <a:lnTo>
                    <a:pt x="371" y="22"/>
                  </a:lnTo>
                  <a:lnTo>
                    <a:pt x="363" y="68"/>
                  </a:lnTo>
                  <a:lnTo>
                    <a:pt x="363" y="79"/>
                  </a:lnTo>
                  <a:lnTo>
                    <a:pt x="374" y="86"/>
                  </a:lnTo>
                  <a:lnTo>
                    <a:pt x="417" y="68"/>
                  </a:lnTo>
                  <a:lnTo>
                    <a:pt x="428" y="104"/>
                  </a:lnTo>
                  <a:lnTo>
                    <a:pt x="438" y="136"/>
                  </a:lnTo>
                  <a:lnTo>
                    <a:pt x="449" y="154"/>
                  </a:lnTo>
                  <a:lnTo>
                    <a:pt x="460" y="171"/>
                  </a:lnTo>
                  <a:lnTo>
                    <a:pt x="470" y="189"/>
                  </a:lnTo>
                  <a:lnTo>
                    <a:pt x="478" y="204"/>
                  </a:lnTo>
                  <a:lnTo>
                    <a:pt x="478" y="214"/>
                  </a:lnTo>
                  <a:lnTo>
                    <a:pt x="474" y="229"/>
                  </a:lnTo>
                  <a:lnTo>
                    <a:pt x="463" y="261"/>
                  </a:lnTo>
                  <a:lnTo>
                    <a:pt x="445" y="303"/>
                  </a:lnTo>
                  <a:lnTo>
                    <a:pt x="438" y="325"/>
                  </a:lnTo>
                  <a:lnTo>
                    <a:pt x="435" y="343"/>
                  </a:lnTo>
                  <a:lnTo>
                    <a:pt x="435" y="353"/>
                  </a:lnTo>
                  <a:lnTo>
                    <a:pt x="442" y="357"/>
                  </a:lnTo>
                  <a:lnTo>
                    <a:pt x="449" y="357"/>
                  </a:lnTo>
                  <a:lnTo>
                    <a:pt x="467" y="353"/>
                  </a:lnTo>
                  <a:lnTo>
                    <a:pt x="510" y="339"/>
                  </a:lnTo>
                  <a:lnTo>
                    <a:pt x="535" y="332"/>
                  </a:lnTo>
                  <a:lnTo>
                    <a:pt x="552" y="335"/>
                  </a:lnTo>
                  <a:lnTo>
                    <a:pt x="567" y="343"/>
                  </a:lnTo>
                  <a:lnTo>
                    <a:pt x="577" y="350"/>
                  </a:lnTo>
                  <a:lnTo>
                    <a:pt x="581" y="364"/>
                  </a:lnTo>
                  <a:lnTo>
                    <a:pt x="585" y="375"/>
                  </a:lnTo>
                  <a:lnTo>
                    <a:pt x="588" y="385"/>
                  </a:lnTo>
                  <a:lnTo>
                    <a:pt x="585" y="396"/>
                  </a:lnTo>
                  <a:lnTo>
                    <a:pt x="581" y="403"/>
                  </a:lnTo>
                  <a:lnTo>
                    <a:pt x="577" y="407"/>
                  </a:lnTo>
                  <a:lnTo>
                    <a:pt x="570" y="407"/>
                  </a:lnTo>
                  <a:lnTo>
                    <a:pt x="560" y="407"/>
                  </a:lnTo>
                  <a:lnTo>
                    <a:pt x="556" y="403"/>
                  </a:lnTo>
                  <a:lnTo>
                    <a:pt x="542" y="425"/>
                  </a:lnTo>
                  <a:lnTo>
                    <a:pt x="520" y="446"/>
                  </a:lnTo>
                  <a:lnTo>
                    <a:pt x="495" y="467"/>
                  </a:lnTo>
                  <a:lnTo>
                    <a:pt x="481" y="478"/>
                  </a:lnTo>
                  <a:lnTo>
                    <a:pt x="474" y="492"/>
                  </a:lnTo>
                  <a:lnTo>
                    <a:pt x="470" y="503"/>
                  </a:lnTo>
                  <a:lnTo>
                    <a:pt x="467" y="517"/>
                  </a:lnTo>
                  <a:lnTo>
                    <a:pt x="470" y="532"/>
                  </a:lnTo>
                  <a:lnTo>
                    <a:pt x="478" y="546"/>
                  </a:lnTo>
                  <a:lnTo>
                    <a:pt x="492" y="578"/>
                  </a:lnTo>
                  <a:lnTo>
                    <a:pt x="499" y="596"/>
                  </a:lnTo>
                  <a:lnTo>
                    <a:pt x="499" y="610"/>
                  </a:lnTo>
                  <a:lnTo>
                    <a:pt x="495" y="621"/>
                  </a:lnTo>
                  <a:lnTo>
                    <a:pt x="492" y="631"/>
                  </a:lnTo>
                  <a:lnTo>
                    <a:pt x="485" y="635"/>
                  </a:lnTo>
                  <a:lnTo>
                    <a:pt x="478" y="638"/>
                  </a:lnTo>
                  <a:lnTo>
                    <a:pt x="467" y="635"/>
                  </a:lnTo>
                  <a:lnTo>
                    <a:pt x="460" y="631"/>
                  </a:lnTo>
                  <a:lnTo>
                    <a:pt x="445" y="621"/>
                  </a:lnTo>
                  <a:lnTo>
                    <a:pt x="431" y="617"/>
                  </a:lnTo>
                  <a:lnTo>
                    <a:pt x="424" y="621"/>
                  </a:lnTo>
                  <a:lnTo>
                    <a:pt x="417" y="624"/>
                  </a:lnTo>
                  <a:lnTo>
                    <a:pt x="413" y="631"/>
                  </a:lnTo>
                  <a:lnTo>
                    <a:pt x="413" y="638"/>
                  </a:lnTo>
                  <a:lnTo>
                    <a:pt x="410" y="656"/>
                  </a:lnTo>
                  <a:lnTo>
                    <a:pt x="406" y="674"/>
                  </a:lnTo>
                  <a:lnTo>
                    <a:pt x="399" y="692"/>
                  </a:lnTo>
                  <a:lnTo>
                    <a:pt x="392" y="696"/>
                  </a:lnTo>
                  <a:lnTo>
                    <a:pt x="388" y="703"/>
                  </a:lnTo>
                  <a:lnTo>
                    <a:pt x="385" y="710"/>
                  </a:lnTo>
                  <a:lnTo>
                    <a:pt x="381" y="717"/>
                  </a:lnTo>
                  <a:lnTo>
                    <a:pt x="385" y="731"/>
                  </a:lnTo>
                  <a:lnTo>
                    <a:pt x="396" y="745"/>
                  </a:lnTo>
                  <a:lnTo>
                    <a:pt x="413" y="767"/>
                  </a:lnTo>
                  <a:lnTo>
                    <a:pt x="428" y="774"/>
                  </a:lnTo>
                  <a:lnTo>
                    <a:pt x="435" y="781"/>
                  </a:lnTo>
                  <a:lnTo>
                    <a:pt x="435" y="795"/>
                  </a:lnTo>
                  <a:lnTo>
                    <a:pt x="435" y="817"/>
                  </a:lnTo>
                  <a:lnTo>
                    <a:pt x="417" y="845"/>
                  </a:lnTo>
                  <a:lnTo>
                    <a:pt x="406" y="852"/>
                  </a:lnTo>
                  <a:lnTo>
                    <a:pt x="403" y="856"/>
                  </a:lnTo>
                  <a:lnTo>
                    <a:pt x="396" y="852"/>
                  </a:lnTo>
                  <a:lnTo>
                    <a:pt x="388" y="852"/>
                  </a:lnTo>
                  <a:lnTo>
                    <a:pt x="381" y="856"/>
                  </a:lnTo>
                  <a:lnTo>
                    <a:pt x="367" y="867"/>
                  </a:lnTo>
                  <a:lnTo>
                    <a:pt x="353" y="892"/>
                  </a:lnTo>
                  <a:lnTo>
                    <a:pt x="335" y="888"/>
                  </a:lnTo>
                  <a:lnTo>
                    <a:pt x="317" y="892"/>
                  </a:lnTo>
                  <a:lnTo>
                    <a:pt x="303" y="895"/>
                  </a:lnTo>
                  <a:lnTo>
                    <a:pt x="292" y="902"/>
                  </a:lnTo>
                  <a:lnTo>
                    <a:pt x="281" y="909"/>
                  </a:lnTo>
                  <a:lnTo>
                    <a:pt x="274" y="920"/>
                  </a:lnTo>
                  <a:lnTo>
                    <a:pt x="264" y="945"/>
                  </a:lnTo>
                  <a:lnTo>
                    <a:pt x="260" y="966"/>
                  </a:lnTo>
                  <a:lnTo>
                    <a:pt x="260" y="988"/>
                  </a:lnTo>
                  <a:lnTo>
                    <a:pt x="260" y="1009"/>
                  </a:lnTo>
                  <a:lnTo>
                    <a:pt x="249" y="1034"/>
                  </a:lnTo>
                  <a:lnTo>
                    <a:pt x="242" y="1041"/>
                  </a:lnTo>
                  <a:lnTo>
                    <a:pt x="232" y="1048"/>
                  </a:lnTo>
                  <a:lnTo>
                    <a:pt x="217" y="1052"/>
                  </a:lnTo>
                  <a:lnTo>
                    <a:pt x="207" y="1052"/>
                  </a:lnTo>
                  <a:lnTo>
                    <a:pt x="178" y="1048"/>
                  </a:lnTo>
                  <a:lnTo>
                    <a:pt x="150" y="1034"/>
                  </a:lnTo>
                  <a:lnTo>
                    <a:pt x="125" y="1020"/>
                  </a:lnTo>
                  <a:lnTo>
                    <a:pt x="103" y="1002"/>
                  </a:lnTo>
                  <a:lnTo>
                    <a:pt x="82" y="988"/>
                  </a:lnTo>
                  <a:lnTo>
                    <a:pt x="89" y="970"/>
                  </a:lnTo>
                  <a:lnTo>
                    <a:pt x="75" y="927"/>
                  </a:lnTo>
                  <a:lnTo>
                    <a:pt x="46" y="859"/>
                  </a:lnTo>
                  <a:lnTo>
                    <a:pt x="11" y="831"/>
                  </a:lnTo>
                  <a:lnTo>
                    <a:pt x="3" y="806"/>
                  </a:lnTo>
                  <a:lnTo>
                    <a:pt x="0" y="785"/>
                  </a:lnTo>
                  <a:lnTo>
                    <a:pt x="3" y="770"/>
                  </a:lnTo>
                  <a:lnTo>
                    <a:pt x="7" y="760"/>
                  </a:lnTo>
                  <a:lnTo>
                    <a:pt x="18" y="753"/>
                  </a:lnTo>
                  <a:lnTo>
                    <a:pt x="36" y="753"/>
                  </a:lnTo>
                  <a:lnTo>
                    <a:pt x="89" y="753"/>
                  </a:lnTo>
                  <a:lnTo>
                    <a:pt x="117" y="753"/>
                  </a:lnTo>
                  <a:lnTo>
                    <a:pt x="135" y="745"/>
                  </a:lnTo>
                  <a:lnTo>
                    <a:pt x="146" y="735"/>
                  </a:lnTo>
                  <a:lnTo>
                    <a:pt x="150" y="724"/>
                  </a:lnTo>
                  <a:lnTo>
                    <a:pt x="150" y="710"/>
                  </a:lnTo>
                  <a:lnTo>
                    <a:pt x="150" y="699"/>
                  </a:lnTo>
                  <a:lnTo>
                    <a:pt x="142" y="685"/>
                  </a:lnTo>
                  <a:lnTo>
                    <a:pt x="153" y="663"/>
                  </a:lnTo>
                  <a:lnTo>
                    <a:pt x="160" y="635"/>
                  </a:lnTo>
                  <a:lnTo>
                    <a:pt x="167" y="603"/>
                  </a:lnTo>
                  <a:lnTo>
                    <a:pt x="139" y="549"/>
                  </a:lnTo>
                  <a:lnTo>
                    <a:pt x="128" y="485"/>
                  </a:lnTo>
                  <a:lnTo>
                    <a:pt x="121" y="467"/>
                  </a:lnTo>
                  <a:lnTo>
                    <a:pt x="121" y="446"/>
                  </a:lnTo>
                  <a:lnTo>
                    <a:pt x="125" y="428"/>
                  </a:lnTo>
                  <a:lnTo>
                    <a:pt x="132" y="414"/>
                  </a:lnTo>
                  <a:lnTo>
                    <a:pt x="146" y="393"/>
                  </a:lnTo>
                  <a:lnTo>
                    <a:pt x="157" y="385"/>
                  </a:lnTo>
                  <a:lnTo>
                    <a:pt x="164" y="375"/>
                  </a:lnTo>
                  <a:lnTo>
                    <a:pt x="171" y="368"/>
                  </a:lnTo>
                  <a:lnTo>
                    <a:pt x="178" y="346"/>
                  </a:lnTo>
                  <a:lnTo>
                    <a:pt x="182" y="325"/>
                  </a:lnTo>
                  <a:lnTo>
                    <a:pt x="182" y="303"/>
                  </a:lnTo>
                  <a:lnTo>
                    <a:pt x="175" y="264"/>
                  </a:lnTo>
                  <a:lnTo>
                    <a:pt x="167" y="246"/>
                  </a:lnTo>
                  <a:lnTo>
                    <a:pt x="192" y="175"/>
                  </a:lnTo>
                  <a:lnTo>
                    <a:pt x="189" y="168"/>
                  </a:lnTo>
                  <a:lnTo>
                    <a:pt x="185" y="161"/>
                  </a:lnTo>
                  <a:lnTo>
                    <a:pt x="178" y="154"/>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8" name="Freeform 34"/>
            <p:cNvSpPr>
              <a:spLocks/>
            </p:cNvSpPr>
            <p:nvPr/>
          </p:nvSpPr>
          <p:spPr bwMode="auto">
            <a:xfrm>
              <a:off x="2410" y="1953"/>
              <a:ext cx="667" cy="521"/>
            </a:xfrm>
            <a:custGeom>
              <a:avLst/>
              <a:gdLst>
                <a:gd name="T0" fmla="*/ 645 w 667"/>
                <a:gd name="T1" fmla="*/ 150 h 521"/>
                <a:gd name="T2" fmla="*/ 667 w 667"/>
                <a:gd name="T3" fmla="*/ 232 h 521"/>
                <a:gd name="T4" fmla="*/ 656 w 667"/>
                <a:gd name="T5" fmla="*/ 254 h 521"/>
                <a:gd name="T6" fmla="*/ 581 w 667"/>
                <a:gd name="T7" fmla="*/ 303 h 521"/>
                <a:gd name="T8" fmla="*/ 581 w 667"/>
                <a:gd name="T9" fmla="*/ 378 h 521"/>
                <a:gd name="T10" fmla="*/ 520 w 667"/>
                <a:gd name="T11" fmla="*/ 279 h 521"/>
                <a:gd name="T12" fmla="*/ 510 w 667"/>
                <a:gd name="T13" fmla="*/ 246 h 521"/>
                <a:gd name="T14" fmla="*/ 495 w 667"/>
                <a:gd name="T15" fmla="*/ 229 h 521"/>
                <a:gd name="T16" fmla="*/ 474 w 667"/>
                <a:gd name="T17" fmla="*/ 257 h 521"/>
                <a:gd name="T18" fmla="*/ 442 w 667"/>
                <a:gd name="T19" fmla="*/ 314 h 521"/>
                <a:gd name="T20" fmla="*/ 367 w 667"/>
                <a:gd name="T21" fmla="*/ 293 h 521"/>
                <a:gd name="T22" fmla="*/ 349 w 667"/>
                <a:gd name="T23" fmla="*/ 250 h 521"/>
                <a:gd name="T24" fmla="*/ 314 w 667"/>
                <a:gd name="T25" fmla="*/ 225 h 521"/>
                <a:gd name="T26" fmla="*/ 296 w 667"/>
                <a:gd name="T27" fmla="*/ 232 h 521"/>
                <a:gd name="T28" fmla="*/ 281 w 667"/>
                <a:gd name="T29" fmla="*/ 268 h 521"/>
                <a:gd name="T30" fmla="*/ 249 w 667"/>
                <a:gd name="T31" fmla="*/ 303 h 521"/>
                <a:gd name="T32" fmla="*/ 185 w 667"/>
                <a:gd name="T33" fmla="*/ 314 h 521"/>
                <a:gd name="T34" fmla="*/ 175 w 667"/>
                <a:gd name="T35" fmla="*/ 339 h 521"/>
                <a:gd name="T36" fmla="*/ 171 w 667"/>
                <a:gd name="T37" fmla="*/ 393 h 521"/>
                <a:gd name="T38" fmla="*/ 153 w 667"/>
                <a:gd name="T39" fmla="*/ 467 h 521"/>
                <a:gd name="T40" fmla="*/ 118 w 667"/>
                <a:gd name="T41" fmla="*/ 503 h 521"/>
                <a:gd name="T42" fmla="*/ 75 w 667"/>
                <a:gd name="T43" fmla="*/ 503 h 521"/>
                <a:gd name="T44" fmla="*/ 43 w 667"/>
                <a:gd name="T45" fmla="*/ 521 h 521"/>
                <a:gd name="T46" fmla="*/ 11 w 667"/>
                <a:gd name="T47" fmla="*/ 492 h 521"/>
                <a:gd name="T48" fmla="*/ 0 w 667"/>
                <a:gd name="T49" fmla="*/ 457 h 521"/>
                <a:gd name="T50" fmla="*/ 18 w 667"/>
                <a:gd name="T51" fmla="*/ 435 h 521"/>
                <a:gd name="T52" fmla="*/ 28 w 667"/>
                <a:gd name="T53" fmla="*/ 403 h 521"/>
                <a:gd name="T54" fmla="*/ 32 w 667"/>
                <a:gd name="T55" fmla="*/ 375 h 521"/>
                <a:gd name="T56" fmla="*/ 46 w 667"/>
                <a:gd name="T57" fmla="*/ 364 h 521"/>
                <a:gd name="T58" fmla="*/ 75 w 667"/>
                <a:gd name="T59" fmla="*/ 378 h 521"/>
                <a:gd name="T60" fmla="*/ 100 w 667"/>
                <a:gd name="T61" fmla="*/ 382 h 521"/>
                <a:gd name="T62" fmla="*/ 114 w 667"/>
                <a:gd name="T63" fmla="*/ 357 h 521"/>
                <a:gd name="T64" fmla="*/ 107 w 667"/>
                <a:gd name="T65" fmla="*/ 325 h 521"/>
                <a:gd name="T66" fmla="*/ 85 w 667"/>
                <a:gd name="T67" fmla="*/ 264 h 521"/>
                <a:gd name="T68" fmla="*/ 96 w 667"/>
                <a:gd name="T69" fmla="*/ 225 h 521"/>
                <a:gd name="T70" fmla="*/ 135 w 667"/>
                <a:gd name="T71" fmla="*/ 189 h 521"/>
                <a:gd name="T72" fmla="*/ 171 w 667"/>
                <a:gd name="T73" fmla="*/ 150 h 521"/>
                <a:gd name="T74" fmla="*/ 192 w 667"/>
                <a:gd name="T75" fmla="*/ 154 h 521"/>
                <a:gd name="T76" fmla="*/ 203 w 667"/>
                <a:gd name="T77" fmla="*/ 129 h 521"/>
                <a:gd name="T78" fmla="*/ 214 w 667"/>
                <a:gd name="T79" fmla="*/ 132 h 521"/>
                <a:gd name="T80" fmla="*/ 246 w 667"/>
                <a:gd name="T81" fmla="*/ 115 h 521"/>
                <a:gd name="T82" fmla="*/ 299 w 667"/>
                <a:gd name="T83" fmla="*/ 54 h 521"/>
                <a:gd name="T84" fmla="*/ 360 w 667"/>
                <a:gd name="T85" fmla="*/ 11 h 521"/>
                <a:gd name="T86" fmla="*/ 428 w 667"/>
                <a:gd name="T87" fmla="*/ 4 h 521"/>
                <a:gd name="T88" fmla="*/ 463 w 667"/>
                <a:gd name="T89" fmla="*/ 25 h 521"/>
                <a:gd name="T90" fmla="*/ 488 w 667"/>
                <a:gd name="T91" fmla="*/ 47 h 521"/>
                <a:gd name="T92" fmla="*/ 513 w 667"/>
                <a:gd name="T93" fmla="*/ 25 h 521"/>
                <a:gd name="T94" fmla="*/ 552 w 667"/>
                <a:gd name="T95" fmla="*/ 40 h 521"/>
                <a:gd name="T96" fmla="*/ 595 w 667"/>
                <a:gd name="T97" fmla="*/ 79 h 5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667"/>
                <a:gd name="T148" fmla="*/ 0 h 521"/>
                <a:gd name="T149" fmla="*/ 667 w 667"/>
                <a:gd name="T150" fmla="*/ 521 h 521"/>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667" h="521">
                  <a:moveTo>
                    <a:pt x="634" y="132"/>
                  </a:moveTo>
                  <a:lnTo>
                    <a:pt x="634" y="132"/>
                  </a:lnTo>
                  <a:lnTo>
                    <a:pt x="645" y="150"/>
                  </a:lnTo>
                  <a:lnTo>
                    <a:pt x="659" y="189"/>
                  </a:lnTo>
                  <a:lnTo>
                    <a:pt x="667" y="211"/>
                  </a:lnTo>
                  <a:lnTo>
                    <a:pt x="667" y="232"/>
                  </a:lnTo>
                  <a:lnTo>
                    <a:pt x="667" y="239"/>
                  </a:lnTo>
                  <a:lnTo>
                    <a:pt x="663" y="246"/>
                  </a:lnTo>
                  <a:lnTo>
                    <a:pt x="656" y="254"/>
                  </a:lnTo>
                  <a:lnTo>
                    <a:pt x="649" y="257"/>
                  </a:lnTo>
                  <a:lnTo>
                    <a:pt x="581" y="303"/>
                  </a:lnTo>
                  <a:lnTo>
                    <a:pt x="585" y="339"/>
                  </a:lnTo>
                  <a:lnTo>
                    <a:pt x="585" y="368"/>
                  </a:lnTo>
                  <a:lnTo>
                    <a:pt x="581" y="378"/>
                  </a:lnTo>
                  <a:lnTo>
                    <a:pt x="574" y="385"/>
                  </a:lnTo>
                  <a:lnTo>
                    <a:pt x="563" y="339"/>
                  </a:lnTo>
                  <a:lnTo>
                    <a:pt x="520" y="279"/>
                  </a:lnTo>
                  <a:lnTo>
                    <a:pt x="513" y="264"/>
                  </a:lnTo>
                  <a:lnTo>
                    <a:pt x="510" y="246"/>
                  </a:lnTo>
                  <a:lnTo>
                    <a:pt x="503" y="236"/>
                  </a:lnTo>
                  <a:lnTo>
                    <a:pt x="499" y="232"/>
                  </a:lnTo>
                  <a:lnTo>
                    <a:pt x="495" y="229"/>
                  </a:lnTo>
                  <a:lnTo>
                    <a:pt x="488" y="232"/>
                  </a:lnTo>
                  <a:lnTo>
                    <a:pt x="485" y="236"/>
                  </a:lnTo>
                  <a:lnTo>
                    <a:pt x="474" y="257"/>
                  </a:lnTo>
                  <a:lnTo>
                    <a:pt x="463" y="300"/>
                  </a:lnTo>
                  <a:lnTo>
                    <a:pt x="442" y="314"/>
                  </a:lnTo>
                  <a:lnTo>
                    <a:pt x="424" y="325"/>
                  </a:lnTo>
                  <a:lnTo>
                    <a:pt x="406" y="328"/>
                  </a:lnTo>
                  <a:lnTo>
                    <a:pt x="367" y="293"/>
                  </a:lnTo>
                  <a:lnTo>
                    <a:pt x="356" y="264"/>
                  </a:lnTo>
                  <a:lnTo>
                    <a:pt x="349" y="250"/>
                  </a:lnTo>
                  <a:lnTo>
                    <a:pt x="339" y="239"/>
                  </a:lnTo>
                  <a:lnTo>
                    <a:pt x="328" y="229"/>
                  </a:lnTo>
                  <a:lnTo>
                    <a:pt x="314" y="225"/>
                  </a:lnTo>
                  <a:lnTo>
                    <a:pt x="310" y="225"/>
                  </a:lnTo>
                  <a:lnTo>
                    <a:pt x="303" y="225"/>
                  </a:lnTo>
                  <a:lnTo>
                    <a:pt x="296" y="232"/>
                  </a:lnTo>
                  <a:lnTo>
                    <a:pt x="289" y="239"/>
                  </a:lnTo>
                  <a:lnTo>
                    <a:pt x="281" y="268"/>
                  </a:lnTo>
                  <a:lnTo>
                    <a:pt x="274" y="275"/>
                  </a:lnTo>
                  <a:lnTo>
                    <a:pt x="264" y="289"/>
                  </a:lnTo>
                  <a:lnTo>
                    <a:pt x="249" y="303"/>
                  </a:lnTo>
                  <a:lnTo>
                    <a:pt x="239" y="307"/>
                  </a:lnTo>
                  <a:lnTo>
                    <a:pt x="228" y="307"/>
                  </a:lnTo>
                  <a:lnTo>
                    <a:pt x="185" y="314"/>
                  </a:lnTo>
                  <a:lnTo>
                    <a:pt x="178" y="325"/>
                  </a:lnTo>
                  <a:lnTo>
                    <a:pt x="175" y="339"/>
                  </a:lnTo>
                  <a:lnTo>
                    <a:pt x="175" y="357"/>
                  </a:lnTo>
                  <a:lnTo>
                    <a:pt x="171" y="393"/>
                  </a:lnTo>
                  <a:lnTo>
                    <a:pt x="167" y="418"/>
                  </a:lnTo>
                  <a:lnTo>
                    <a:pt x="160" y="443"/>
                  </a:lnTo>
                  <a:lnTo>
                    <a:pt x="153" y="467"/>
                  </a:lnTo>
                  <a:lnTo>
                    <a:pt x="139" y="485"/>
                  </a:lnTo>
                  <a:lnTo>
                    <a:pt x="125" y="500"/>
                  </a:lnTo>
                  <a:lnTo>
                    <a:pt x="118" y="503"/>
                  </a:lnTo>
                  <a:lnTo>
                    <a:pt x="107" y="503"/>
                  </a:lnTo>
                  <a:lnTo>
                    <a:pt x="75" y="503"/>
                  </a:lnTo>
                  <a:lnTo>
                    <a:pt x="53" y="510"/>
                  </a:lnTo>
                  <a:lnTo>
                    <a:pt x="43" y="517"/>
                  </a:lnTo>
                  <a:lnTo>
                    <a:pt x="43" y="521"/>
                  </a:lnTo>
                  <a:lnTo>
                    <a:pt x="32" y="510"/>
                  </a:lnTo>
                  <a:lnTo>
                    <a:pt x="11" y="492"/>
                  </a:lnTo>
                  <a:lnTo>
                    <a:pt x="0" y="478"/>
                  </a:lnTo>
                  <a:lnTo>
                    <a:pt x="0" y="464"/>
                  </a:lnTo>
                  <a:lnTo>
                    <a:pt x="0" y="457"/>
                  </a:lnTo>
                  <a:lnTo>
                    <a:pt x="3" y="450"/>
                  </a:lnTo>
                  <a:lnTo>
                    <a:pt x="7" y="443"/>
                  </a:lnTo>
                  <a:lnTo>
                    <a:pt x="18" y="435"/>
                  </a:lnTo>
                  <a:lnTo>
                    <a:pt x="21" y="421"/>
                  </a:lnTo>
                  <a:lnTo>
                    <a:pt x="28" y="403"/>
                  </a:lnTo>
                  <a:lnTo>
                    <a:pt x="28" y="385"/>
                  </a:lnTo>
                  <a:lnTo>
                    <a:pt x="32" y="375"/>
                  </a:lnTo>
                  <a:lnTo>
                    <a:pt x="36" y="371"/>
                  </a:lnTo>
                  <a:lnTo>
                    <a:pt x="39" y="368"/>
                  </a:lnTo>
                  <a:lnTo>
                    <a:pt x="46" y="364"/>
                  </a:lnTo>
                  <a:lnTo>
                    <a:pt x="60" y="368"/>
                  </a:lnTo>
                  <a:lnTo>
                    <a:pt x="75" y="378"/>
                  </a:lnTo>
                  <a:lnTo>
                    <a:pt x="82" y="382"/>
                  </a:lnTo>
                  <a:lnTo>
                    <a:pt x="93" y="382"/>
                  </a:lnTo>
                  <a:lnTo>
                    <a:pt x="100" y="382"/>
                  </a:lnTo>
                  <a:lnTo>
                    <a:pt x="107" y="375"/>
                  </a:lnTo>
                  <a:lnTo>
                    <a:pt x="110" y="368"/>
                  </a:lnTo>
                  <a:lnTo>
                    <a:pt x="114" y="357"/>
                  </a:lnTo>
                  <a:lnTo>
                    <a:pt x="114" y="343"/>
                  </a:lnTo>
                  <a:lnTo>
                    <a:pt x="107" y="325"/>
                  </a:lnTo>
                  <a:lnTo>
                    <a:pt x="93" y="293"/>
                  </a:lnTo>
                  <a:lnTo>
                    <a:pt x="85" y="279"/>
                  </a:lnTo>
                  <a:lnTo>
                    <a:pt x="85" y="264"/>
                  </a:lnTo>
                  <a:lnTo>
                    <a:pt x="85" y="250"/>
                  </a:lnTo>
                  <a:lnTo>
                    <a:pt x="89" y="239"/>
                  </a:lnTo>
                  <a:lnTo>
                    <a:pt x="96" y="225"/>
                  </a:lnTo>
                  <a:lnTo>
                    <a:pt x="110" y="214"/>
                  </a:lnTo>
                  <a:lnTo>
                    <a:pt x="135" y="189"/>
                  </a:lnTo>
                  <a:lnTo>
                    <a:pt x="157" y="172"/>
                  </a:lnTo>
                  <a:lnTo>
                    <a:pt x="171" y="150"/>
                  </a:lnTo>
                  <a:lnTo>
                    <a:pt x="178" y="150"/>
                  </a:lnTo>
                  <a:lnTo>
                    <a:pt x="189" y="154"/>
                  </a:lnTo>
                  <a:lnTo>
                    <a:pt x="192" y="154"/>
                  </a:lnTo>
                  <a:lnTo>
                    <a:pt x="200" y="150"/>
                  </a:lnTo>
                  <a:lnTo>
                    <a:pt x="203" y="143"/>
                  </a:lnTo>
                  <a:lnTo>
                    <a:pt x="203" y="129"/>
                  </a:lnTo>
                  <a:lnTo>
                    <a:pt x="214" y="132"/>
                  </a:lnTo>
                  <a:lnTo>
                    <a:pt x="221" y="132"/>
                  </a:lnTo>
                  <a:lnTo>
                    <a:pt x="232" y="125"/>
                  </a:lnTo>
                  <a:lnTo>
                    <a:pt x="246" y="115"/>
                  </a:lnTo>
                  <a:lnTo>
                    <a:pt x="271" y="86"/>
                  </a:lnTo>
                  <a:lnTo>
                    <a:pt x="299" y="54"/>
                  </a:lnTo>
                  <a:lnTo>
                    <a:pt x="314" y="40"/>
                  </a:lnTo>
                  <a:lnTo>
                    <a:pt x="335" y="25"/>
                  </a:lnTo>
                  <a:lnTo>
                    <a:pt x="360" y="11"/>
                  </a:lnTo>
                  <a:lnTo>
                    <a:pt x="381" y="4"/>
                  </a:lnTo>
                  <a:lnTo>
                    <a:pt x="406" y="0"/>
                  </a:lnTo>
                  <a:lnTo>
                    <a:pt x="428" y="4"/>
                  </a:lnTo>
                  <a:lnTo>
                    <a:pt x="449" y="11"/>
                  </a:lnTo>
                  <a:lnTo>
                    <a:pt x="456" y="18"/>
                  </a:lnTo>
                  <a:lnTo>
                    <a:pt x="463" y="25"/>
                  </a:lnTo>
                  <a:lnTo>
                    <a:pt x="478" y="40"/>
                  </a:lnTo>
                  <a:lnTo>
                    <a:pt x="488" y="47"/>
                  </a:lnTo>
                  <a:lnTo>
                    <a:pt x="495" y="47"/>
                  </a:lnTo>
                  <a:lnTo>
                    <a:pt x="503" y="40"/>
                  </a:lnTo>
                  <a:lnTo>
                    <a:pt x="513" y="25"/>
                  </a:lnTo>
                  <a:lnTo>
                    <a:pt x="517" y="15"/>
                  </a:lnTo>
                  <a:lnTo>
                    <a:pt x="552" y="40"/>
                  </a:lnTo>
                  <a:lnTo>
                    <a:pt x="581" y="61"/>
                  </a:lnTo>
                  <a:lnTo>
                    <a:pt x="592" y="68"/>
                  </a:lnTo>
                  <a:lnTo>
                    <a:pt x="595" y="79"/>
                  </a:lnTo>
                  <a:lnTo>
                    <a:pt x="634" y="132"/>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39" name="Freeform 35"/>
            <p:cNvSpPr>
              <a:spLocks/>
            </p:cNvSpPr>
            <p:nvPr/>
          </p:nvSpPr>
          <p:spPr bwMode="auto">
            <a:xfrm>
              <a:off x="2446" y="2199"/>
              <a:ext cx="24" cy="25"/>
            </a:xfrm>
            <a:custGeom>
              <a:avLst/>
              <a:gdLst>
                <a:gd name="T0" fmla="*/ 24 w 24"/>
                <a:gd name="T1" fmla="*/ 11 h 25"/>
                <a:gd name="T2" fmla="*/ 24 w 24"/>
                <a:gd name="T3" fmla="*/ 11 h 25"/>
                <a:gd name="T4" fmla="*/ 21 w 24"/>
                <a:gd name="T5" fmla="*/ 22 h 25"/>
                <a:gd name="T6" fmla="*/ 10 w 24"/>
                <a:gd name="T7" fmla="*/ 25 h 25"/>
                <a:gd name="T8" fmla="*/ 10 w 24"/>
                <a:gd name="T9" fmla="*/ 25 h 25"/>
                <a:gd name="T10" fmla="*/ 3 w 24"/>
                <a:gd name="T11" fmla="*/ 22 h 25"/>
                <a:gd name="T12" fmla="*/ 0 w 24"/>
                <a:gd name="T13" fmla="*/ 11 h 25"/>
                <a:gd name="T14" fmla="*/ 0 w 24"/>
                <a:gd name="T15" fmla="*/ 11 h 25"/>
                <a:gd name="T16" fmla="*/ 3 w 24"/>
                <a:gd name="T17" fmla="*/ 4 h 25"/>
                <a:gd name="T18" fmla="*/ 10 w 24"/>
                <a:gd name="T19" fmla="*/ 0 h 25"/>
                <a:gd name="T20" fmla="*/ 10 w 24"/>
                <a:gd name="T21" fmla="*/ 0 h 25"/>
                <a:gd name="T22" fmla="*/ 21 w 24"/>
                <a:gd name="T23" fmla="*/ 4 h 25"/>
                <a:gd name="T24" fmla="*/ 24 w 24"/>
                <a:gd name="T25" fmla="*/ 11 h 25"/>
                <a:gd name="T26" fmla="*/ 24 w 24"/>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25"/>
                <a:gd name="T44" fmla="*/ 24 w 24"/>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25">
                  <a:moveTo>
                    <a:pt x="24" y="11"/>
                  </a:moveTo>
                  <a:lnTo>
                    <a:pt x="24" y="11"/>
                  </a:lnTo>
                  <a:lnTo>
                    <a:pt x="21" y="22"/>
                  </a:lnTo>
                  <a:lnTo>
                    <a:pt x="10" y="25"/>
                  </a:lnTo>
                  <a:lnTo>
                    <a:pt x="3" y="22"/>
                  </a:lnTo>
                  <a:lnTo>
                    <a:pt x="0" y="11"/>
                  </a:lnTo>
                  <a:lnTo>
                    <a:pt x="3" y="4"/>
                  </a:lnTo>
                  <a:lnTo>
                    <a:pt x="10" y="0"/>
                  </a:lnTo>
                  <a:lnTo>
                    <a:pt x="21" y="4"/>
                  </a:lnTo>
                  <a:lnTo>
                    <a:pt x="24"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0" name="Freeform 36"/>
            <p:cNvSpPr>
              <a:spLocks/>
            </p:cNvSpPr>
            <p:nvPr/>
          </p:nvSpPr>
          <p:spPr bwMode="auto">
            <a:xfrm>
              <a:off x="2431" y="2185"/>
              <a:ext cx="54" cy="54"/>
            </a:xfrm>
            <a:custGeom>
              <a:avLst/>
              <a:gdLst>
                <a:gd name="T0" fmla="*/ 54 w 54"/>
                <a:gd name="T1" fmla="*/ 25 h 54"/>
                <a:gd name="T2" fmla="*/ 54 w 54"/>
                <a:gd name="T3" fmla="*/ 25 h 54"/>
                <a:gd name="T4" fmla="*/ 50 w 54"/>
                <a:gd name="T5" fmla="*/ 36 h 54"/>
                <a:gd name="T6" fmla="*/ 47 w 54"/>
                <a:gd name="T7" fmla="*/ 47 h 54"/>
                <a:gd name="T8" fmla="*/ 36 w 54"/>
                <a:gd name="T9" fmla="*/ 50 h 54"/>
                <a:gd name="T10" fmla="*/ 25 w 54"/>
                <a:gd name="T11" fmla="*/ 54 h 54"/>
                <a:gd name="T12" fmla="*/ 25 w 54"/>
                <a:gd name="T13" fmla="*/ 54 h 54"/>
                <a:gd name="T14" fmla="*/ 18 w 54"/>
                <a:gd name="T15" fmla="*/ 50 h 54"/>
                <a:gd name="T16" fmla="*/ 7 w 54"/>
                <a:gd name="T17" fmla="*/ 47 h 54"/>
                <a:gd name="T18" fmla="*/ 4 w 54"/>
                <a:gd name="T19" fmla="*/ 36 h 54"/>
                <a:gd name="T20" fmla="*/ 0 w 54"/>
                <a:gd name="T21" fmla="*/ 25 h 54"/>
                <a:gd name="T22" fmla="*/ 0 w 54"/>
                <a:gd name="T23" fmla="*/ 25 h 54"/>
                <a:gd name="T24" fmla="*/ 4 w 54"/>
                <a:gd name="T25" fmla="*/ 14 h 54"/>
                <a:gd name="T26" fmla="*/ 7 w 54"/>
                <a:gd name="T27" fmla="*/ 7 h 54"/>
                <a:gd name="T28" fmla="*/ 18 w 54"/>
                <a:gd name="T29" fmla="*/ 0 h 54"/>
                <a:gd name="T30" fmla="*/ 25 w 54"/>
                <a:gd name="T31" fmla="*/ 0 h 54"/>
                <a:gd name="T32" fmla="*/ 25 w 54"/>
                <a:gd name="T33" fmla="*/ 0 h 54"/>
                <a:gd name="T34" fmla="*/ 36 w 54"/>
                <a:gd name="T35" fmla="*/ 0 h 54"/>
                <a:gd name="T36" fmla="*/ 47 w 54"/>
                <a:gd name="T37" fmla="*/ 7 h 54"/>
                <a:gd name="T38" fmla="*/ 50 w 54"/>
                <a:gd name="T39" fmla="*/ 14 h 54"/>
                <a:gd name="T40" fmla="*/ 54 w 54"/>
                <a:gd name="T41" fmla="*/ 25 h 54"/>
                <a:gd name="T42" fmla="*/ 54 w 54"/>
                <a:gd name="T43" fmla="*/ 25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5"/>
                  </a:moveTo>
                  <a:lnTo>
                    <a:pt x="54" y="25"/>
                  </a:lnTo>
                  <a:lnTo>
                    <a:pt x="50" y="36"/>
                  </a:lnTo>
                  <a:lnTo>
                    <a:pt x="47" y="47"/>
                  </a:lnTo>
                  <a:lnTo>
                    <a:pt x="36" y="50"/>
                  </a:lnTo>
                  <a:lnTo>
                    <a:pt x="25" y="54"/>
                  </a:lnTo>
                  <a:lnTo>
                    <a:pt x="18" y="50"/>
                  </a:lnTo>
                  <a:lnTo>
                    <a:pt x="7" y="47"/>
                  </a:lnTo>
                  <a:lnTo>
                    <a:pt x="4" y="36"/>
                  </a:lnTo>
                  <a:lnTo>
                    <a:pt x="0" y="25"/>
                  </a:lnTo>
                  <a:lnTo>
                    <a:pt x="4" y="14"/>
                  </a:lnTo>
                  <a:lnTo>
                    <a:pt x="7" y="7"/>
                  </a:lnTo>
                  <a:lnTo>
                    <a:pt x="18" y="0"/>
                  </a:lnTo>
                  <a:lnTo>
                    <a:pt x="25" y="0"/>
                  </a:lnTo>
                  <a:lnTo>
                    <a:pt x="36" y="0"/>
                  </a:lnTo>
                  <a:lnTo>
                    <a:pt x="47" y="7"/>
                  </a:lnTo>
                  <a:lnTo>
                    <a:pt x="50" y="14"/>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1" name="Freeform 37"/>
            <p:cNvSpPr>
              <a:spLocks/>
            </p:cNvSpPr>
            <p:nvPr/>
          </p:nvSpPr>
          <p:spPr bwMode="auto">
            <a:xfrm>
              <a:off x="2759" y="2324"/>
              <a:ext cx="22" cy="25"/>
            </a:xfrm>
            <a:custGeom>
              <a:avLst/>
              <a:gdLst>
                <a:gd name="T0" fmla="*/ 22 w 22"/>
                <a:gd name="T1" fmla="*/ 14 h 25"/>
                <a:gd name="T2" fmla="*/ 22 w 22"/>
                <a:gd name="T3" fmla="*/ 14 h 25"/>
                <a:gd name="T4" fmla="*/ 18 w 22"/>
                <a:gd name="T5" fmla="*/ 22 h 25"/>
                <a:gd name="T6" fmla="*/ 11 w 22"/>
                <a:gd name="T7" fmla="*/ 25 h 25"/>
                <a:gd name="T8" fmla="*/ 11 w 22"/>
                <a:gd name="T9" fmla="*/ 25 h 25"/>
                <a:gd name="T10" fmla="*/ 4 w 22"/>
                <a:gd name="T11" fmla="*/ 22 h 25"/>
                <a:gd name="T12" fmla="*/ 0 w 22"/>
                <a:gd name="T13" fmla="*/ 14 h 25"/>
                <a:gd name="T14" fmla="*/ 0 w 22"/>
                <a:gd name="T15" fmla="*/ 14 h 25"/>
                <a:gd name="T16" fmla="*/ 4 w 22"/>
                <a:gd name="T17" fmla="*/ 4 h 25"/>
                <a:gd name="T18" fmla="*/ 11 w 22"/>
                <a:gd name="T19" fmla="*/ 0 h 25"/>
                <a:gd name="T20" fmla="*/ 11 w 22"/>
                <a:gd name="T21" fmla="*/ 0 h 25"/>
                <a:gd name="T22" fmla="*/ 18 w 22"/>
                <a:gd name="T23" fmla="*/ 4 h 25"/>
                <a:gd name="T24" fmla="*/ 22 w 22"/>
                <a:gd name="T25" fmla="*/ 14 h 25"/>
                <a:gd name="T26" fmla="*/ 22 w 22"/>
                <a:gd name="T27" fmla="*/ 14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5"/>
                <a:gd name="T44" fmla="*/ 22 w 22"/>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5">
                  <a:moveTo>
                    <a:pt x="22" y="14"/>
                  </a:moveTo>
                  <a:lnTo>
                    <a:pt x="22" y="14"/>
                  </a:lnTo>
                  <a:lnTo>
                    <a:pt x="18" y="22"/>
                  </a:lnTo>
                  <a:lnTo>
                    <a:pt x="11" y="25"/>
                  </a:lnTo>
                  <a:lnTo>
                    <a:pt x="4" y="22"/>
                  </a:lnTo>
                  <a:lnTo>
                    <a:pt x="0" y="14"/>
                  </a:lnTo>
                  <a:lnTo>
                    <a:pt x="4" y="4"/>
                  </a:lnTo>
                  <a:lnTo>
                    <a:pt x="11" y="0"/>
                  </a:lnTo>
                  <a:lnTo>
                    <a:pt x="18" y="4"/>
                  </a:lnTo>
                  <a:lnTo>
                    <a:pt x="22" y="14"/>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2" name="Freeform 38"/>
            <p:cNvSpPr>
              <a:spLocks/>
            </p:cNvSpPr>
            <p:nvPr/>
          </p:nvSpPr>
          <p:spPr bwMode="auto">
            <a:xfrm>
              <a:off x="2745" y="2310"/>
              <a:ext cx="53" cy="53"/>
            </a:xfrm>
            <a:custGeom>
              <a:avLst/>
              <a:gdLst>
                <a:gd name="T0" fmla="*/ 53 w 53"/>
                <a:gd name="T1" fmla="*/ 28 h 53"/>
                <a:gd name="T2" fmla="*/ 53 w 53"/>
                <a:gd name="T3" fmla="*/ 28 h 53"/>
                <a:gd name="T4" fmla="*/ 50 w 53"/>
                <a:gd name="T5" fmla="*/ 39 h 53"/>
                <a:gd name="T6" fmla="*/ 43 w 53"/>
                <a:gd name="T7" fmla="*/ 46 h 53"/>
                <a:gd name="T8" fmla="*/ 36 w 53"/>
                <a:gd name="T9" fmla="*/ 53 h 53"/>
                <a:gd name="T10" fmla="*/ 25 w 53"/>
                <a:gd name="T11" fmla="*/ 53 h 53"/>
                <a:gd name="T12" fmla="*/ 25 w 53"/>
                <a:gd name="T13" fmla="*/ 53 h 53"/>
                <a:gd name="T14" fmla="*/ 14 w 53"/>
                <a:gd name="T15" fmla="*/ 53 h 53"/>
                <a:gd name="T16" fmla="*/ 7 w 53"/>
                <a:gd name="T17" fmla="*/ 46 h 53"/>
                <a:gd name="T18" fmla="*/ 0 w 53"/>
                <a:gd name="T19" fmla="*/ 39 h 53"/>
                <a:gd name="T20" fmla="*/ 0 w 53"/>
                <a:gd name="T21" fmla="*/ 28 h 53"/>
                <a:gd name="T22" fmla="*/ 0 w 53"/>
                <a:gd name="T23" fmla="*/ 28 h 53"/>
                <a:gd name="T24" fmla="*/ 0 w 53"/>
                <a:gd name="T25" fmla="*/ 18 h 53"/>
                <a:gd name="T26" fmla="*/ 7 w 53"/>
                <a:gd name="T27" fmla="*/ 7 h 53"/>
                <a:gd name="T28" fmla="*/ 14 w 53"/>
                <a:gd name="T29" fmla="*/ 4 h 53"/>
                <a:gd name="T30" fmla="*/ 25 w 53"/>
                <a:gd name="T31" fmla="*/ 0 h 53"/>
                <a:gd name="T32" fmla="*/ 25 w 53"/>
                <a:gd name="T33" fmla="*/ 0 h 53"/>
                <a:gd name="T34" fmla="*/ 36 w 53"/>
                <a:gd name="T35" fmla="*/ 4 h 53"/>
                <a:gd name="T36" fmla="*/ 43 w 53"/>
                <a:gd name="T37" fmla="*/ 7 h 53"/>
                <a:gd name="T38" fmla="*/ 50 w 53"/>
                <a:gd name="T39" fmla="*/ 18 h 53"/>
                <a:gd name="T40" fmla="*/ 53 w 53"/>
                <a:gd name="T41" fmla="*/ 28 h 53"/>
                <a:gd name="T42" fmla="*/ 53 w 53"/>
                <a:gd name="T43" fmla="*/ 28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3"/>
                <a:gd name="T68" fmla="*/ 53 w 53"/>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3">
                  <a:moveTo>
                    <a:pt x="53" y="28"/>
                  </a:moveTo>
                  <a:lnTo>
                    <a:pt x="53" y="28"/>
                  </a:lnTo>
                  <a:lnTo>
                    <a:pt x="50" y="39"/>
                  </a:lnTo>
                  <a:lnTo>
                    <a:pt x="43" y="46"/>
                  </a:lnTo>
                  <a:lnTo>
                    <a:pt x="36" y="53"/>
                  </a:lnTo>
                  <a:lnTo>
                    <a:pt x="25" y="53"/>
                  </a:lnTo>
                  <a:lnTo>
                    <a:pt x="14" y="53"/>
                  </a:lnTo>
                  <a:lnTo>
                    <a:pt x="7" y="46"/>
                  </a:lnTo>
                  <a:lnTo>
                    <a:pt x="0" y="39"/>
                  </a:lnTo>
                  <a:lnTo>
                    <a:pt x="0" y="28"/>
                  </a:lnTo>
                  <a:lnTo>
                    <a:pt x="0" y="18"/>
                  </a:lnTo>
                  <a:lnTo>
                    <a:pt x="7" y="7"/>
                  </a:lnTo>
                  <a:lnTo>
                    <a:pt x="14" y="4"/>
                  </a:lnTo>
                  <a:lnTo>
                    <a:pt x="25" y="0"/>
                  </a:lnTo>
                  <a:lnTo>
                    <a:pt x="36" y="4"/>
                  </a:lnTo>
                  <a:lnTo>
                    <a:pt x="43" y="7"/>
                  </a:lnTo>
                  <a:lnTo>
                    <a:pt x="50" y="18"/>
                  </a:lnTo>
                  <a:lnTo>
                    <a:pt x="53" y="28"/>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3" name="Freeform 39"/>
            <p:cNvSpPr>
              <a:spLocks/>
            </p:cNvSpPr>
            <p:nvPr/>
          </p:nvSpPr>
          <p:spPr bwMode="auto">
            <a:xfrm>
              <a:off x="2770" y="2114"/>
              <a:ext cx="25" cy="21"/>
            </a:xfrm>
            <a:custGeom>
              <a:avLst/>
              <a:gdLst>
                <a:gd name="T0" fmla="*/ 25 w 25"/>
                <a:gd name="T1" fmla="*/ 11 h 21"/>
                <a:gd name="T2" fmla="*/ 25 w 25"/>
                <a:gd name="T3" fmla="*/ 11 h 21"/>
                <a:gd name="T4" fmla="*/ 21 w 25"/>
                <a:gd name="T5" fmla="*/ 18 h 21"/>
                <a:gd name="T6" fmla="*/ 11 w 25"/>
                <a:gd name="T7" fmla="*/ 21 h 21"/>
                <a:gd name="T8" fmla="*/ 11 w 25"/>
                <a:gd name="T9" fmla="*/ 21 h 21"/>
                <a:gd name="T10" fmla="*/ 3 w 25"/>
                <a:gd name="T11" fmla="*/ 18 h 21"/>
                <a:gd name="T12" fmla="*/ 0 w 25"/>
                <a:gd name="T13" fmla="*/ 11 h 21"/>
                <a:gd name="T14" fmla="*/ 0 w 25"/>
                <a:gd name="T15" fmla="*/ 11 h 21"/>
                <a:gd name="T16" fmla="*/ 3 w 25"/>
                <a:gd name="T17" fmla="*/ 3 h 21"/>
                <a:gd name="T18" fmla="*/ 11 w 25"/>
                <a:gd name="T19" fmla="*/ 0 h 21"/>
                <a:gd name="T20" fmla="*/ 11 w 25"/>
                <a:gd name="T21" fmla="*/ 0 h 21"/>
                <a:gd name="T22" fmla="*/ 21 w 25"/>
                <a:gd name="T23" fmla="*/ 3 h 21"/>
                <a:gd name="T24" fmla="*/ 25 w 25"/>
                <a:gd name="T25" fmla="*/ 11 h 21"/>
                <a:gd name="T26" fmla="*/ 25 w 25"/>
                <a:gd name="T27" fmla="*/ 1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1"/>
                <a:gd name="T44" fmla="*/ 25 w 25"/>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1">
                  <a:moveTo>
                    <a:pt x="25" y="11"/>
                  </a:moveTo>
                  <a:lnTo>
                    <a:pt x="25" y="11"/>
                  </a:lnTo>
                  <a:lnTo>
                    <a:pt x="21" y="18"/>
                  </a:lnTo>
                  <a:lnTo>
                    <a:pt x="11" y="21"/>
                  </a:lnTo>
                  <a:lnTo>
                    <a:pt x="3" y="18"/>
                  </a:lnTo>
                  <a:lnTo>
                    <a:pt x="0" y="11"/>
                  </a:lnTo>
                  <a:lnTo>
                    <a:pt x="3" y="3"/>
                  </a:lnTo>
                  <a:lnTo>
                    <a:pt x="11" y="0"/>
                  </a:lnTo>
                  <a:lnTo>
                    <a:pt x="21" y="3"/>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4" name="Freeform 40"/>
            <p:cNvSpPr>
              <a:spLocks/>
            </p:cNvSpPr>
            <p:nvPr/>
          </p:nvSpPr>
          <p:spPr bwMode="auto">
            <a:xfrm>
              <a:off x="2756" y="2096"/>
              <a:ext cx="53" cy="54"/>
            </a:xfrm>
            <a:custGeom>
              <a:avLst/>
              <a:gdLst>
                <a:gd name="T0" fmla="*/ 53 w 53"/>
                <a:gd name="T1" fmla="*/ 29 h 54"/>
                <a:gd name="T2" fmla="*/ 53 w 53"/>
                <a:gd name="T3" fmla="*/ 29 h 54"/>
                <a:gd name="T4" fmla="*/ 50 w 53"/>
                <a:gd name="T5" fmla="*/ 39 h 54"/>
                <a:gd name="T6" fmla="*/ 46 w 53"/>
                <a:gd name="T7" fmla="*/ 46 h 54"/>
                <a:gd name="T8" fmla="*/ 35 w 53"/>
                <a:gd name="T9" fmla="*/ 54 h 54"/>
                <a:gd name="T10" fmla="*/ 25 w 53"/>
                <a:gd name="T11" fmla="*/ 54 h 54"/>
                <a:gd name="T12" fmla="*/ 25 w 53"/>
                <a:gd name="T13" fmla="*/ 54 h 54"/>
                <a:gd name="T14" fmla="*/ 17 w 53"/>
                <a:gd name="T15" fmla="*/ 54 h 54"/>
                <a:gd name="T16" fmla="*/ 7 w 53"/>
                <a:gd name="T17" fmla="*/ 46 h 54"/>
                <a:gd name="T18" fmla="*/ 3 w 53"/>
                <a:gd name="T19" fmla="*/ 39 h 54"/>
                <a:gd name="T20" fmla="*/ 0 w 53"/>
                <a:gd name="T21" fmla="*/ 29 h 54"/>
                <a:gd name="T22" fmla="*/ 0 w 53"/>
                <a:gd name="T23" fmla="*/ 29 h 54"/>
                <a:gd name="T24" fmla="*/ 3 w 53"/>
                <a:gd name="T25" fmla="*/ 18 h 54"/>
                <a:gd name="T26" fmla="*/ 7 w 53"/>
                <a:gd name="T27" fmla="*/ 11 h 54"/>
                <a:gd name="T28" fmla="*/ 17 w 53"/>
                <a:gd name="T29" fmla="*/ 4 h 54"/>
                <a:gd name="T30" fmla="*/ 25 w 53"/>
                <a:gd name="T31" fmla="*/ 0 h 54"/>
                <a:gd name="T32" fmla="*/ 25 w 53"/>
                <a:gd name="T33" fmla="*/ 0 h 54"/>
                <a:gd name="T34" fmla="*/ 35 w 53"/>
                <a:gd name="T35" fmla="*/ 4 h 54"/>
                <a:gd name="T36" fmla="*/ 46 w 53"/>
                <a:gd name="T37" fmla="*/ 11 h 54"/>
                <a:gd name="T38" fmla="*/ 50 w 53"/>
                <a:gd name="T39" fmla="*/ 18 h 54"/>
                <a:gd name="T40" fmla="*/ 53 w 53"/>
                <a:gd name="T41" fmla="*/ 29 h 54"/>
                <a:gd name="T42" fmla="*/ 53 w 53"/>
                <a:gd name="T43" fmla="*/ 2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4"/>
                <a:gd name="T68" fmla="*/ 53 w 53"/>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4">
                  <a:moveTo>
                    <a:pt x="53" y="29"/>
                  </a:moveTo>
                  <a:lnTo>
                    <a:pt x="53" y="29"/>
                  </a:lnTo>
                  <a:lnTo>
                    <a:pt x="50" y="39"/>
                  </a:lnTo>
                  <a:lnTo>
                    <a:pt x="46" y="46"/>
                  </a:lnTo>
                  <a:lnTo>
                    <a:pt x="35" y="54"/>
                  </a:lnTo>
                  <a:lnTo>
                    <a:pt x="25" y="54"/>
                  </a:lnTo>
                  <a:lnTo>
                    <a:pt x="17" y="54"/>
                  </a:lnTo>
                  <a:lnTo>
                    <a:pt x="7" y="46"/>
                  </a:lnTo>
                  <a:lnTo>
                    <a:pt x="3" y="39"/>
                  </a:lnTo>
                  <a:lnTo>
                    <a:pt x="0" y="29"/>
                  </a:lnTo>
                  <a:lnTo>
                    <a:pt x="3" y="18"/>
                  </a:lnTo>
                  <a:lnTo>
                    <a:pt x="7" y="11"/>
                  </a:lnTo>
                  <a:lnTo>
                    <a:pt x="17" y="4"/>
                  </a:lnTo>
                  <a:lnTo>
                    <a:pt x="25" y="0"/>
                  </a:lnTo>
                  <a:lnTo>
                    <a:pt x="35" y="4"/>
                  </a:lnTo>
                  <a:lnTo>
                    <a:pt x="46" y="11"/>
                  </a:lnTo>
                  <a:lnTo>
                    <a:pt x="50" y="18"/>
                  </a:lnTo>
                  <a:lnTo>
                    <a:pt x="53" y="29"/>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5" name="Freeform 41"/>
            <p:cNvSpPr>
              <a:spLocks/>
            </p:cNvSpPr>
            <p:nvPr/>
          </p:nvSpPr>
          <p:spPr bwMode="auto">
            <a:xfrm>
              <a:off x="3101" y="2035"/>
              <a:ext cx="25" cy="25"/>
            </a:xfrm>
            <a:custGeom>
              <a:avLst/>
              <a:gdLst>
                <a:gd name="T0" fmla="*/ 25 w 25"/>
                <a:gd name="T1" fmla="*/ 11 h 25"/>
                <a:gd name="T2" fmla="*/ 25 w 25"/>
                <a:gd name="T3" fmla="*/ 11 h 25"/>
                <a:gd name="T4" fmla="*/ 22 w 25"/>
                <a:gd name="T5" fmla="*/ 22 h 25"/>
                <a:gd name="T6" fmla="*/ 15 w 25"/>
                <a:gd name="T7" fmla="*/ 25 h 25"/>
                <a:gd name="T8" fmla="*/ 15 w 25"/>
                <a:gd name="T9" fmla="*/ 25 h 25"/>
                <a:gd name="T10" fmla="*/ 4 w 25"/>
                <a:gd name="T11" fmla="*/ 22 h 25"/>
                <a:gd name="T12" fmla="*/ 0 w 25"/>
                <a:gd name="T13" fmla="*/ 11 h 25"/>
                <a:gd name="T14" fmla="*/ 0 w 25"/>
                <a:gd name="T15" fmla="*/ 11 h 25"/>
                <a:gd name="T16" fmla="*/ 4 w 25"/>
                <a:gd name="T17" fmla="*/ 4 h 25"/>
                <a:gd name="T18" fmla="*/ 15 w 25"/>
                <a:gd name="T19" fmla="*/ 0 h 25"/>
                <a:gd name="T20" fmla="*/ 15 w 25"/>
                <a:gd name="T21" fmla="*/ 0 h 25"/>
                <a:gd name="T22" fmla="*/ 22 w 25"/>
                <a:gd name="T23" fmla="*/ 4 h 25"/>
                <a:gd name="T24" fmla="*/ 25 w 25"/>
                <a:gd name="T25" fmla="*/ 11 h 25"/>
                <a:gd name="T26" fmla="*/ 25 w 25"/>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1"/>
                  </a:moveTo>
                  <a:lnTo>
                    <a:pt x="25" y="11"/>
                  </a:lnTo>
                  <a:lnTo>
                    <a:pt x="22" y="22"/>
                  </a:lnTo>
                  <a:lnTo>
                    <a:pt x="15" y="25"/>
                  </a:lnTo>
                  <a:lnTo>
                    <a:pt x="4" y="22"/>
                  </a:lnTo>
                  <a:lnTo>
                    <a:pt x="0" y="11"/>
                  </a:lnTo>
                  <a:lnTo>
                    <a:pt x="4" y="4"/>
                  </a:lnTo>
                  <a:lnTo>
                    <a:pt x="15" y="0"/>
                  </a:lnTo>
                  <a:lnTo>
                    <a:pt x="22" y="4"/>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6" name="Freeform 42"/>
            <p:cNvSpPr>
              <a:spLocks/>
            </p:cNvSpPr>
            <p:nvPr/>
          </p:nvSpPr>
          <p:spPr bwMode="auto">
            <a:xfrm>
              <a:off x="3087" y="2021"/>
              <a:ext cx="54" cy="54"/>
            </a:xfrm>
            <a:custGeom>
              <a:avLst/>
              <a:gdLst>
                <a:gd name="T0" fmla="*/ 54 w 54"/>
                <a:gd name="T1" fmla="*/ 25 h 54"/>
                <a:gd name="T2" fmla="*/ 54 w 54"/>
                <a:gd name="T3" fmla="*/ 25 h 54"/>
                <a:gd name="T4" fmla="*/ 54 w 54"/>
                <a:gd name="T5" fmla="*/ 36 h 54"/>
                <a:gd name="T6" fmla="*/ 47 w 54"/>
                <a:gd name="T7" fmla="*/ 47 h 54"/>
                <a:gd name="T8" fmla="*/ 39 w 54"/>
                <a:gd name="T9" fmla="*/ 50 h 54"/>
                <a:gd name="T10" fmla="*/ 29 w 54"/>
                <a:gd name="T11" fmla="*/ 54 h 54"/>
                <a:gd name="T12" fmla="*/ 29 w 54"/>
                <a:gd name="T13" fmla="*/ 54 h 54"/>
                <a:gd name="T14" fmla="*/ 18 w 54"/>
                <a:gd name="T15" fmla="*/ 50 h 54"/>
                <a:gd name="T16" fmla="*/ 7 w 54"/>
                <a:gd name="T17" fmla="*/ 47 h 54"/>
                <a:gd name="T18" fmla="*/ 4 w 54"/>
                <a:gd name="T19" fmla="*/ 36 h 54"/>
                <a:gd name="T20" fmla="*/ 0 w 54"/>
                <a:gd name="T21" fmla="*/ 25 h 54"/>
                <a:gd name="T22" fmla="*/ 0 w 54"/>
                <a:gd name="T23" fmla="*/ 25 h 54"/>
                <a:gd name="T24" fmla="*/ 4 w 54"/>
                <a:gd name="T25" fmla="*/ 14 h 54"/>
                <a:gd name="T26" fmla="*/ 7 w 54"/>
                <a:gd name="T27" fmla="*/ 7 h 54"/>
                <a:gd name="T28" fmla="*/ 18 w 54"/>
                <a:gd name="T29" fmla="*/ 0 h 54"/>
                <a:gd name="T30" fmla="*/ 29 w 54"/>
                <a:gd name="T31" fmla="*/ 0 h 54"/>
                <a:gd name="T32" fmla="*/ 29 w 54"/>
                <a:gd name="T33" fmla="*/ 0 h 54"/>
                <a:gd name="T34" fmla="*/ 39 w 54"/>
                <a:gd name="T35" fmla="*/ 0 h 54"/>
                <a:gd name="T36" fmla="*/ 47 w 54"/>
                <a:gd name="T37" fmla="*/ 7 h 54"/>
                <a:gd name="T38" fmla="*/ 54 w 54"/>
                <a:gd name="T39" fmla="*/ 14 h 54"/>
                <a:gd name="T40" fmla="*/ 54 w 54"/>
                <a:gd name="T41" fmla="*/ 25 h 54"/>
                <a:gd name="T42" fmla="*/ 54 w 54"/>
                <a:gd name="T43" fmla="*/ 25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5"/>
                  </a:moveTo>
                  <a:lnTo>
                    <a:pt x="54" y="25"/>
                  </a:lnTo>
                  <a:lnTo>
                    <a:pt x="54" y="36"/>
                  </a:lnTo>
                  <a:lnTo>
                    <a:pt x="47" y="47"/>
                  </a:lnTo>
                  <a:lnTo>
                    <a:pt x="39" y="50"/>
                  </a:lnTo>
                  <a:lnTo>
                    <a:pt x="29" y="54"/>
                  </a:lnTo>
                  <a:lnTo>
                    <a:pt x="18" y="50"/>
                  </a:lnTo>
                  <a:lnTo>
                    <a:pt x="7" y="47"/>
                  </a:lnTo>
                  <a:lnTo>
                    <a:pt x="4" y="36"/>
                  </a:lnTo>
                  <a:lnTo>
                    <a:pt x="0" y="25"/>
                  </a:lnTo>
                  <a:lnTo>
                    <a:pt x="4" y="14"/>
                  </a:lnTo>
                  <a:lnTo>
                    <a:pt x="7" y="7"/>
                  </a:lnTo>
                  <a:lnTo>
                    <a:pt x="18" y="0"/>
                  </a:lnTo>
                  <a:lnTo>
                    <a:pt x="29" y="0"/>
                  </a:lnTo>
                  <a:lnTo>
                    <a:pt x="39" y="0"/>
                  </a:lnTo>
                  <a:lnTo>
                    <a:pt x="47" y="7"/>
                  </a:lnTo>
                  <a:lnTo>
                    <a:pt x="54" y="14"/>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7" name="Freeform 43"/>
            <p:cNvSpPr>
              <a:spLocks/>
            </p:cNvSpPr>
            <p:nvPr/>
          </p:nvSpPr>
          <p:spPr bwMode="auto">
            <a:xfrm>
              <a:off x="3344" y="2321"/>
              <a:ext cx="21" cy="21"/>
            </a:xfrm>
            <a:custGeom>
              <a:avLst/>
              <a:gdLst>
                <a:gd name="T0" fmla="*/ 21 w 21"/>
                <a:gd name="T1" fmla="*/ 10 h 21"/>
                <a:gd name="T2" fmla="*/ 21 w 21"/>
                <a:gd name="T3" fmla="*/ 10 h 21"/>
                <a:gd name="T4" fmla="*/ 18 w 21"/>
                <a:gd name="T5" fmla="*/ 17 h 21"/>
                <a:gd name="T6" fmla="*/ 11 w 21"/>
                <a:gd name="T7" fmla="*/ 21 h 21"/>
                <a:gd name="T8" fmla="*/ 11 w 21"/>
                <a:gd name="T9" fmla="*/ 21 h 21"/>
                <a:gd name="T10" fmla="*/ 3 w 21"/>
                <a:gd name="T11" fmla="*/ 17 h 21"/>
                <a:gd name="T12" fmla="*/ 0 w 21"/>
                <a:gd name="T13" fmla="*/ 10 h 21"/>
                <a:gd name="T14" fmla="*/ 0 w 21"/>
                <a:gd name="T15" fmla="*/ 10 h 21"/>
                <a:gd name="T16" fmla="*/ 3 w 21"/>
                <a:gd name="T17" fmla="*/ 3 h 21"/>
                <a:gd name="T18" fmla="*/ 11 w 21"/>
                <a:gd name="T19" fmla="*/ 0 h 21"/>
                <a:gd name="T20" fmla="*/ 11 w 21"/>
                <a:gd name="T21" fmla="*/ 0 h 21"/>
                <a:gd name="T22" fmla="*/ 18 w 21"/>
                <a:gd name="T23" fmla="*/ 3 h 21"/>
                <a:gd name="T24" fmla="*/ 21 w 21"/>
                <a:gd name="T25" fmla="*/ 10 h 21"/>
                <a:gd name="T26" fmla="*/ 21 w 21"/>
                <a:gd name="T27" fmla="*/ 10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21"/>
                <a:gd name="T44" fmla="*/ 21 w 21"/>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21">
                  <a:moveTo>
                    <a:pt x="21" y="10"/>
                  </a:moveTo>
                  <a:lnTo>
                    <a:pt x="21" y="10"/>
                  </a:lnTo>
                  <a:lnTo>
                    <a:pt x="18" y="17"/>
                  </a:lnTo>
                  <a:lnTo>
                    <a:pt x="11" y="21"/>
                  </a:lnTo>
                  <a:lnTo>
                    <a:pt x="3" y="17"/>
                  </a:lnTo>
                  <a:lnTo>
                    <a:pt x="0" y="10"/>
                  </a:lnTo>
                  <a:lnTo>
                    <a:pt x="3" y="3"/>
                  </a:lnTo>
                  <a:lnTo>
                    <a:pt x="11" y="0"/>
                  </a:lnTo>
                  <a:lnTo>
                    <a:pt x="18" y="3"/>
                  </a:lnTo>
                  <a:lnTo>
                    <a:pt x="21" y="10"/>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8" name="Freeform 44"/>
            <p:cNvSpPr>
              <a:spLocks/>
            </p:cNvSpPr>
            <p:nvPr/>
          </p:nvSpPr>
          <p:spPr bwMode="auto">
            <a:xfrm>
              <a:off x="3326" y="2303"/>
              <a:ext cx="54" cy="53"/>
            </a:xfrm>
            <a:custGeom>
              <a:avLst/>
              <a:gdLst>
                <a:gd name="T0" fmla="*/ 54 w 54"/>
                <a:gd name="T1" fmla="*/ 28 h 53"/>
                <a:gd name="T2" fmla="*/ 54 w 54"/>
                <a:gd name="T3" fmla="*/ 28 h 53"/>
                <a:gd name="T4" fmla="*/ 54 w 54"/>
                <a:gd name="T5" fmla="*/ 39 h 53"/>
                <a:gd name="T6" fmla="*/ 46 w 54"/>
                <a:gd name="T7" fmla="*/ 46 h 53"/>
                <a:gd name="T8" fmla="*/ 39 w 54"/>
                <a:gd name="T9" fmla="*/ 53 h 53"/>
                <a:gd name="T10" fmla="*/ 29 w 54"/>
                <a:gd name="T11" fmla="*/ 53 h 53"/>
                <a:gd name="T12" fmla="*/ 29 w 54"/>
                <a:gd name="T13" fmla="*/ 53 h 53"/>
                <a:gd name="T14" fmla="*/ 18 w 54"/>
                <a:gd name="T15" fmla="*/ 53 h 53"/>
                <a:gd name="T16" fmla="*/ 11 w 54"/>
                <a:gd name="T17" fmla="*/ 46 h 53"/>
                <a:gd name="T18" fmla="*/ 4 w 54"/>
                <a:gd name="T19" fmla="*/ 39 h 53"/>
                <a:gd name="T20" fmla="*/ 0 w 54"/>
                <a:gd name="T21" fmla="*/ 28 h 53"/>
                <a:gd name="T22" fmla="*/ 0 w 54"/>
                <a:gd name="T23" fmla="*/ 28 h 53"/>
                <a:gd name="T24" fmla="*/ 4 w 54"/>
                <a:gd name="T25" fmla="*/ 18 h 53"/>
                <a:gd name="T26" fmla="*/ 11 w 54"/>
                <a:gd name="T27" fmla="*/ 11 h 53"/>
                <a:gd name="T28" fmla="*/ 18 w 54"/>
                <a:gd name="T29" fmla="*/ 3 h 53"/>
                <a:gd name="T30" fmla="*/ 29 w 54"/>
                <a:gd name="T31" fmla="*/ 0 h 53"/>
                <a:gd name="T32" fmla="*/ 29 w 54"/>
                <a:gd name="T33" fmla="*/ 0 h 53"/>
                <a:gd name="T34" fmla="*/ 39 w 54"/>
                <a:gd name="T35" fmla="*/ 3 h 53"/>
                <a:gd name="T36" fmla="*/ 46 w 54"/>
                <a:gd name="T37" fmla="*/ 11 h 53"/>
                <a:gd name="T38" fmla="*/ 54 w 54"/>
                <a:gd name="T39" fmla="*/ 18 h 53"/>
                <a:gd name="T40" fmla="*/ 54 w 54"/>
                <a:gd name="T41" fmla="*/ 28 h 53"/>
                <a:gd name="T42" fmla="*/ 54 w 54"/>
                <a:gd name="T43" fmla="*/ 28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3"/>
                <a:gd name="T68" fmla="*/ 54 w 54"/>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3">
                  <a:moveTo>
                    <a:pt x="54" y="28"/>
                  </a:moveTo>
                  <a:lnTo>
                    <a:pt x="54" y="28"/>
                  </a:lnTo>
                  <a:lnTo>
                    <a:pt x="54" y="39"/>
                  </a:lnTo>
                  <a:lnTo>
                    <a:pt x="46" y="46"/>
                  </a:lnTo>
                  <a:lnTo>
                    <a:pt x="39" y="53"/>
                  </a:lnTo>
                  <a:lnTo>
                    <a:pt x="29" y="53"/>
                  </a:lnTo>
                  <a:lnTo>
                    <a:pt x="18" y="53"/>
                  </a:lnTo>
                  <a:lnTo>
                    <a:pt x="11" y="46"/>
                  </a:lnTo>
                  <a:lnTo>
                    <a:pt x="4" y="39"/>
                  </a:lnTo>
                  <a:lnTo>
                    <a:pt x="0" y="28"/>
                  </a:lnTo>
                  <a:lnTo>
                    <a:pt x="4" y="18"/>
                  </a:lnTo>
                  <a:lnTo>
                    <a:pt x="11" y="11"/>
                  </a:lnTo>
                  <a:lnTo>
                    <a:pt x="18" y="3"/>
                  </a:lnTo>
                  <a:lnTo>
                    <a:pt x="29" y="0"/>
                  </a:lnTo>
                  <a:lnTo>
                    <a:pt x="39" y="3"/>
                  </a:lnTo>
                  <a:lnTo>
                    <a:pt x="46" y="11"/>
                  </a:lnTo>
                  <a:lnTo>
                    <a:pt x="54" y="18"/>
                  </a:lnTo>
                  <a:lnTo>
                    <a:pt x="54" y="28"/>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49" name="Freeform 45"/>
            <p:cNvSpPr>
              <a:spLocks/>
            </p:cNvSpPr>
            <p:nvPr/>
          </p:nvSpPr>
          <p:spPr bwMode="auto">
            <a:xfrm>
              <a:off x="3237" y="2420"/>
              <a:ext cx="25" cy="25"/>
            </a:xfrm>
            <a:custGeom>
              <a:avLst/>
              <a:gdLst>
                <a:gd name="T0" fmla="*/ 25 w 25"/>
                <a:gd name="T1" fmla="*/ 11 h 25"/>
                <a:gd name="T2" fmla="*/ 25 w 25"/>
                <a:gd name="T3" fmla="*/ 11 h 25"/>
                <a:gd name="T4" fmla="*/ 21 w 25"/>
                <a:gd name="T5" fmla="*/ 22 h 25"/>
                <a:gd name="T6" fmla="*/ 11 w 25"/>
                <a:gd name="T7" fmla="*/ 25 h 25"/>
                <a:gd name="T8" fmla="*/ 11 w 25"/>
                <a:gd name="T9" fmla="*/ 25 h 25"/>
                <a:gd name="T10" fmla="*/ 3 w 25"/>
                <a:gd name="T11" fmla="*/ 22 h 25"/>
                <a:gd name="T12" fmla="*/ 0 w 25"/>
                <a:gd name="T13" fmla="*/ 11 h 25"/>
                <a:gd name="T14" fmla="*/ 0 w 25"/>
                <a:gd name="T15" fmla="*/ 11 h 25"/>
                <a:gd name="T16" fmla="*/ 3 w 25"/>
                <a:gd name="T17" fmla="*/ 4 h 25"/>
                <a:gd name="T18" fmla="*/ 11 w 25"/>
                <a:gd name="T19" fmla="*/ 0 h 25"/>
                <a:gd name="T20" fmla="*/ 11 w 25"/>
                <a:gd name="T21" fmla="*/ 0 h 25"/>
                <a:gd name="T22" fmla="*/ 21 w 25"/>
                <a:gd name="T23" fmla="*/ 4 h 25"/>
                <a:gd name="T24" fmla="*/ 25 w 25"/>
                <a:gd name="T25" fmla="*/ 11 h 25"/>
                <a:gd name="T26" fmla="*/ 25 w 25"/>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1"/>
                  </a:moveTo>
                  <a:lnTo>
                    <a:pt x="25" y="11"/>
                  </a:lnTo>
                  <a:lnTo>
                    <a:pt x="21" y="22"/>
                  </a:lnTo>
                  <a:lnTo>
                    <a:pt x="11" y="25"/>
                  </a:lnTo>
                  <a:lnTo>
                    <a:pt x="3" y="22"/>
                  </a:lnTo>
                  <a:lnTo>
                    <a:pt x="0" y="11"/>
                  </a:lnTo>
                  <a:lnTo>
                    <a:pt x="3" y="4"/>
                  </a:lnTo>
                  <a:lnTo>
                    <a:pt x="11" y="0"/>
                  </a:lnTo>
                  <a:lnTo>
                    <a:pt x="21" y="4"/>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0" name="Freeform 46"/>
            <p:cNvSpPr>
              <a:spLocks/>
            </p:cNvSpPr>
            <p:nvPr/>
          </p:nvSpPr>
          <p:spPr bwMode="auto">
            <a:xfrm>
              <a:off x="3223" y="2406"/>
              <a:ext cx="53" cy="54"/>
            </a:xfrm>
            <a:custGeom>
              <a:avLst/>
              <a:gdLst>
                <a:gd name="T0" fmla="*/ 53 w 53"/>
                <a:gd name="T1" fmla="*/ 25 h 54"/>
                <a:gd name="T2" fmla="*/ 53 w 53"/>
                <a:gd name="T3" fmla="*/ 25 h 54"/>
                <a:gd name="T4" fmla="*/ 50 w 53"/>
                <a:gd name="T5" fmla="*/ 36 h 54"/>
                <a:gd name="T6" fmla="*/ 46 w 53"/>
                <a:gd name="T7" fmla="*/ 47 h 54"/>
                <a:gd name="T8" fmla="*/ 35 w 53"/>
                <a:gd name="T9" fmla="*/ 50 h 54"/>
                <a:gd name="T10" fmla="*/ 25 w 53"/>
                <a:gd name="T11" fmla="*/ 54 h 54"/>
                <a:gd name="T12" fmla="*/ 25 w 53"/>
                <a:gd name="T13" fmla="*/ 54 h 54"/>
                <a:gd name="T14" fmla="*/ 14 w 53"/>
                <a:gd name="T15" fmla="*/ 50 h 54"/>
                <a:gd name="T16" fmla="*/ 7 w 53"/>
                <a:gd name="T17" fmla="*/ 47 h 54"/>
                <a:gd name="T18" fmla="*/ 0 w 53"/>
                <a:gd name="T19" fmla="*/ 36 h 54"/>
                <a:gd name="T20" fmla="*/ 0 w 53"/>
                <a:gd name="T21" fmla="*/ 25 h 54"/>
                <a:gd name="T22" fmla="*/ 0 w 53"/>
                <a:gd name="T23" fmla="*/ 25 h 54"/>
                <a:gd name="T24" fmla="*/ 0 w 53"/>
                <a:gd name="T25" fmla="*/ 14 h 54"/>
                <a:gd name="T26" fmla="*/ 7 w 53"/>
                <a:gd name="T27" fmla="*/ 7 h 54"/>
                <a:gd name="T28" fmla="*/ 14 w 53"/>
                <a:gd name="T29" fmla="*/ 4 h 54"/>
                <a:gd name="T30" fmla="*/ 25 w 53"/>
                <a:gd name="T31" fmla="*/ 0 h 54"/>
                <a:gd name="T32" fmla="*/ 25 w 53"/>
                <a:gd name="T33" fmla="*/ 0 h 54"/>
                <a:gd name="T34" fmla="*/ 35 w 53"/>
                <a:gd name="T35" fmla="*/ 4 h 54"/>
                <a:gd name="T36" fmla="*/ 46 w 53"/>
                <a:gd name="T37" fmla="*/ 7 h 54"/>
                <a:gd name="T38" fmla="*/ 50 w 53"/>
                <a:gd name="T39" fmla="*/ 14 h 54"/>
                <a:gd name="T40" fmla="*/ 53 w 53"/>
                <a:gd name="T41" fmla="*/ 25 h 54"/>
                <a:gd name="T42" fmla="*/ 53 w 53"/>
                <a:gd name="T43" fmla="*/ 25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4"/>
                <a:gd name="T68" fmla="*/ 53 w 53"/>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4">
                  <a:moveTo>
                    <a:pt x="53" y="25"/>
                  </a:moveTo>
                  <a:lnTo>
                    <a:pt x="53" y="25"/>
                  </a:lnTo>
                  <a:lnTo>
                    <a:pt x="50" y="36"/>
                  </a:lnTo>
                  <a:lnTo>
                    <a:pt x="46" y="47"/>
                  </a:lnTo>
                  <a:lnTo>
                    <a:pt x="35" y="50"/>
                  </a:lnTo>
                  <a:lnTo>
                    <a:pt x="25" y="54"/>
                  </a:lnTo>
                  <a:lnTo>
                    <a:pt x="14" y="50"/>
                  </a:lnTo>
                  <a:lnTo>
                    <a:pt x="7" y="47"/>
                  </a:lnTo>
                  <a:lnTo>
                    <a:pt x="0" y="36"/>
                  </a:lnTo>
                  <a:lnTo>
                    <a:pt x="0" y="25"/>
                  </a:lnTo>
                  <a:lnTo>
                    <a:pt x="0" y="14"/>
                  </a:lnTo>
                  <a:lnTo>
                    <a:pt x="7" y="7"/>
                  </a:lnTo>
                  <a:lnTo>
                    <a:pt x="14" y="4"/>
                  </a:lnTo>
                  <a:lnTo>
                    <a:pt x="25" y="0"/>
                  </a:lnTo>
                  <a:lnTo>
                    <a:pt x="35" y="4"/>
                  </a:lnTo>
                  <a:lnTo>
                    <a:pt x="46" y="7"/>
                  </a:lnTo>
                  <a:lnTo>
                    <a:pt x="50" y="14"/>
                  </a:lnTo>
                  <a:lnTo>
                    <a:pt x="53"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1" name="Freeform 47"/>
            <p:cNvSpPr>
              <a:spLocks/>
            </p:cNvSpPr>
            <p:nvPr/>
          </p:nvSpPr>
          <p:spPr bwMode="auto">
            <a:xfrm>
              <a:off x="3476" y="1829"/>
              <a:ext cx="25" cy="25"/>
            </a:xfrm>
            <a:custGeom>
              <a:avLst/>
              <a:gdLst>
                <a:gd name="T0" fmla="*/ 25 w 25"/>
                <a:gd name="T1" fmla="*/ 10 h 25"/>
                <a:gd name="T2" fmla="*/ 25 w 25"/>
                <a:gd name="T3" fmla="*/ 10 h 25"/>
                <a:gd name="T4" fmla="*/ 21 w 25"/>
                <a:gd name="T5" fmla="*/ 21 h 25"/>
                <a:gd name="T6" fmla="*/ 10 w 25"/>
                <a:gd name="T7" fmla="*/ 25 h 25"/>
                <a:gd name="T8" fmla="*/ 10 w 25"/>
                <a:gd name="T9" fmla="*/ 25 h 25"/>
                <a:gd name="T10" fmla="*/ 3 w 25"/>
                <a:gd name="T11" fmla="*/ 21 h 25"/>
                <a:gd name="T12" fmla="*/ 0 w 25"/>
                <a:gd name="T13" fmla="*/ 10 h 25"/>
                <a:gd name="T14" fmla="*/ 0 w 25"/>
                <a:gd name="T15" fmla="*/ 10 h 25"/>
                <a:gd name="T16" fmla="*/ 3 w 25"/>
                <a:gd name="T17" fmla="*/ 3 h 25"/>
                <a:gd name="T18" fmla="*/ 10 w 25"/>
                <a:gd name="T19" fmla="*/ 0 h 25"/>
                <a:gd name="T20" fmla="*/ 10 w 25"/>
                <a:gd name="T21" fmla="*/ 0 h 25"/>
                <a:gd name="T22" fmla="*/ 21 w 25"/>
                <a:gd name="T23" fmla="*/ 3 h 25"/>
                <a:gd name="T24" fmla="*/ 25 w 25"/>
                <a:gd name="T25" fmla="*/ 10 h 25"/>
                <a:gd name="T26" fmla="*/ 25 w 25"/>
                <a:gd name="T27" fmla="*/ 1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0"/>
                  </a:moveTo>
                  <a:lnTo>
                    <a:pt x="25" y="10"/>
                  </a:lnTo>
                  <a:lnTo>
                    <a:pt x="21" y="21"/>
                  </a:lnTo>
                  <a:lnTo>
                    <a:pt x="10" y="25"/>
                  </a:lnTo>
                  <a:lnTo>
                    <a:pt x="3" y="21"/>
                  </a:lnTo>
                  <a:lnTo>
                    <a:pt x="0" y="10"/>
                  </a:lnTo>
                  <a:lnTo>
                    <a:pt x="3" y="3"/>
                  </a:lnTo>
                  <a:lnTo>
                    <a:pt x="10" y="0"/>
                  </a:lnTo>
                  <a:lnTo>
                    <a:pt x="21" y="3"/>
                  </a:lnTo>
                  <a:lnTo>
                    <a:pt x="25" y="10"/>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2" name="Freeform 48"/>
            <p:cNvSpPr>
              <a:spLocks/>
            </p:cNvSpPr>
            <p:nvPr/>
          </p:nvSpPr>
          <p:spPr bwMode="auto">
            <a:xfrm>
              <a:off x="3462" y="1814"/>
              <a:ext cx="53" cy="54"/>
            </a:xfrm>
            <a:custGeom>
              <a:avLst/>
              <a:gdLst>
                <a:gd name="T0" fmla="*/ 53 w 53"/>
                <a:gd name="T1" fmla="*/ 25 h 54"/>
                <a:gd name="T2" fmla="*/ 53 w 53"/>
                <a:gd name="T3" fmla="*/ 25 h 54"/>
                <a:gd name="T4" fmla="*/ 49 w 53"/>
                <a:gd name="T5" fmla="*/ 36 h 54"/>
                <a:gd name="T6" fmla="*/ 46 w 53"/>
                <a:gd name="T7" fmla="*/ 47 h 54"/>
                <a:gd name="T8" fmla="*/ 35 w 53"/>
                <a:gd name="T9" fmla="*/ 50 h 54"/>
                <a:gd name="T10" fmla="*/ 24 w 53"/>
                <a:gd name="T11" fmla="*/ 54 h 54"/>
                <a:gd name="T12" fmla="*/ 24 w 53"/>
                <a:gd name="T13" fmla="*/ 54 h 54"/>
                <a:gd name="T14" fmla="*/ 14 w 53"/>
                <a:gd name="T15" fmla="*/ 50 h 54"/>
                <a:gd name="T16" fmla="*/ 7 w 53"/>
                <a:gd name="T17" fmla="*/ 47 h 54"/>
                <a:gd name="T18" fmla="*/ 0 w 53"/>
                <a:gd name="T19" fmla="*/ 36 h 54"/>
                <a:gd name="T20" fmla="*/ 0 w 53"/>
                <a:gd name="T21" fmla="*/ 25 h 54"/>
                <a:gd name="T22" fmla="*/ 0 w 53"/>
                <a:gd name="T23" fmla="*/ 25 h 54"/>
                <a:gd name="T24" fmla="*/ 0 w 53"/>
                <a:gd name="T25" fmla="*/ 15 h 54"/>
                <a:gd name="T26" fmla="*/ 7 w 53"/>
                <a:gd name="T27" fmla="*/ 8 h 54"/>
                <a:gd name="T28" fmla="*/ 14 w 53"/>
                <a:gd name="T29" fmla="*/ 0 h 54"/>
                <a:gd name="T30" fmla="*/ 24 w 53"/>
                <a:gd name="T31" fmla="*/ 0 h 54"/>
                <a:gd name="T32" fmla="*/ 24 w 53"/>
                <a:gd name="T33" fmla="*/ 0 h 54"/>
                <a:gd name="T34" fmla="*/ 35 w 53"/>
                <a:gd name="T35" fmla="*/ 0 h 54"/>
                <a:gd name="T36" fmla="*/ 46 w 53"/>
                <a:gd name="T37" fmla="*/ 8 h 54"/>
                <a:gd name="T38" fmla="*/ 49 w 53"/>
                <a:gd name="T39" fmla="*/ 15 h 54"/>
                <a:gd name="T40" fmla="*/ 53 w 53"/>
                <a:gd name="T41" fmla="*/ 25 h 54"/>
                <a:gd name="T42" fmla="*/ 53 w 53"/>
                <a:gd name="T43" fmla="*/ 25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4"/>
                <a:gd name="T68" fmla="*/ 53 w 53"/>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4">
                  <a:moveTo>
                    <a:pt x="53" y="25"/>
                  </a:moveTo>
                  <a:lnTo>
                    <a:pt x="53" y="25"/>
                  </a:lnTo>
                  <a:lnTo>
                    <a:pt x="49" y="36"/>
                  </a:lnTo>
                  <a:lnTo>
                    <a:pt x="46" y="47"/>
                  </a:lnTo>
                  <a:lnTo>
                    <a:pt x="35" y="50"/>
                  </a:lnTo>
                  <a:lnTo>
                    <a:pt x="24" y="54"/>
                  </a:lnTo>
                  <a:lnTo>
                    <a:pt x="14" y="50"/>
                  </a:lnTo>
                  <a:lnTo>
                    <a:pt x="7" y="47"/>
                  </a:lnTo>
                  <a:lnTo>
                    <a:pt x="0" y="36"/>
                  </a:lnTo>
                  <a:lnTo>
                    <a:pt x="0" y="25"/>
                  </a:lnTo>
                  <a:lnTo>
                    <a:pt x="0" y="15"/>
                  </a:lnTo>
                  <a:lnTo>
                    <a:pt x="7" y="8"/>
                  </a:lnTo>
                  <a:lnTo>
                    <a:pt x="14" y="0"/>
                  </a:lnTo>
                  <a:lnTo>
                    <a:pt x="24" y="0"/>
                  </a:lnTo>
                  <a:lnTo>
                    <a:pt x="35" y="0"/>
                  </a:lnTo>
                  <a:lnTo>
                    <a:pt x="46" y="8"/>
                  </a:lnTo>
                  <a:lnTo>
                    <a:pt x="49" y="15"/>
                  </a:lnTo>
                  <a:lnTo>
                    <a:pt x="53"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3" name="Freeform 49"/>
            <p:cNvSpPr>
              <a:spLocks/>
            </p:cNvSpPr>
            <p:nvPr/>
          </p:nvSpPr>
          <p:spPr bwMode="auto">
            <a:xfrm>
              <a:off x="3921" y="1768"/>
              <a:ext cx="25" cy="25"/>
            </a:xfrm>
            <a:custGeom>
              <a:avLst/>
              <a:gdLst>
                <a:gd name="T0" fmla="*/ 25 w 25"/>
                <a:gd name="T1" fmla="*/ 11 h 25"/>
                <a:gd name="T2" fmla="*/ 25 w 25"/>
                <a:gd name="T3" fmla="*/ 11 h 25"/>
                <a:gd name="T4" fmla="*/ 22 w 25"/>
                <a:gd name="T5" fmla="*/ 21 h 25"/>
                <a:gd name="T6" fmla="*/ 11 w 25"/>
                <a:gd name="T7" fmla="*/ 25 h 25"/>
                <a:gd name="T8" fmla="*/ 11 w 25"/>
                <a:gd name="T9" fmla="*/ 25 h 25"/>
                <a:gd name="T10" fmla="*/ 4 w 25"/>
                <a:gd name="T11" fmla="*/ 21 h 25"/>
                <a:gd name="T12" fmla="*/ 0 w 25"/>
                <a:gd name="T13" fmla="*/ 11 h 25"/>
                <a:gd name="T14" fmla="*/ 0 w 25"/>
                <a:gd name="T15" fmla="*/ 11 h 25"/>
                <a:gd name="T16" fmla="*/ 4 w 25"/>
                <a:gd name="T17" fmla="*/ 4 h 25"/>
                <a:gd name="T18" fmla="*/ 11 w 25"/>
                <a:gd name="T19" fmla="*/ 0 h 25"/>
                <a:gd name="T20" fmla="*/ 11 w 25"/>
                <a:gd name="T21" fmla="*/ 0 h 25"/>
                <a:gd name="T22" fmla="*/ 22 w 25"/>
                <a:gd name="T23" fmla="*/ 4 h 25"/>
                <a:gd name="T24" fmla="*/ 25 w 25"/>
                <a:gd name="T25" fmla="*/ 11 h 25"/>
                <a:gd name="T26" fmla="*/ 25 w 25"/>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1"/>
                  </a:moveTo>
                  <a:lnTo>
                    <a:pt x="25" y="11"/>
                  </a:lnTo>
                  <a:lnTo>
                    <a:pt x="22" y="21"/>
                  </a:lnTo>
                  <a:lnTo>
                    <a:pt x="11" y="25"/>
                  </a:lnTo>
                  <a:lnTo>
                    <a:pt x="4" y="21"/>
                  </a:lnTo>
                  <a:lnTo>
                    <a:pt x="0" y="11"/>
                  </a:lnTo>
                  <a:lnTo>
                    <a:pt x="4" y="4"/>
                  </a:lnTo>
                  <a:lnTo>
                    <a:pt x="11" y="0"/>
                  </a:lnTo>
                  <a:lnTo>
                    <a:pt x="22" y="4"/>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4" name="Freeform 50"/>
            <p:cNvSpPr>
              <a:spLocks/>
            </p:cNvSpPr>
            <p:nvPr/>
          </p:nvSpPr>
          <p:spPr bwMode="auto">
            <a:xfrm>
              <a:off x="3907" y="1754"/>
              <a:ext cx="54" cy="53"/>
            </a:xfrm>
            <a:custGeom>
              <a:avLst/>
              <a:gdLst>
                <a:gd name="T0" fmla="*/ 54 w 54"/>
                <a:gd name="T1" fmla="*/ 25 h 53"/>
                <a:gd name="T2" fmla="*/ 54 w 54"/>
                <a:gd name="T3" fmla="*/ 25 h 53"/>
                <a:gd name="T4" fmla="*/ 50 w 54"/>
                <a:gd name="T5" fmla="*/ 35 h 53"/>
                <a:gd name="T6" fmla="*/ 46 w 54"/>
                <a:gd name="T7" fmla="*/ 46 h 53"/>
                <a:gd name="T8" fmla="*/ 36 w 54"/>
                <a:gd name="T9" fmla="*/ 50 h 53"/>
                <a:gd name="T10" fmla="*/ 25 w 54"/>
                <a:gd name="T11" fmla="*/ 53 h 53"/>
                <a:gd name="T12" fmla="*/ 25 w 54"/>
                <a:gd name="T13" fmla="*/ 53 h 53"/>
                <a:gd name="T14" fmla="*/ 18 w 54"/>
                <a:gd name="T15" fmla="*/ 50 h 53"/>
                <a:gd name="T16" fmla="*/ 7 w 54"/>
                <a:gd name="T17" fmla="*/ 46 h 53"/>
                <a:gd name="T18" fmla="*/ 4 w 54"/>
                <a:gd name="T19" fmla="*/ 35 h 53"/>
                <a:gd name="T20" fmla="*/ 0 w 54"/>
                <a:gd name="T21" fmla="*/ 25 h 53"/>
                <a:gd name="T22" fmla="*/ 0 w 54"/>
                <a:gd name="T23" fmla="*/ 25 h 53"/>
                <a:gd name="T24" fmla="*/ 4 w 54"/>
                <a:gd name="T25" fmla="*/ 14 h 53"/>
                <a:gd name="T26" fmla="*/ 7 w 54"/>
                <a:gd name="T27" fmla="*/ 7 h 53"/>
                <a:gd name="T28" fmla="*/ 18 w 54"/>
                <a:gd name="T29" fmla="*/ 0 h 53"/>
                <a:gd name="T30" fmla="*/ 25 w 54"/>
                <a:gd name="T31" fmla="*/ 0 h 53"/>
                <a:gd name="T32" fmla="*/ 25 w 54"/>
                <a:gd name="T33" fmla="*/ 0 h 53"/>
                <a:gd name="T34" fmla="*/ 36 w 54"/>
                <a:gd name="T35" fmla="*/ 0 h 53"/>
                <a:gd name="T36" fmla="*/ 46 w 54"/>
                <a:gd name="T37" fmla="*/ 7 h 53"/>
                <a:gd name="T38" fmla="*/ 50 w 54"/>
                <a:gd name="T39" fmla="*/ 14 h 53"/>
                <a:gd name="T40" fmla="*/ 54 w 54"/>
                <a:gd name="T41" fmla="*/ 25 h 53"/>
                <a:gd name="T42" fmla="*/ 54 w 54"/>
                <a:gd name="T43" fmla="*/ 25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3"/>
                <a:gd name="T68" fmla="*/ 54 w 54"/>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3">
                  <a:moveTo>
                    <a:pt x="54" y="25"/>
                  </a:moveTo>
                  <a:lnTo>
                    <a:pt x="54" y="25"/>
                  </a:lnTo>
                  <a:lnTo>
                    <a:pt x="50" y="35"/>
                  </a:lnTo>
                  <a:lnTo>
                    <a:pt x="46" y="46"/>
                  </a:lnTo>
                  <a:lnTo>
                    <a:pt x="36" y="50"/>
                  </a:lnTo>
                  <a:lnTo>
                    <a:pt x="25" y="53"/>
                  </a:lnTo>
                  <a:lnTo>
                    <a:pt x="18" y="50"/>
                  </a:lnTo>
                  <a:lnTo>
                    <a:pt x="7" y="46"/>
                  </a:lnTo>
                  <a:lnTo>
                    <a:pt x="4" y="35"/>
                  </a:lnTo>
                  <a:lnTo>
                    <a:pt x="0" y="25"/>
                  </a:lnTo>
                  <a:lnTo>
                    <a:pt x="4" y="14"/>
                  </a:lnTo>
                  <a:lnTo>
                    <a:pt x="7" y="7"/>
                  </a:lnTo>
                  <a:lnTo>
                    <a:pt x="18" y="0"/>
                  </a:lnTo>
                  <a:lnTo>
                    <a:pt x="25" y="0"/>
                  </a:lnTo>
                  <a:lnTo>
                    <a:pt x="36" y="0"/>
                  </a:lnTo>
                  <a:lnTo>
                    <a:pt x="46" y="7"/>
                  </a:lnTo>
                  <a:lnTo>
                    <a:pt x="50" y="14"/>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5" name="Freeform 51"/>
            <p:cNvSpPr>
              <a:spLocks/>
            </p:cNvSpPr>
            <p:nvPr/>
          </p:nvSpPr>
          <p:spPr bwMode="auto">
            <a:xfrm>
              <a:off x="4281" y="1383"/>
              <a:ext cx="25" cy="25"/>
            </a:xfrm>
            <a:custGeom>
              <a:avLst/>
              <a:gdLst>
                <a:gd name="T0" fmla="*/ 25 w 25"/>
                <a:gd name="T1" fmla="*/ 11 h 25"/>
                <a:gd name="T2" fmla="*/ 25 w 25"/>
                <a:gd name="T3" fmla="*/ 11 h 25"/>
                <a:gd name="T4" fmla="*/ 22 w 25"/>
                <a:gd name="T5" fmla="*/ 22 h 25"/>
                <a:gd name="T6" fmla="*/ 15 w 25"/>
                <a:gd name="T7" fmla="*/ 25 h 25"/>
                <a:gd name="T8" fmla="*/ 15 w 25"/>
                <a:gd name="T9" fmla="*/ 25 h 25"/>
                <a:gd name="T10" fmla="*/ 4 w 25"/>
                <a:gd name="T11" fmla="*/ 22 h 25"/>
                <a:gd name="T12" fmla="*/ 0 w 25"/>
                <a:gd name="T13" fmla="*/ 11 h 25"/>
                <a:gd name="T14" fmla="*/ 0 w 25"/>
                <a:gd name="T15" fmla="*/ 11 h 25"/>
                <a:gd name="T16" fmla="*/ 4 w 25"/>
                <a:gd name="T17" fmla="*/ 4 h 25"/>
                <a:gd name="T18" fmla="*/ 15 w 25"/>
                <a:gd name="T19" fmla="*/ 0 h 25"/>
                <a:gd name="T20" fmla="*/ 15 w 25"/>
                <a:gd name="T21" fmla="*/ 0 h 25"/>
                <a:gd name="T22" fmla="*/ 22 w 25"/>
                <a:gd name="T23" fmla="*/ 4 h 25"/>
                <a:gd name="T24" fmla="*/ 25 w 25"/>
                <a:gd name="T25" fmla="*/ 11 h 25"/>
                <a:gd name="T26" fmla="*/ 25 w 25"/>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1"/>
                  </a:moveTo>
                  <a:lnTo>
                    <a:pt x="25" y="11"/>
                  </a:lnTo>
                  <a:lnTo>
                    <a:pt x="22" y="22"/>
                  </a:lnTo>
                  <a:lnTo>
                    <a:pt x="15" y="25"/>
                  </a:lnTo>
                  <a:lnTo>
                    <a:pt x="4" y="22"/>
                  </a:lnTo>
                  <a:lnTo>
                    <a:pt x="0" y="11"/>
                  </a:lnTo>
                  <a:lnTo>
                    <a:pt x="4" y="4"/>
                  </a:lnTo>
                  <a:lnTo>
                    <a:pt x="15" y="0"/>
                  </a:lnTo>
                  <a:lnTo>
                    <a:pt x="22" y="4"/>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6" name="Freeform 52"/>
            <p:cNvSpPr>
              <a:spLocks/>
            </p:cNvSpPr>
            <p:nvPr/>
          </p:nvSpPr>
          <p:spPr bwMode="auto">
            <a:xfrm>
              <a:off x="4267" y="1369"/>
              <a:ext cx="54" cy="53"/>
            </a:xfrm>
            <a:custGeom>
              <a:avLst/>
              <a:gdLst>
                <a:gd name="T0" fmla="*/ 54 w 54"/>
                <a:gd name="T1" fmla="*/ 25 h 53"/>
                <a:gd name="T2" fmla="*/ 54 w 54"/>
                <a:gd name="T3" fmla="*/ 25 h 53"/>
                <a:gd name="T4" fmla="*/ 54 w 54"/>
                <a:gd name="T5" fmla="*/ 36 h 53"/>
                <a:gd name="T6" fmla="*/ 47 w 54"/>
                <a:gd name="T7" fmla="*/ 46 h 53"/>
                <a:gd name="T8" fmla="*/ 39 w 54"/>
                <a:gd name="T9" fmla="*/ 50 h 53"/>
                <a:gd name="T10" fmla="*/ 29 w 54"/>
                <a:gd name="T11" fmla="*/ 53 h 53"/>
                <a:gd name="T12" fmla="*/ 29 w 54"/>
                <a:gd name="T13" fmla="*/ 53 h 53"/>
                <a:gd name="T14" fmla="*/ 18 w 54"/>
                <a:gd name="T15" fmla="*/ 50 h 53"/>
                <a:gd name="T16" fmla="*/ 7 w 54"/>
                <a:gd name="T17" fmla="*/ 46 h 53"/>
                <a:gd name="T18" fmla="*/ 4 w 54"/>
                <a:gd name="T19" fmla="*/ 36 h 53"/>
                <a:gd name="T20" fmla="*/ 0 w 54"/>
                <a:gd name="T21" fmla="*/ 25 h 53"/>
                <a:gd name="T22" fmla="*/ 0 w 54"/>
                <a:gd name="T23" fmla="*/ 25 h 53"/>
                <a:gd name="T24" fmla="*/ 4 w 54"/>
                <a:gd name="T25" fmla="*/ 14 h 53"/>
                <a:gd name="T26" fmla="*/ 7 w 54"/>
                <a:gd name="T27" fmla="*/ 7 h 53"/>
                <a:gd name="T28" fmla="*/ 18 w 54"/>
                <a:gd name="T29" fmla="*/ 0 h 53"/>
                <a:gd name="T30" fmla="*/ 29 w 54"/>
                <a:gd name="T31" fmla="*/ 0 h 53"/>
                <a:gd name="T32" fmla="*/ 29 w 54"/>
                <a:gd name="T33" fmla="*/ 0 h 53"/>
                <a:gd name="T34" fmla="*/ 39 w 54"/>
                <a:gd name="T35" fmla="*/ 0 h 53"/>
                <a:gd name="T36" fmla="*/ 47 w 54"/>
                <a:gd name="T37" fmla="*/ 7 h 53"/>
                <a:gd name="T38" fmla="*/ 54 w 54"/>
                <a:gd name="T39" fmla="*/ 14 h 53"/>
                <a:gd name="T40" fmla="*/ 54 w 54"/>
                <a:gd name="T41" fmla="*/ 25 h 53"/>
                <a:gd name="T42" fmla="*/ 54 w 54"/>
                <a:gd name="T43" fmla="*/ 25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3"/>
                <a:gd name="T68" fmla="*/ 54 w 54"/>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3">
                  <a:moveTo>
                    <a:pt x="54" y="25"/>
                  </a:moveTo>
                  <a:lnTo>
                    <a:pt x="54" y="25"/>
                  </a:lnTo>
                  <a:lnTo>
                    <a:pt x="54" y="36"/>
                  </a:lnTo>
                  <a:lnTo>
                    <a:pt x="47" y="46"/>
                  </a:lnTo>
                  <a:lnTo>
                    <a:pt x="39" y="50"/>
                  </a:lnTo>
                  <a:lnTo>
                    <a:pt x="29" y="53"/>
                  </a:lnTo>
                  <a:lnTo>
                    <a:pt x="18" y="50"/>
                  </a:lnTo>
                  <a:lnTo>
                    <a:pt x="7" y="46"/>
                  </a:lnTo>
                  <a:lnTo>
                    <a:pt x="4" y="36"/>
                  </a:lnTo>
                  <a:lnTo>
                    <a:pt x="0" y="25"/>
                  </a:lnTo>
                  <a:lnTo>
                    <a:pt x="4" y="14"/>
                  </a:lnTo>
                  <a:lnTo>
                    <a:pt x="7" y="7"/>
                  </a:lnTo>
                  <a:lnTo>
                    <a:pt x="18" y="0"/>
                  </a:lnTo>
                  <a:lnTo>
                    <a:pt x="29" y="0"/>
                  </a:lnTo>
                  <a:lnTo>
                    <a:pt x="39" y="0"/>
                  </a:lnTo>
                  <a:lnTo>
                    <a:pt x="47" y="7"/>
                  </a:lnTo>
                  <a:lnTo>
                    <a:pt x="54" y="14"/>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7" name="Freeform 53"/>
            <p:cNvSpPr>
              <a:spLocks/>
            </p:cNvSpPr>
            <p:nvPr/>
          </p:nvSpPr>
          <p:spPr bwMode="auto">
            <a:xfrm>
              <a:off x="3907" y="1094"/>
              <a:ext cx="22" cy="25"/>
            </a:xfrm>
            <a:custGeom>
              <a:avLst/>
              <a:gdLst>
                <a:gd name="T0" fmla="*/ 22 w 22"/>
                <a:gd name="T1" fmla="*/ 11 h 25"/>
                <a:gd name="T2" fmla="*/ 22 w 22"/>
                <a:gd name="T3" fmla="*/ 11 h 25"/>
                <a:gd name="T4" fmla="*/ 18 w 22"/>
                <a:gd name="T5" fmla="*/ 22 h 25"/>
                <a:gd name="T6" fmla="*/ 11 w 22"/>
                <a:gd name="T7" fmla="*/ 25 h 25"/>
                <a:gd name="T8" fmla="*/ 11 w 22"/>
                <a:gd name="T9" fmla="*/ 25 h 25"/>
                <a:gd name="T10" fmla="*/ 4 w 22"/>
                <a:gd name="T11" fmla="*/ 22 h 25"/>
                <a:gd name="T12" fmla="*/ 0 w 22"/>
                <a:gd name="T13" fmla="*/ 11 h 25"/>
                <a:gd name="T14" fmla="*/ 0 w 22"/>
                <a:gd name="T15" fmla="*/ 11 h 25"/>
                <a:gd name="T16" fmla="*/ 4 w 22"/>
                <a:gd name="T17" fmla="*/ 4 h 25"/>
                <a:gd name="T18" fmla="*/ 11 w 22"/>
                <a:gd name="T19" fmla="*/ 0 h 25"/>
                <a:gd name="T20" fmla="*/ 11 w 22"/>
                <a:gd name="T21" fmla="*/ 0 h 25"/>
                <a:gd name="T22" fmla="*/ 18 w 22"/>
                <a:gd name="T23" fmla="*/ 4 h 25"/>
                <a:gd name="T24" fmla="*/ 22 w 22"/>
                <a:gd name="T25" fmla="*/ 11 h 25"/>
                <a:gd name="T26" fmla="*/ 22 w 22"/>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5"/>
                <a:gd name="T44" fmla="*/ 22 w 22"/>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5">
                  <a:moveTo>
                    <a:pt x="22" y="11"/>
                  </a:moveTo>
                  <a:lnTo>
                    <a:pt x="22" y="11"/>
                  </a:lnTo>
                  <a:lnTo>
                    <a:pt x="18" y="22"/>
                  </a:lnTo>
                  <a:lnTo>
                    <a:pt x="11" y="25"/>
                  </a:lnTo>
                  <a:lnTo>
                    <a:pt x="4" y="22"/>
                  </a:lnTo>
                  <a:lnTo>
                    <a:pt x="0" y="11"/>
                  </a:lnTo>
                  <a:lnTo>
                    <a:pt x="4" y="4"/>
                  </a:lnTo>
                  <a:lnTo>
                    <a:pt x="11" y="0"/>
                  </a:lnTo>
                  <a:lnTo>
                    <a:pt x="18" y="4"/>
                  </a:lnTo>
                  <a:lnTo>
                    <a:pt x="22"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8" name="Freeform 54"/>
            <p:cNvSpPr>
              <a:spLocks/>
            </p:cNvSpPr>
            <p:nvPr/>
          </p:nvSpPr>
          <p:spPr bwMode="auto">
            <a:xfrm>
              <a:off x="3889" y="1080"/>
              <a:ext cx="54" cy="54"/>
            </a:xfrm>
            <a:custGeom>
              <a:avLst/>
              <a:gdLst>
                <a:gd name="T0" fmla="*/ 54 w 54"/>
                <a:gd name="T1" fmla="*/ 25 h 54"/>
                <a:gd name="T2" fmla="*/ 54 w 54"/>
                <a:gd name="T3" fmla="*/ 25 h 54"/>
                <a:gd name="T4" fmla="*/ 54 w 54"/>
                <a:gd name="T5" fmla="*/ 36 h 54"/>
                <a:gd name="T6" fmla="*/ 47 w 54"/>
                <a:gd name="T7" fmla="*/ 46 h 54"/>
                <a:gd name="T8" fmla="*/ 40 w 54"/>
                <a:gd name="T9" fmla="*/ 50 h 54"/>
                <a:gd name="T10" fmla="*/ 29 w 54"/>
                <a:gd name="T11" fmla="*/ 54 h 54"/>
                <a:gd name="T12" fmla="*/ 29 w 54"/>
                <a:gd name="T13" fmla="*/ 54 h 54"/>
                <a:gd name="T14" fmla="*/ 18 w 54"/>
                <a:gd name="T15" fmla="*/ 50 h 54"/>
                <a:gd name="T16" fmla="*/ 11 w 54"/>
                <a:gd name="T17" fmla="*/ 46 h 54"/>
                <a:gd name="T18" fmla="*/ 4 w 54"/>
                <a:gd name="T19" fmla="*/ 36 h 54"/>
                <a:gd name="T20" fmla="*/ 0 w 54"/>
                <a:gd name="T21" fmla="*/ 25 h 54"/>
                <a:gd name="T22" fmla="*/ 0 w 54"/>
                <a:gd name="T23" fmla="*/ 25 h 54"/>
                <a:gd name="T24" fmla="*/ 4 w 54"/>
                <a:gd name="T25" fmla="*/ 18 h 54"/>
                <a:gd name="T26" fmla="*/ 11 w 54"/>
                <a:gd name="T27" fmla="*/ 7 h 54"/>
                <a:gd name="T28" fmla="*/ 18 w 54"/>
                <a:gd name="T29" fmla="*/ 4 h 54"/>
                <a:gd name="T30" fmla="*/ 29 w 54"/>
                <a:gd name="T31" fmla="*/ 0 h 54"/>
                <a:gd name="T32" fmla="*/ 29 w 54"/>
                <a:gd name="T33" fmla="*/ 0 h 54"/>
                <a:gd name="T34" fmla="*/ 40 w 54"/>
                <a:gd name="T35" fmla="*/ 4 h 54"/>
                <a:gd name="T36" fmla="*/ 47 w 54"/>
                <a:gd name="T37" fmla="*/ 7 h 54"/>
                <a:gd name="T38" fmla="*/ 54 w 54"/>
                <a:gd name="T39" fmla="*/ 18 h 54"/>
                <a:gd name="T40" fmla="*/ 54 w 54"/>
                <a:gd name="T41" fmla="*/ 25 h 54"/>
                <a:gd name="T42" fmla="*/ 54 w 54"/>
                <a:gd name="T43" fmla="*/ 25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5"/>
                  </a:moveTo>
                  <a:lnTo>
                    <a:pt x="54" y="25"/>
                  </a:lnTo>
                  <a:lnTo>
                    <a:pt x="54" y="36"/>
                  </a:lnTo>
                  <a:lnTo>
                    <a:pt x="47" y="46"/>
                  </a:lnTo>
                  <a:lnTo>
                    <a:pt x="40" y="50"/>
                  </a:lnTo>
                  <a:lnTo>
                    <a:pt x="29" y="54"/>
                  </a:lnTo>
                  <a:lnTo>
                    <a:pt x="18" y="50"/>
                  </a:lnTo>
                  <a:lnTo>
                    <a:pt x="11" y="46"/>
                  </a:lnTo>
                  <a:lnTo>
                    <a:pt x="4" y="36"/>
                  </a:lnTo>
                  <a:lnTo>
                    <a:pt x="0" y="25"/>
                  </a:lnTo>
                  <a:lnTo>
                    <a:pt x="4" y="18"/>
                  </a:lnTo>
                  <a:lnTo>
                    <a:pt x="11" y="7"/>
                  </a:lnTo>
                  <a:lnTo>
                    <a:pt x="18" y="4"/>
                  </a:lnTo>
                  <a:lnTo>
                    <a:pt x="29" y="0"/>
                  </a:lnTo>
                  <a:lnTo>
                    <a:pt x="40" y="4"/>
                  </a:lnTo>
                  <a:lnTo>
                    <a:pt x="47" y="7"/>
                  </a:lnTo>
                  <a:lnTo>
                    <a:pt x="54" y="18"/>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59" name="Freeform 55"/>
            <p:cNvSpPr>
              <a:spLocks/>
            </p:cNvSpPr>
            <p:nvPr/>
          </p:nvSpPr>
          <p:spPr bwMode="auto">
            <a:xfrm>
              <a:off x="3529" y="845"/>
              <a:ext cx="25" cy="21"/>
            </a:xfrm>
            <a:custGeom>
              <a:avLst/>
              <a:gdLst>
                <a:gd name="T0" fmla="*/ 25 w 25"/>
                <a:gd name="T1" fmla="*/ 11 h 21"/>
                <a:gd name="T2" fmla="*/ 25 w 25"/>
                <a:gd name="T3" fmla="*/ 11 h 21"/>
                <a:gd name="T4" fmla="*/ 22 w 25"/>
                <a:gd name="T5" fmla="*/ 18 h 21"/>
                <a:gd name="T6" fmla="*/ 15 w 25"/>
                <a:gd name="T7" fmla="*/ 21 h 21"/>
                <a:gd name="T8" fmla="*/ 15 w 25"/>
                <a:gd name="T9" fmla="*/ 21 h 21"/>
                <a:gd name="T10" fmla="*/ 4 w 25"/>
                <a:gd name="T11" fmla="*/ 18 h 21"/>
                <a:gd name="T12" fmla="*/ 0 w 25"/>
                <a:gd name="T13" fmla="*/ 11 h 21"/>
                <a:gd name="T14" fmla="*/ 0 w 25"/>
                <a:gd name="T15" fmla="*/ 11 h 21"/>
                <a:gd name="T16" fmla="*/ 4 w 25"/>
                <a:gd name="T17" fmla="*/ 3 h 21"/>
                <a:gd name="T18" fmla="*/ 15 w 25"/>
                <a:gd name="T19" fmla="*/ 0 h 21"/>
                <a:gd name="T20" fmla="*/ 15 w 25"/>
                <a:gd name="T21" fmla="*/ 0 h 21"/>
                <a:gd name="T22" fmla="*/ 22 w 25"/>
                <a:gd name="T23" fmla="*/ 3 h 21"/>
                <a:gd name="T24" fmla="*/ 25 w 25"/>
                <a:gd name="T25" fmla="*/ 11 h 21"/>
                <a:gd name="T26" fmla="*/ 25 w 25"/>
                <a:gd name="T27" fmla="*/ 1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1"/>
                <a:gd name="T44" fmla="*/ 25 w 25"/>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1">
                  <a:moveTo>
                    <a:pt x="25" y="11"/>
                  </a:moveTo>
                  <a:lnTo>
                    <a:pt x="25" y="11"/>
                  </a:lnTo>
                  <a:lnTo>
                    <a:pt x="22" y="18"/>
                  </a:lnTo>
                  <a:lnTo>
                    <a:pt x="15" y="21"/>
                  </a:lnTo>
                  <a:lnTo>
                    <a:pt x="4" y="18"/>
                  </a:lnTo>
                  <a:lnTo>
                    <a:pt x="0" y="11"/>
                  </a:lnTo>
                  <a:lnTo>
                    <a:pt x="4" y="3"/>
                  </a:lnTo>
                  <a:lnTo>
                    <a:pt x="15" y="0"/>
                  </a:lnTo>
                  <a:lnTo>
                    <a:pt x="22" y="3"/>
                  </a:lnTo>
                  <a:lnTo>
                    <a:pt x="25"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0" name="Freeform 56"/>
            <p:cNvSpPr>
              <a:spLocks/>
            </p:cNvSpPr>
            <p:nvPr/>
          </p:nvSpPr>
          <p:spPr bwMode="auto">
            <a:xfrm>
              <a:off x="3515" y="831"/>
              <a:ext cx="53" cy="49"/>
            </a:xfrm>
            <a:custGeom>
              <a:avLst/>
              <a:gdLst>
                <a:gd name="T0" fmla="*/ 53 w 53"/>
                <a:gd name="T1" fmla="*/ 25 h 49"/>
                <a:gd name="T2" fmla="*/ 53 w 53"/>
                <a:gd name="T3" fmla="*/ 25 h 49"/>
                <a:gd name="T4" fmla="*/ 53 w 53"/>
                <a:gd name="T5" fmla="*/ 35 h 49"/>
                <a:gd name="T6" fmla="*/ 46 w 53"/>
                <a:gd name="T7" fmla="*/ 42 h 49"/>
                <a:gd name="T8" fmla="*/ 39 w 53"/>
                <a:gd name="T9" fmla="*/ 49 h 49"/>
                <a:gd name="T10" fmla="*/ 29 w 53"/>
                <a:gd name="T11" fmla="*/ 49 h 49"/>
                <a:gd name="T12" fmla="*/ 29 w 53"/>
                <a:gd name="T13" fmla="*/ 49 h 49"/>
                <a:gd name="T14" fmla="*/ 18 w 53"/>
                <a:gd name="T15" fmla="*/ 49 h 49"/>
                <a:gd name="T16" fmla="*/ 7 w 53"/>
                <a:gd name="T17" fmla="*/ 42 h 49"/>
                <a:gd name="T18" fmla="*/ 4 w 53"/>
                <a:gd name="T19" fmla="*/ 35 h 49"/>
                <a:gd name="T20" fmla="*/ 0 w 53"/>
                <a:gd name="T21" fmla="*/ 25 h 49"/>
                <a:gd name="T22" fmla="*/ 0 w 53"/>
                <a:gd name="T23" fmla="*/ 25 h 49"/>
                <a:gd name="T24" fmla="*/ 4 w 53"/>
                <a:gd name="T25" fmla="*/ 14 h 49"/>
                <a:gd name="T26" fmla="*/ 7 w 53"/>
                <a:gd name="T27" fmla="*/ 7 h 49"/>
                <a:gd name="T28" fmla="*/ 18 w 53"/>
                <a:gd name="T29" fmla="*/ 0 h 49"/>
                <a:gd name="T30" fmla="*/ 29 w 53"/>
                <a:gd name="T31" fmla="*/ 0 h 49"/>
                <a:gd name="T32" fmla="*/ 29 w 53"/>
                <a:gd name="T33" fmla="*/ 0 h 49"/>
                <a:gd name="T34" fmla="*/ 39 w 53"/>
                <a:gd name="T35" fmla="*/ 0 h 49"/>
                <a:gd name="T36" fmla="*/ 46 w 53"/>
                <a:gd name="T37" fmla="*/ 7 h 49"/>
                <a:gd name="T38" fmla="*/ 53 w 53"/>
                <a:gd name="T39" fmla="*/ 14 h 49"/>
                <a:gd name="T40" fmla="*/ 53 w 53"/>
                <a:gd name="T41" fmla="*/ 25 h 49"/>
                <a:gd name="T42" fmla="*/ 53 w 53"/>
                <a:gd name="T43" fmla="*/ 25 h 4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49"/>
                <a:gd name="T68" fmla="*/ 53 w 53"/>
                <a:gd name="T69" fmla="*/ 49 h 4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49">
                  <a:moveTo>
                    <a:pt x="53" y="25"/>
                  </a:moveTo>
                  <a:lnTo>
                    <a:pt x="53" y="25"/>
                  </a:lnTo>
                  <a:lnTo>
                    <a:pt x="53" y="35"/>
                  </a:lnTo>
                  <a:lnTo>
                    <a:pt x="46" y="42"/>
                  </a:lnTo>
                  <a:lnTo>
                    <a:pt x="39" y="49"/>
                  </a:lnTo>
                  <a:lnTo>
                    <a:pt x="29" y="49"/>
                  </a:lnTo>
                  <a:lnTo>
                    <a:pt x="18" y="49"/>
                  </a:lnTo>
                  <a:lnTo>
                    <a:pt x="7" y="42"/>
                  </a:lnTo>
                  <a:lnTo>
                    <a:pt x="4" y="35"/>
                  </a:lnTo>
                  <a:lnTo>
                    <a:pt x="0" y="25"/>
                  </a:lnTo>
                  <a:lnTo>
                    <a:pt x="4" y="14"/>
                  </a:lnTo>
                  <a:lnTo>
                    <a:pt x="7" y="7"/>
                  </a:lnTo>
                  <a:lnTo>
                    <a:pt x="18" y="0"/>
                  </a:lnTo>
                  <a:lnTo>
                    <a:pt x="29" y="0"/>
                  </a:lnTo>
                  <a:lnTo>
                    <a:pt x="39" y="0"/>
                  </a:lnTo>
                  <a:lnTo>
                    <a:pt x="46" y="7"/>
                  </a:lnTo>
                  <a:lnTo>
                    <a:pt x="53" y="14"/>
                  </a:lnTo>
                  <a:lnTo>
                    <a:pt x="53"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1" name="Freeform 57"/>
            <p:cNvSpPr>
              <a:spLocks/>
            </p:cNvSpPr>
            <p:nvPr/>
          </p:nvSpPr>
          <p:spPr bwMode="auto">
            <a:xfrm>
              <a:off x="2970" y="1544"/>
              <a:ext cx="21" cy="24"/>
            </a:xfrm>
            <a:custGeom>
              <a:avLst/>
              <a:gdLst>
                <a:gd name="T0" fmla="*/ 21 w 21"/>
                <a:gd name="T1" fmla="*/ 14 h 24"/>
                <a:gd name="T2" fmla="*/ 21 w 21"/>
                <a:gd name="T3" fmla="*/ 14 h 24"/>
                <a:gd name="T4" fmla="*/ 21 w 21"/>
                <a:gd name="T5" fmla="*/ 21 h 24"/>
                <a:gd name="T6" fmla="*/ 10 w 21"/>
                <a:gd name="T7" fmla="*/ 24 h 24"/>
                <a:gd name="T8" fmla="*/ 10 w 21"/>
                <a:gd name="T9" fmla="*/ 24 h 24"/>
                <a:gd name="T10" fmla="*/ 3 w 21"/>
                <a:gd name="T11" fmla="*/ 21 h 24"/>
                <a:gd name="T12" fmla="*/ 0 w 21"/>
                <a:gd name="T13" fmla="*/ 14 h 24"/>
                <a:gd name="T14" fmla="*/ 0 w 21"/>
                <a:gd name="T15" fmla="*/ 14 h 24"/>
                <a:gd name="T16" fmla="*/ 3 w 21"/>
                <a:gd name="T17" fmla="*/ 3 h 24"/>
                <a:gd name="T18" fmla="*/ 10 w 21"/>
                <a:gd name="T19" fmla="*/ 0 h 24"/>
                <a:gd name="T20" fmla="*/ 10 w 21"/>
                <a:gd name="T21" fmla="*/ 0 h 24"/>
                <a:gd name="T22" fmla="*/ 21 w 21"/>
                <a:gd name="T23" fmla="*/ 3 h 24"/>
                <a:gd name="T24" fmla="*/ 21 w 21"/>
                <a:gd name="T25" fmla="*/ 14 h 24"/>
                <a:gd name="T26" fmla="*/ 21 w 21"/>
                <a:gd name="T27" fmla="*/ 14 h 2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24"/>
                <a:gd name="T44" fmla="*/ 21 w 21"/>
                <a:gd name="T45" fmla="*/ 24 h 2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24">
                  <a:moveTo>
                    <a:pt x="21" y="14"/>
                  </a:moveTo>
                  <a:lnTo>
                    <a:pt x="21" y="14"/>
                  </a:lnTo>
                  <a:lnTo>
                    <a:pt x="21" y="21"/>
                  </a:lnTo>
                  <a:lnTo>
                    <a:pt x="10" y="24"/>
                  </a:lnTo>
                  <a:lnTo>
                    <a:pt x="3" y="21"/>
                  </a:lnTo>
                  <a:lnTo>
                    <a:pt x="0" y="14"/>
                  </a:lnTo>
                  <a:lnTo>
                    <a:pt x="3" y="3"/>
                  </a:lnTo>
                  <a:lnTo>
                    <a:pt x="10" y="0"/>
                  </a:lnTo>
                  <a:lnTo>
                    <a:pt x="21" y="3"/>
                  </a:lnTo>
                  <a:lnTo>
                    <a:pt x="21" y="14"/>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2" name="Freeform 58"/>
            <p:cNvSpPr>
              <a:spLocks/>
            </p:cNvSpPr>
            <p:nvPr/>
          </p:nvSpPr>
          <p:spPr bwMode="auto">
            <a:xfrm>
              <a:off x="2955" y="1529"/>
              <a:ext cx="54" cy="54"/>
            </a:xfrm>
            <a:custGeom>
              <a:avLst/>
              <a:gdLst>
                <a:gd name="T0" fmla="*/ 54 w 54"/>
                <a:gd name="T1" fmla="*/ 29 h 54"/>
                <a:gd name="T2" fmla="*/ 54 w 54"/>
                <a:gd name="T3" fmla="*/ 29 h 54"/>
                <a:gd name="T4" fmla="*/ 50 w 54"/>
                <a:gd name="T5" fmla="*/ 39 h 54"/>
                <a:gd name="T6" fmla="*/ 43 w 54"/>
                <a:gd name="T7" fmla="*/ 47 h 54"/>
                <a:gd name="T8" fmla="*/ 36 w 54"/>
                <a:gd name="T9" fmla="*/ 54 h 54"/>
                <a:gd name="T10" fmla="*/ 25 w 54"/>
                <a:gd name="T11" fmla="*/ 54 h 54"/>
                <a:gd name="T12" fmla="*/ 25 w 54"/>
                <a:gd name="T13" fmla="*/ 54 h 54"/>
                <a:gd name="T14" fmla="*/ 15 w 54"/>
                <a:gd name="T15" fmla="*/ 54 h 54"/>
                <a:gd name="T16" fmla="*/ 7 w 54"/>
                <a:gd name="T17" fmla="*/ 47 h 54"/>
                <a:gd name="T18" fmla="*/ 0 w 54"/>
                <a:gd name="T19" fmla="*/ 39 h 54"/>
                <a:gd name="T20" fmla="*/ 0 w 54"/>
                <a:gd name="T21" fmla="*/ 29 h 54"/>
                <a:gd name="T22" fmla="*/ 0 w 54"/>
                <a:gd name="T23" fmla="*/ 29 h 54"/>
                <a:gd name="T24" fmla="*/ 0 w 54"/>
                <a:gd name="T25" fmla="*/ 18 h 54"/>
                <a:gd name="T26" fmla="*/ 7 w 54"/>
                <a:gd name="T27" fmla="*/ 7 h 54"/>
                <a:gd name="T28" fmla="*/ 15 w 54"/>
                <a:gd name="T29" fmla="*/ 4 h 54"/>
                <a:gd name="T30" fmla="*/ 25 w 54"/>
                <a:gd name="T31" fmla="*/ 0 h 54"/>
                <a:gd name="T32" fmla="*/ 25 w 54"/>
                <a:gd name="T33" fmla="*/ 0 h 54"/>
                <a:gd name="T34" fmla="*/ 36 w 54"/>
                <a:gd name="T35" fmla="*/ 4 h 54"/>
                <a:gd name="T36" fmla="*/ 43 w 54"/>
                <a:gd name="T37" fmla="*/ 7 h 54"/>
                <a:gd name="T38" fmla="*/ 50 w 54"/>
                <a:gd name="T39" fmla="*/ 18 h 54"/>
                <a:gd name="T40" fmla="*/ 54 w 54"/>
                <a:gd name="T41" fmla="*/ 29 h 54"/>
                <a:gd name="T42" fmla="*/ 54 w 54"/>
                <a:gd name="T43" fmla="*/ 2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9"/>
                  </a:moveTo>
                  <a:lnTo>
                    <a:pt x="54" y="29"/>
                  </a:lnTo>
                  <a:lnTo>
                    <a:pt x="50" y="39"/>
                  </a:lnTo>
                  <a:lnTo>
                    <a:pt x="43" y="47"/>
                  </a:lnTo>
                  <a:lnTo>
                    <a:pt x="36" y="54"/>
                  </a:lnTo>
                  <a:lnTo>
                    <a:pt x="25" y="54"/>
                  </a:lnTo>
                  <a:lnTo>
                    <a:pt x="15" y="54"/>
                  </a:lnTo>
                  <a:lnTo>
                    <a:pt x="7" y="47"/>
                  </a:lnTo>
                  <a:lnTo>
                    <a:pt x="0" y="39"/>
                  </a:lnTo>
                  <a:lnTo>
                    <a:pt x="0" y="29"/>
                  </a:lnTo>
                  <a:lnTo>
                    <a:pt x="0" y="18"/>
                  </a:lnTo>
                  <a:lnTo>
                    <a:pt x="7" y="7"/>
                  </a:lnTo>
                  <a:lnTo>
                    <a:pt x="15" y="4"/>
                  </a:lnTo>
                  <a:lnTo>
                    <a:pt x="25" y="0"/>
                  </a:lnTo>
                  <a:lnTo>
                    <a:pt x="36" y="4"/>
                  </a:lnTo>
                  <a:lnTo>
                    <a:pt x="43" y="7"/>
                  </a:lnTo>
                  <a:lnTo>
                    <a:pt x="50" y="18"/>
                  </a:lnTo>
                  <a:lnTo>
                    <a:pt x="54" y="29"/>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3" name="Freeform 59"/>
            <p:cNvSpPr>
              <a:spLocks/>
            </p:cNvSpPr>
            <p:nvPr/>
          </p:nvSpPr>
          <p:spPr bwMode="auto">
            <a:xfrm>
              <a:off x="3169" y="2745"/>
              <a:ext cx="22" cy="25"/>
            </a:xfrm>
            <a:custGeom>
              <a:avLst/>
              <a:gdLst>
                <a:gd name="T0" fmla="*/ 22 w 22"/>
                <a:gd name="T1" fmla="*/ 11 h 25"/>
                <a:gd name="T2" fmla="*/ 22 w 22"/>
                <a:gd name="T3" fmla="*/ 11 h 25"/>
                <a:gd name="T4" fmla="*/ 18 w 22"/>
                <a:gd name="T5" fmla="*/ 21 h 25"/>
                <a:gd name="T6" fmla="*/ 11 w 22"/>
                <a:gd name="T7" fmla="*/ 25 h 25"/>
                <a:gd name="T8" fmla="*/ 11 w 22"/>
                <a:gd name="T9" fmla="*/ 25 h 25"/>
                <a:gd name="T10" fmla="*/ 4 w 22"/>
                <a:gd name="T11" fmla="*/ 21 h 25"/>
                <a:gd name="T12" fmla="*/ 0 w 22"/>
                <a:gd name="T13" fmla="*/ 11 h 25"/>
                <a:gd name="T14" fmla="*/ 0 w 22"/>
                <a:gd name="T15" fmla="*/ 11 h 25"/>
                <a:gd name="T16" fmla="*/ 4 w 22"/>
                <a:gd name="T17" fmla="*/ 3 h 25"/>
                <a:gd name="T18" fmla="*/ 11 w 22"/>
                <a:gd name="T19" fmla="*/ 0 h 25"/>
                <a:gd name="T20" fmla="*/ 11 w 22"/>
                <a:gd name="T21" fmla="*/ 0 h 25"/>
                <a:gd name="T22" fmla="*/ 18 w 22"/>
                <a:gd name="T23" fmla="*/ 3 h 25"/>
                <a:gd name="T24" fmla="*/ 22 w 22"/>
                <a:gd name="T25" fmla="*/ 11 h 25"/>
                <a:gd name="T26" fmla="*/ 22 w 22"/>
                <a:gd name="T27" fmla="*/ 11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
                <a:gd name="T43" fmla="*/ 0 h 25"/>
                <a:gd name="T44" fmla="*/ 22 w 22"/>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 h="25">
                  <a:moveTo>
                    <a:pt x="22" y="11"/>
                  </a:moveTo>
                  <a:lnTo>
                    <a:pt x="22" y="11"/>
                  </a:lnTo>
                  <a:lnTo>
                    <a:pt x="18" y="21"/>
                  </a:lnTo>
                  <a:lnTo>
                    <a:pt x="11" y="25"/>
                  </a:lnTo>
                  <a:lnTo>
                    <a:pt x="4" y="21"/>
                  </a:lnTo>
                  <a:lnTo>
                    <a:pt x="0" y="11"/>
                  </a:lnTo>
                  <a:lnTo>
                    <a:pt x="4" y="3"/>
                  </a:lnTo>
                  <a:lnTo>
                    <a:pt x="11" y="0"/>
                  </a:lnTo>
                  <a:lnTo>
                    <a:pt x="18" y="3"/>
                  </a:lnTo>
                  <a:lnTo>
                    <a:pt x="22"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4" name="Freeform 60"/>
            <p:cNvSpPr>
              <a:spLocks/>
            </p:cNvSpPr>
            <p:nvPr/>
          </p:nvSpPr>
          <p:spPr bwMode="auto">
            <a:xfrm>
              <a:off x="3151" y="2731"/>
              <a:ext cx="54" cy="53"/>
            </a:xfrm>
            <a:custGeom>
              <a:avLst/>
              <a:gdLst>
                <a:gd name="T0" fmla="*/ 54 w 54"/>
                <a:gd name="T1" fmla="*/ 25 h 53"/>
                <a:gd name="T2" fmla="*/ 54 w 54"/>
                <a:gd name="T3" fmla="*/ 25 h 53"/>
                <a:gd name="T4" fmla="*/ 54 w 54"/>
                <a:gd name="T5" fmla="*/ 35 h 53"/>
                <a:gd name="T6" fmla="*/ 47 w 54"/>
                <a:gd name="T7" fmla="*/ 46 h 53"/>
                <a:gd name="T8" fmla="*/ 40 w 54"/>
                <a:gd name="T9" fmla="*/ 49 h 53"/>
                <a:gd name="T10" fmla="*/ 29 w 54"/>
                <a:gd name="T11" fmla="*/ 53 h 53"/>
                <a:gd name="T12" fmla="*/ 29 w 54"/>
                <a:gd name="T13" fmla="*/ 53 h 53"/>
                <a:gd name="T14" fmla="*/ 18 w 54"/>
                <a:gd name="T15" fmla="*/ 49 h 53"/>
                <a:gd name="T16" fmla="*/ 11 w 54"/>
                <a:gd name="T17" fmla="*/ 46 h 53"/>
                <a:gd name="T18" fmla="*/ 4 w 54"/>
                <a:gd name="T19" fmla="*/ 35 h 53"/>
                <a:gd name="T20" fmla="*/ 0 w 54"/>
                <a:gd name="T21" fmla="*/ 25 h 53"/>
                <a:gd name="T22" fmla="*/ 0 w 54"/>
                <a:gd name="T23" fmla="*/ 25 h 53"/>
                <a:gd name="T24" fmla="*/ 4 w 54"/>
                <a:gd name="T25" fmla="*/ 14 h 53"/>
                <a:gd name="T26" fmla="*/ 11 w 54"/>
                <a:gd name="T27" fmla="*/ 7 h 53"/>
                <a:gd name="T28" fmla="*/ 18 w 54"/>
                <a:gd name="T29" fmla="*/ 0 h 53"/>
                <a:gd name="T30" fmla="*/ 29 w 54"/>
                <a:gd name="T31" fmla="*/ 0 h 53"/>
                <a:gd name="T32" fmla="*/ 29 w 54"/>
                <a:gd name="T33" fmla="*/ 0 h 53"/>
                <a:gd name="T34" fmla="*/ 40 w 54"/>
                <a:gd name="T35" fmla="*/ 0 h 53"/>
                <a:gd name="T36" fmla="*/ 47 w 54"/>
                <a:gd name="T37" fmla="*/ 7 h 53"/>
                <a:gd name="T38" fmla="*/ 54 w 54"/>
                <a:gd name="T39" fmla="*/ 14 h 53"/>
                <a:gd name="T40" fmla="*/ 54 w 54"/>
                <a:gd name="T41" fmla="*/ 25 h 53"/>
                <a:gd name="T42" fmla="*/ 54 w 54"/>
                <a:gd name="T43" fmla="*/ 25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3"/>
                <a:gd name="T68" fmla="*/ 54 w 54"/>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3">
                  <a:moveTo>
                    <a:pt x="54" y="25"/>
                  </a:moveTo>
                  <a:lnTo>
                    <a:pt x="54" y="25"/>
                  </a:lnTo>
                  <a:lnTo>
                    <a:pt x="54" y="35"/>
                  </a:lnTo>
                  <a:lnTo>
                    <a:pt x="47" y="46"/>
                  </a:lnTo>
                  <a:lnTo>
                    <a:pt x="40" y="49"/>
                  </a:lnTo>
                  <a:lnTo>
                    <a:pt x="29" y="53"/>
                  </a:lnTo>
                  <a:lnTo>
                    <a:pt x="18" y="49"/>
                  </a:lnTo>
                  <a:lnTo>
                    <a:pt x="11" y="46"/>
                  </a:lnTo>
                  <a:lnTo>
                    <a:pt x="4" y="35"/>
                  </a:lnTo>
                  <a:lnTo>
                    <a:pt x="0" y="25"/>
                  </a:lnTo>
                  <a:lnTo>
                    <a:pt x="4" y="14"/>
                  </a:lnTo>
                  <a:lnTo>
                    <a:pt x="11" y="7"/>
                  </a:lnTo>
                  <a:lnTo>
                    <a:pt x="18" y="0"/>
                  </a:lnTo>
                  <a:lnTo>
                    <a:pt x="29" y="0"/>
                  </a:lnTo>
                  <a:lnTo>
                    <a:pt x="40" y="0"/>
                  </a:lnTo>
                  <a:lnTo>
                    <a:pt x="47" y="7"/>
                  </a:lnTo>
                  <a:lnTo>
                    <a:pt x="54" y="14"/>
                  </a:lnTo>
                  <a:lnTo>
                    <a:pt x="54" y="25"/>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5" name="Freeform 61"/>
            <p:cNvSpPr>
              <a:spLocks/>
            </p:cNvSpPr>
            <p:nvPr/>
          </p:nvSpPr>
          <p:spPr bwMode="auto">
            <a:xfrm>
              <a:off x="3544" y="2634"/>
              <a:ext cx="24" cy="25"/>
            </a:xfrm>
            <a:custGeom>
              <a:avLst/>
              <a:gdLst>
                <a:gd name="T0" fmla="*/ 24 w 24"/>
                <a:gd name="T1" fmla="*/ 15 h 25"/>
                <a:gd name="T2" fmla="*/ 24 w 24"/>
                <a:gd name="T3" fmla="*/ 15 h 25"/>
                <a:gd name="T4" fmla="*/ 21 w 24"/>
                <a:gd name="T5" fmla="*/ 22 h 25"/>
                <a:gd name="T6" fmla="*/ 14 w 24"/>
                <a:gd name="T7" fmla="*/ 25 h 25"/>
                <a:gd name="T8" fmla="*/ 14 w 24"/>
                <a:gd name="T9" fmla="*/ 25 h 25"/>
                <a:gd name="T10" fmla="*/ 3 w 24"/>
                <a:gd name="T11" fmla="*/ 22 h 25"/>
                <a:gd name="T12" fmla="*/ 0 w 24"/>
                <a:gd name="T13" fmla="*/ 15 h 25"/>
                <a:gd name="T14" fmla="*/ 0 w 24"/>
                <a:gd name="T15" fmla="*/ 15 h 25"/>
                <a:gd name="T16" fmla="*/ 3 w 24"/>
                <a:gd name="T17" fmla="*/ 4 h 25"/>
                <a:gd name="T18" fmla="*/ 14 w 24"/>
                <a:gd name="T19" fmla="*/ 0 h 25"/>
                <a:gd name="T20" fmla="*/ 14 w 24"/>
                <a:gd name="T21" fmla="*/ 0 h 25"/>
                <a:gd name="T22" fmla="*/ 21 w 24"/>
                <a:gd name="T23" fmla="*/ 4 h 25"/>
                <a:gd name="T24" fmla="*/ 24 w 24"/>
                <a:gd name="T25" fmla="*/ 15 h 25"/>
                <a:gd name="T26" fmla="*/ 24 w 24"/>
                <a:gd name="T27" fmla="*/ 15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
                <a:gd name="T43" fmla="*/ 0 h 25"/>
                <a:gd name="T44" fmla="*/ 24 w 24"/>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 h="25">
                  <a:moveTo>
                    <a:pt x="24" y="15"/>
                  </a:moveTo>
                  <a:lnTo>
                    <a:pt x="24" y="15"/>
                  </a:lnTo>
                  <a:lnTo>
                    <a:pt x="21" y="22"/>
                  </a:lnTo>
                  <a:lnTo>
                    <a:pt x="14" y="25"/>
                  </a:lnTo>
                  <a:lnTo>
                    <a:pt x="3" y="22"/>
                  </a:lnTo>
                  <a:lnTo>
                    <a:pt x="0" y="15"/>
                  </a:lnTo>
                  <a:lnTo>
                    <a:pt x="3" y="4"/>
                  </a:lnTo>
                  <a:lnTo>
                    <a:pt x="14" y="0"/>
                  </a:lnTo>
                  <a:lnTo>
                    <a:pt x="21" y="4"/>
                  </a:lnTo>
                  <a:lnTo>
                    <a:pt x="24" y="15"/>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6" name="Freeform 62"/>
            <p:cNvSpPr>
              <a:spLocks/>
            </p:cNvSpPr>
            <p:nvPr/>
          </p:nvSpPr>
          <p:spPr bwMode="auto">
            <a:xfrm>
              <a:off x="3529" y="2620"/>
              <a:ext cx="54" cy="54"/>
            </a:xfrm>
            <a:custGeom>
              <a:avLst/>
              <a:gdLst>
                <a:gd name="T0" fmla="*/ 54 w 54"/>
                <a:gd name="T1" fmla="*/ 29 h 54"/>
                <a:gd name="T2" fmla="*/ 54 w 54"/>
                <a:gd name="T3" fmla="*/ 29 h 54"/>
                <a:gd name="T4" fmla="*/ 54 w 54"/>
                <a:gd name="T5" fmla="*/ 39 h 54"/>
                <a:gd name="T6" fmla="*/ 47 w 54"/>
                <a:gd name="T7" fmla="*/ 46 h 54"/>
                <a:gd name="T8" fmla="*/ 39 w 54"/>
                <a:gd name="T9" fmla="*/ 54 h 54"/>
                <a:gd name="T10" fmla="*/ 29 w 54"/>
                <a:gd name="T11" fmla="*/ 54 h 54"/>
                <a:gd name="T12" fmla="*/ 29 w 54"/>
                <a:gd name="T13" fmla="*/ 54 h 54"/>
                <a:gd name="T14" fmla="*/ 18 w 54"/>
                <a:gd name="T15" fmla="*/ 54 h 54"/>
                <a:gd name="T16" fmla="*/ 7 w 54"/>
                <a:gd name="T17" fmla="*/ 46 h 54"/>
                <a:gd name="T18" fmla="*/ 4 w 54"/>
                <a:gd name="T19" fmla="*/ 39 h 54"/>
                <a:gd name="T20" fmla="*/ 0 w 54"/>
                <a:gd name="T21" fmla="*/ 29 h 54"/>
                <a:gd name="T22" fmla="*/ 0 w 54"/>
                <a:gd name="T23" fmla="*/ 29 h 54"/>
                <a:gd name="T24" fmla="*/ 4 w 54"/>
                <a:gd name="T25" fmla="*/ 18 h 54"/>
                <a:gd name="T26" fmla="*/ 7 w 54"/>
                <a:gd name="T27" fmla="*/ 7 h 54"/>
                <a:gd name="T28" fmla="*/ 18 w 54"/>
                <a:gd name="T29" fmla="*/ 4 h 54"/>
                <a:gd name="T30" fmla="*/ 29 w 54"/>
                <a:gd name="T31" fmla="*/ 0 h 54"/>
                <a:gd name="T32" fmla="*/ 29 w 54"/>
                <a:gd name="T33" fmla="*/ 0 h 54"/>
                <a:gd name="T34" fmla="*/ 39 w 54"/>
                <a:gd name="T35" fmla="*/ 4 h 54"/>
                <a:gd name="T36" fmla="*/ 47 w 54"/>
                <a:gd name="T37" fmla="*/ 7 h 54"/>
                <a:gd name="T38" fmla="*/ 54 w 54"/>
                <a:gd name="T39" fmla="*/ 18 h 54"/>
                <a:gd name="T40" fmla="*/ 54 w 54"/>
                <a:gd name="T41" fmla="*/ 29 h 54"/>
                <a:gd name="T42" fmla="*/ 54 w 54"/>
                <a:gd name="T43" fmla="*/ 2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9"/>
                  </a:moveTo>
                  <a:lnTo>
                    <a:pt x="54" y="29"/>
                  </a:lnTo>
                  <a:lnTo>
                    <a:pt x="54" y="39"/>
                  </a:lnTo>
                  <a:lnTo>
                    <a:pt x="47" y="46"/>
                  </a:lnTo>
                  <a:lnTo>
                    <a:pt x="39" y="54"/>
                  </a:lnTo>
                  <a:lnTo>
                    <a:pt x="29" y="54"/>
                  </a:lnTo>
                  <a:lnTo>
                    <a:pt x="18" y="54"/>
                  </a:lnTo>
                  <a:lnTo>
                    <a:pt x="7" y="46"/>
                  </a:lnTo>
                  <a:lnTo>
                    <a:pt x="4" y="39"/>
                  </a:lnTo>
                  <a:lnTo>
                    <a:pt x="0" y="29"/>
                  </a:lnTo>
                  <a:lnTo>
                    <a:pt x="4" y="18"/>
                  </a:lnTo>
                  <a:lnTo>
                    <a:pt x="7" y="7"/>
                  </a:lnTo>
                  <a:lnTo>
                    <a:pt x="18" y="4"/>
                  </a:lnTo>
                  <a:lnTo>
                    <a:pt x="29" y="0"/>
                  </a:lnTo>
                  <a:lnTo>
                    <a:pt x="39" y="4"/>
                  </a:lnTo>
                  <a:lnTo>
                    <a:pt x="47" y="7"/>
                  </a:lnTo>
                  <a:lnTo>
                    <a:pt x="54" y="18"/>
                  </a:lnTo>
                  <a:lnTo>
                    <a:pt x="54" y="29"/>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7" name="Freeform 63"/>
            <p:cNvSpPr>
              <a:spLocks/>
            </p:cNvSpPr>
            <p:nvPr/>
          </p:nvSpPr>
          <p:spPr bwMode="auto">
            <a:xfrm>
              <a:off x="3422" y="1130"/>
              <a:ext cx="631" cy="674"/>
            </a:xfrm>
            <a:custGeom>
              <a:avLst/>
              <a:gdLst>
                <a:gd name="T0" fmla="*/ 310 w 631"/>
                <a:gd name="T1" fmla="*/ 25 h 674"/>
                <a:gd name="T2" fmla="*/ 293 w 631"/>
                <a:gd name="T3" fmla="*/ 21 h 674"/>
                <a:gd name="T4" fmla="*/ 243 w 631"/>
                <a:gd name="T5" fmla="*/ 64 h 674"/>
                <a:gd name="T6" fmla="*/ 175 w 631"/>
                <a:gd name="T7" fmla="*/ 114 h 674"/>
                <a:gd name="T8" fmla="*/ 150 w 631"/>
                <a:gd name="T9" fmla="*/ 103 h 674"/>
                <a:gd name="T10" fmla="*/ 129 w 631"/>
                <a:gd name="T11" fmla="*/ 89 h 674"/>
                <a:gd name="T12" fmla="*/ 104 w 631"/>
                <a:gd name="T13" fmla="*/ 96 h 674"/>
                <a:gd name="T14" fmla="*/ 89 w 631"/>
                <a:gd name="T15" fmla="*/ 150 h 674"/>
                <a:gd name="T16" fmla="*/ 54 w 631"/>
                <a:gd name="T17" fmla="*/ 146 h 674"/>
                <a:gd name="T18" fmla="*/ 0 w 631"/>
                <a:gd name="T19" fmla="*/ 175 h 674"/>
                <a:gd name="T20" fmla="*/ 22 w 631"/>
                <a:gd name="T21" fmla="*/ 214 h 674"/>
                <a:gd name="T22" fmla="*/ 36 w 631"/>
                <a:gd name="T23" fmla="*/ 225 h 674"/>
                <a:gd name="T24" fmla="*/ 68 w 631"/>
                <a:gd name="T25" fmla="*/ 232 h 674"/>
                <a:gd name="T26" fmla="*/ 75 w 631"/>
                <a:gd name="T27" fmla="*/ 253 h 674"/>
                <a:gd name="T28" fmla="*/ 75 w 631"/>
                <a:gd name="T29" fmla="*/ 285 h 674"/>
                <a:gd name="T30" fmla="*/ 118 w 631"/>
                <a:gd name="T31" fmla="*/ 314 h 674"/>
                <a:gd name="T32" fmla="*/ 118 w 631"/>
                <a:gd name="T33" fmla="*/ 392 h 674"/>
                <a:gd name="T34" fmla="*/ 100 w 631"/>
                <a:gd name="T35" fmla="*/ 431 h 674"/>
                <a:gd name="T36" fmla="*/ 86 w 631"/>
                <a:gd name="T37" fmla="*/ 449 h 674"/>
                <a:gd name="T38" fmla="*/ 122 w 631"/>
                <a:gd name="T39" fmla="*/ 471 h 674"/>
                <a:gd name="T40" fmla="*/ 175 w 631"/>
                <a:gd name="T41" fmla="*/ 531 h 674"/>
                <a:gd name="T42" fmla="*/ 186 w 631"/>
                <a:gd name="T43" fmla="*/ 578 h 674"/>
                <a:gd name="T44" fmla="*/ 189 w 631"/>
                <a:gd name="T45" fmla="*/ 610 h 674"/>
                <a:gd name="T46" fmla="*/ 200 w 631"/>
                <a:gd name="T47" fmla="*/ 645 h 674"/>
                <a:gd name="T48" fmla="*/ 218 w 631"/>
                <a:gd name="T49" fmla="*/ 674 h 674"/>
                <a:gd name="T50" fmla="*/ 253 w 631"/>
                <a:gd name="T51" fmla="*/ 652 h 674"/>
                <a:gd name="T52" fmla="*/ 350 w 631"/>
                <a:gd name="T53" fmla="*/ 642 h 674"/>
                <a:gd name="T54" fmla="*/ 350 w 631"/>
                <a:gd name="T55" fmla="*/ 613 h 674"/>
                <a:gd name="T56" fmla="*/ 367 w 631"/>
                <a:gd name="T57" fmla="*/ 567 h 674"/>
                <a:gd name="T58" fmla="*/ 407 w 631"/>
                <a:gd name="T59" fmla="*/ 553 h 674"/>
                <a:gd name="T60" fmla="*/ 428 w 631"/>
                <a:gd name="T61" fmla="*/ 545 h 674"/>
                <a:gd name="T62" fmla="*/ 464 w 631"/>
                <a:gd name="T63" fmla="*/ 510 h 674"/>
                <a:gd name="T64" fmla="*/ 499 w 631"/>
                <a:gd name="T65" fmla="*/ 506 h 674"/>
                <a:gd name="T66" fmla="*/ 531 w 631"/>
                <a:gd name="T67" fmla="*/ 485 h 674"/>
                <a:gd name="T68" fmla="*/ 535 w 631"/>
                <a:gd name="T69" fmla="*/ 467 h 674"/>
                <a:gd name="T70" fmla="*/ 535 w 631"/>
                <a:gd name="T71" fmla="*/ 438 h 674"/>
                <a:gd name="T72" fmla="*/ 631 w 631"/>
                <a:gd name="T73" fmla="*/ 310 h 674"/>
                <a:gd name="T74" fmla="*/ 621 w 631"/>
                <a:gd name="T75" fmla="*/ 235 h 674"/>
                <a:gd name="T76" fmla="*/ 578 w 631"/>
                <a:gd name="T77" fmla="*/ 153 h 674"/>
                <a:gd name="T78" fmla="*/ 571 w 631"/>
                <a:gd name="T79" fmla="*/ 143 h 674"/>
                <a:gd name="T80" fmla="*/ 535 w 631"/>
                <a:gd name="T81" fmla="*/ 118 h 674"/>
                <a:gd name="T82" fmla="*/ 514 w 631"/>
                <a:gd name="T83" fmla="*/ 118 h 674"/>
                <a:gd name="T84" fmla="*/ 496 w 631"/>
                <a:gd name="T85" fmla="*/ 143 h 674"/>
                <a:gd name="T86" fmla="*/ 485 w 631"/>
                <a:gd name="T87" fmla="*/ 150 h 674"/>
                <a:gd name="T88" fmla="*/ 453 w 631"/>
                <a:gd name="T89" fmla="*/ 146 h 674"/>
                <a:gd name="T90" fmla="*/ 389 w 631"/>
                <a:gd name="T91" fmla="*/ 96 h 674"/>
                <a:gd name="T92" fmla="*/ 378 w 631"/>
                <a:gd name="T93" fmla="*/ 68 h 67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631"/>
                <a:gd name="T142" fmla="*/ 0 h 674"/>
                <a:gd name="T143" fmla="*/ 631 w 631"/>
                <a:gd name="T144" fmla="*/ 674 h 67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631" h="674">
                  <a:moveTo>
                    <a:pt x="382" y="0"/>
                  </a:moveTo>
                  <a:lnTo>
                    <a:pt x="310" y="25"/>
                  </a:lnTo>
                  <a:lnTo>
                    <a:pt x="307" y="25"/>
                  </a:lnTo>
                  <a:lnTo>
                    <a:pt x="303" y="21"/>
                  </a:lnTo>
                  <a:lnTo>
                    <a:pt x="293" y="21"/>
                  </a:lnTo>
                  <a:lnTo>
                    <a:pt x="271" y="36"/>
                  </a:lnTo>
                  <a:lnTo>
                    <a:pt x="243" y="64"/>
                  </a:lnTo>
                  <a:lnTo>
                    <a:pt x="207" y="93"/>
                  </a:lnTo>
                  <a:lnTo>
                    <a:pt x="193" y="107"/>
                  </a:lnTo>
                  <a:lnTo>
                    <a:pt x="175" y="114"/>
                  </a:lnTo>
                  <a:lnTo>
                    <a:pt x="161" y="114"/>
                  </a:lnTo>
                  <a:lnTo>
                    <a:pt x="154" y="111"/>
                  </a:lnTo>
                  <a:lnTo>
                    <a:pt x="150" y="103"/>
                  </a:lnTo>
                  <a:lnTo>
                    <a:pt x="143" y="100"/>
                  </a:lnTo>
                  <a:lnTo>
                    <a:pt x="129" y="89"/>
                  </a:lnTo>
                  <a:lnTo>
                    <a:pt x="118" y="86"/>
                  </a:lnTo>
                  <a:lnTo>
                    <a:pt x="111" y="89"/>
                  </a:lnTo>
                  <a:lnTo>
                    <a:pt x="104" y="96"/>
                  </a:lnTo>
                  <a:lnTo>
                    <a:pt x="97" y="111"/>
                  </a:lnTo>
                  <a:lnTo>
                    <a:pt x="89" y="150"/>
                  </a:lnTo>
                  <a:lnTo>
                    <a:pt x="86" y="146"/>
                  </a:lnTo>
                  <a:lnTo>
                    <a:pt x="68" y="143"/>
                  </a:lnTo>
                  <a:lnTo>
                    <a:pt x="54" y="146"/>
                  </a:lnTo>
                  <a:lnTo>
                    <a:pt x="40" y="150"/>
                  </a:lnTo>
                  <a:lnTo>
                    <a:pt x="18" y="160"/>
                  </a:lnTo>
                  <a:lnTo>
                    <a:pt x="0" y="175"/>
                  </a:lnTo>
                  <a:lnTo>
                    <a:pt x="11" y="200"/>
                  </a:lnTo>
                  <a:lnTo>
                    <a:pt x="22" y="214"/>
                  </a:lnTo>
                  <a:lnTo>
                    <a:pt x="29" y="221"/>
                  </a:lnTo>
                  <a:lnTo>
                    <a:pt x="36" y="225"/>
                  </a:lnTo>
                  <a:lnTo>
                    <a:pt x="47" y="225"/>
                  </a:lnTo>
                  <a:lnTo>
                    <a:pt x="61" y="228"/>
                  </a:lnTo>
                  <a:lnTo>
                    <a:pt x="68" y="232"/>
                  </a:lnTo>
                  <a:lnTo>
                    <a:pt x="75" y="235"/>
                  </a:lnTo>
                  <a:lnTo>
                    <a:pt x="79" y="242"/>
                  </a:lnTo>
                  <a:lnTo>
                    <a:pt x="75" y="253"/>
                  </a:lnTo>
                  <a:lnTo>
                    <a:pt x="75" y="264"/>
                  </a:lnTo>
                  <a:lnTo>
                    <a:pt x="75" y="285"/>
                  </a:lnTo>
                  <a:lnTo>
                    <a:pt x="111" y="292"/>
                  </a:lnTo>
                  <a:lnTo>
                    <a:pt x="118" y="314"/>
                  </a:lnTo>
                  <a:lnTo>
                    <a:pt x="118" y="339"/>
                  </a:lnTo>
                  <a:lnTo>
                    <a:pt x="122" y="364"/>
                  </a:lnTo>
                  <a:lnTo>
                    <a:pt x="118" y="392"/>
                  </a:lnTo>
                  <a:lnTo>
                    <a:pt x="114" y="414"/>
                  </a:lnTo>
                  <a:lnTo>
                    <a:pt x="107" y="424"/>
                  </a:lnTo>
                  <a:lnTo>
                    <a:pt x="100" y="431"/>
                  </a:lnTo>
                  <a:lnTo>
                    <a:pt x="89" y="438"/>
                  </a:lnTo>
                  <a:lnTo>
                    <a:pt x="79" y="438"/>
                  </a:lnTo>
                  <a:lnTo>
                    <a:pt x="86" y="449"/>
                  </a:lnTo>
                  <a:lnTo>
                    <a:pt x="104" y="460"/>
                  </a:lnTo>
                  <a:lnTo>
                    <a:pt x="122" y="471"/>
                  </a:lnTo>
                  <a:lnTo>
                    <a:pt x="139" y="485"/>
                  </a:lnTo>
                  <a:lnTo>
                    <a:pt x="157" y="506"/>
                  </a:lnTo>
                  <a:lnTo>
                    <a:pt x="175" y="531"/>
                  </a:lnTo>
                  <a:lnTo>
                    <a:pt x="179" y="545"/>
                  </a:lnTo>
                  <a:lnTo>
                    <a:pt x="186" y="560"/>
                  </a:lnTo>
                  <a:lnTo>
                    <a:pt x="186" y="578"/>
                  </a:lnTo>
                  <a:lnTo>
                    <a:pt x="186" y="595"/>
                  </a:lnTo>
                  <a:lnTo>
                    <a:pt x="189" y="610"/>
                  </a:lnTo>
                  <a:lnTo>
                    <a:pt x="200" y="635"/>
                  </a:lnTo>
                  <a:lnTo>
                    <a:pt x="200" y="645"/>
                  </a:lnTo>
                  <a:lnTo>
                    <a:pt x="207" y="659"/>
                  </a:lnTo>
                  <a:lnTo>
                    <a:pt x="211" y="670"/>
                  </a:lnTo>
                  <a:lnTo>
                    <a:pt x="218" y="674"/>
                  </a:lnTo>
                  <a:lnTo>
                    <a:pt x="225" y="674"/>
                  </a:lnTo>
                  <a:lnTo>
                    <a:pt x="236" y="670"/>
                  </a:lnTo>
                  <a:lnTo>
                    <a:pt x="253" y="652"/>
                  </a:lnTo>
                  <a:lnTo>
                    <a:pt x="300" y="652"/>
                  </a:lnTo>
                  <a:lnTo>
                    <a:pt x="325" y="638"/>
                  </a:lnTo>
                  <a:lnTo>
                    <a:pt x="350" y="642"/>
                  </a:lnTo>
                  <a:lnTo>
                    <a:pt x="350" y="627"/>
                  </a:lnTo>
                  <a:lnTo>
                    <a:pt x="350" y="613"/>
                  </a:lnTo>
                  <a:lnTo>
                    <a:pt x="353" y="595"/>
                  </a:lnTo>
                  <a:lnTo>
                    <a:pt x="357" y="581"/>
                  </a:lnTo>
                  <a:lnTo>
                    <a:pt x="367" y="567"/>
                  </a:lnTo>
                  <a:lnTo>
                    <a:pt x="382" y="556"/>
                  </a:lnTo>
                  <a:lnTo>
                    <a:pt x="392" y="553"/>
                  </a:lnTo>
                  <a:lnTo>
                    <a:pt x="407" y="553"/>
                  </a:lnTo>
                  <a:lnTo>
                    <a:pt x="410" y="553"/>
                  </a:lnTo>
                  <a:lnTo>
                    <a:pt x="428" y="545"/>
                  </a:lnTo>
                  <a:lnTo>
                    <a:pt x="446" y="531"/>
                  </a:lnTo>
                  <a:lnTo>
                    <a:pt x="457" y="520"/>
                  </a:lnTo>
                  <a:lnTo>
                    <a:pt x="464" y="510"/>
                  </a:lnTo>
                  <a:lnTo>
                    <a:pt x="474" y="510"/>
                  </a:lnTo>
                  <a:lnTo>
                    <a:pt x="499" y="506"/>
                  </a:lnTo>
                  <a:lnTo>
                    <a:pt x="510" y="503"/>
                  </a:lnTo>
                  <a:lnTo>
                    <a:pt x="524" y="496"/>
                  </a:lnTo>
                  <a:lnTo>
                    <a:pt x="531" y="485"/>
                  </a:lnTo>
                  <a:lnTo>
                    <a:pt x="539" y="467"/>
                  </a:lnTo>
                  <a:lnTo>
                    <a:pt x="535" y="467"/>
                  </a:lnTo>
                  <a:lnTo>
                    <a:pt x="531" y="456"/>
                  </a:lnTo>
                  <a:lnTo>
                    <a:pt x="531" y="446"/>
                  </a:lnTo>
                  <a:lnTo>
                    <a:pt x="535" y="438"/>
                  </a:lnTo>
                  <a:lnTo>
                    <a:pt x="542" y="431"/>
                  </a:lnTo>
                  <a:lnTo>
                    <a:pt x="631" y="310"/>
                  </a:lnTo>
                  <a:lnTo>
                    <a:pt x="631" y="296"/>
                  </a:lnTo>
                  <a:lnTo>
                    <a:pt x="628" y="260"/>
                  </a:lnTo>
                  <a:lnTo>
                    <a:pt x="621" y="235"/>
                  </a:lnTo>
                  <a:lnTo>
                    <a:pt x="613" y="207"/>
                  </a:lnTo>
                  <a:lnTo>
                    <a:pt x="599" y="182"/>
                  </a:lnTo>
                  <a:lnTo>
                    <a:pt x="578" y="153"/>
                  </a:lnTo>
                  <a:lnTo>
                    <a:pt x="578" y="150"/>
                  </a:lnTo>
                  <a:lnTo>
                    <a:pt x="571" y="143"/>
                  </a:lnTo>
                  <a:lnTo>
                    <a:pt x="560" y="128"/>
                  </a:lnTo>
                  <a:lnTo>
                    <a:pt x="535" y="118"/>
                  </a:lnTo>
                  <a:lnTo>
                    <a:pt x="531" y="118"/>
                  </a:lnTo>
                  <a:lnTo>
                    <a:pt x="517" y="118"/>
                  </a:lnTo>
                  <a:lnTo>
                    <a:pt x="514" y="118"/>
                  </a:lnTo>
                  <a:lnTo>
                    <a:pt x="507" y="125"/>
                  </a:lnTo>
                  <a:lnTo>
                    <a:pt x="499" y="132"/>
                  </a:lnTo>
                  <a:lnTo>
                    <a:pt x="496" y="143"/>
                  </a:lnTo>
                  <a:lnTo>
                    <a:pt x="492" y="143"/>
                  </a:lnTo>
                  <a:lnTo>
                    <a:pt x="485" y="150"/>
                  </a:lnTo>
                  <a:lnTo>
                    <a:pt x="471" y="153"/>
                  </a:lnTo>
                  <a:lnTo>
                    <a:pt x="464" y="150"/>
                  </a:lnTo>
                  <a:lnTo>
                    <a:pt x="453" y="146"/>
                  </a:lnTo>
                  <a:lnTo>
                    <a:pt x="403" y="107"/>
                  </a:lnTo>
                  <a:lnTo>
                    <a:pt x="389" y="96"/>
                  </a:lnTo>
                  <a:lnTo>
                    <a:pt x="382" y="86"/>
                  </a:lnTo>
                  <a:lnTo>
                    <a:pt x="378" y="75"/>
                  </a:lnTo>
                  <a:lnTo>
                    <a:pt x="378" y="68"/>
                  </a:lnTo>
                  <a:lnTo>
                    <a:pt x="382" y="0"/>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8" name="Freeform 64"/>
            <p:cNvSpPr>
              <a:spLocks/>
            </p:cNvSpPr>
            <p:nvPr/>
          </p:nvSpPr>
          <p:spPr bwMode="auto">
            <a:xfrm>
              <a:off x="2716" y="642"/>
              <a:ext cx="828" cy="1115"/>
            </a:xfrm>
            <a:custGeom>
              <a:avLst/>
              <a:gdLst>
                <a:gd name="T0" fmla="*/ 806 w 828"/>
                <a:gd name="T1" fmla="*/ 923 h 1115"/>
                <a:gd name="T2" fmla="*/ 828 w 828"/>
                <a:gd name="T3" fmla="*/ 855 h 1115"/>
                <a:gd name="T4" fmla="*/ 781 w 828"/>
                <a:gd name="T5" fmla="*/ 777 h 1115"/>
                <a:gd name="T6" fmla="*/ 781 w 828"/>
                <a:gd name="T7" fmla="*/ 741 h 1115"/>
                <a:gd name="T8" fmla="*/ 767 w 828"/>
                <a:gd name="T9" fmla="*/ 716 h 1115"/>
                <a:gd name="T10" fmla="*/ 735 w 828"/>
                <a:gd name="T11" fmla="*/ 713 h 1115"/>
                <a:gd name="T12" fmla="*/ 642 w 828"/>
                <a:gd name="T13" fmla="*/ 588 h 1115"/>
                <a:gd name="T14" fmla="*/ 606 w 828"/>
                <a:gd name="T15" fmla="*/ 495 h 1115"/>
                <a:gd name="T16" fmla="*/ 596 w 828"/>
                <a:gd name="T17" fmla="*/ 460 h 1115"/>
                <a:gd name="T18" fmla="*/ 592 w 828"/>
                <a:gd name="T19" fmla="*/ 385 h 1115"/>
                <a:gd name="T20" fmla="*/ 574 w 828"/>
                <a:gd name="T21" fmla="*/ 353 h 1115"/>
                <a:gd name="T22" fmla="*/ 564 w 828"/>
                <a:gd name="T23" fmla="*/ 306 h 1115"/>
                <a:gd name="T24" fmla="*/ 503 w 828"/>
                <a:gd name="T25" fmla="*/ 292 h 1115"/>
                <a:gd name="T26" fmla="*/ 435 w 828"/>
                <a:gd name="T27" fmla="*/ 299 h 1115"/>
                <a:gd name="T28" fmla="*/ 385 w 828"/>
                <a:gd name="T29" fmla="*/ 274 h 1115"/>
                <a:gd name="T30" fmla="*/ 375 w 828"/>
                <a:gd name="T31" fmla="*/ 231 h 1115"/>
                <a:gd name="T32" fmla="*/ 325 w 828"/>
                <a:gd name="T33" fmla="*/ 164 h 1115"/>
                <a:gd name="T34" fmla="*/ 275 w 828"/>
                <a:gd name="T35" fmla="*/ 124 h 1115"/>
                <a:gd name="T36" fmla="*/ 229 w 828"/>
                <a:gd name="T37" fmla="*/ 114 h 1115"/>
                <a:gd name="T38" fmla="*/ 189 w 828"/>
                <a:gd name="T39" fmla="*/ 75 h 1115"/>
                <a:gd name="T40" fmla="*/ 168 w 828"/>
                <a:gd name="T41" fmla="*/ 57 h 1115"/>
                <a:gd name="T42" fmla="*/ 82 w 828"/>
                <a:gd name="T43" fmla="*/ 0 h 1115"/>
                <a:gd name="T44" fmla="*/ 43 w 828"/>
                <a:gd name="T45" fmla="*/ 17 h 1115"/>
                <a:gd name="T46" fmla="*/ 79 w 828"/>
                <a:gd name="T47" fmla="*/ 89 h 1115"/>
                <a:gd name="T48" fmla="*/ 100 w 828"/>
                <a:gd name="T49" fmla="*/ 82 h 1115"/>
                <a:gd name="T50" fmla="*/ 122 w 828"/>
                <a:gd name="T51" fmla="*/ 128 h 1115"/>
                <a:gd name="T52" fmla="*/ 143 w 828"/>
                <a:gd name="T53" fmla="*/ 221 h 1115"/>
                <a:gd name="T54" fmla="*/ 104 w 828"/>
                <a:gd name="T55" fmla="*/ 221 h 1115"/>
                <a:gd name="T56" fmla="*/ 75 w 828"/>
                <a:gd name="T57" fmla="*/ 185 h 1115"/>
                <a:gd name="T58" fmla="*/ 33 w 828"/>
                <a:gd name="T59" fmla="*/ 189 h 1115"/>
                <a:gd name="T60" fmla="*/ 8 w 828"/>
                <a:gd name="T61" fmla="*/ 231 h 1115"/>
                <a:gd name="T62" fmla="*/ 25 w 828"/>
                <a:gd name="T63" fmla="*/ 274 h 1115"/>
                <a:gd name="T64" fmla="*/ 33 w 828"/>
                <a:gd name="T65" fmla="*/ 338 h 1115"/>
                <a:gd name="T66" fmla="*/ 90 w 828"/>
                <a:gd name="T67" fmla="*/ 374 h 1115"/>
                <a:gd name="T68" fmla="*/ 150 w 828"/>
                <a:gd name="T69" fmla="*/ 367 h 1115"/>
                <a:gd name="T70" fmla="*/ 172 w 828"/>
                <a:gd name="T71" fmla="*/ 360 h 1115"/>
                <a:gd name="T72" fmla="*/ 168 w 828"/>
                <a:gd name="T73" fmla="*/ 399 h 1115"/>
                <a:gd name="T74" fmla="*/ 125 w 828"/>
                <a:gd name="T75" fmla="*/ 420 h 1115"/>
                <a:gd name="T76" fmla="*/ 43 w 828"/>
                <a:gd name="T77" fmla="*/ 427 h 1115"/>
                <a:gd name="T78" fmla="*/ 0 w 828"/>
                <a:gd name="T79" fmla="*/ 488 h 1115"/>
                <a:gd name="T80" fmla="*/ 22 w 828"/>
                <a:gd name="T81" fmla="*/ 538 h 1115"/>
                <a:gd name="T82" fmla="*/ 82 w 828"/>
                <a:gd name="T83" fmla="*/ 545 h 1115"/>
                <a:gd name="T84" fmla="*/ 129 w 828"/>
                <a:gd name="T85" fmla="*/ 570 h 1115"/>
                <a:gd name="T86" fmla="*/ 179 w 828"/>
                <a:gd name="T87" fmla="*/ 606 h 1115"/>
                <a:gd name="T88" fmla="*/ 161 w 828"/>
                <a:gd name="T89" fmla="*/ 631 h 1115"/>
                <a:gd name="T90" fmla="*/ 182 w 828"/>
                <a:gd name="T91" fmla="*/ 741 h 1115"/>
                <a:gd name="T92" fmla="*/ 243 w 828"/>
                <a:gd name="T93" fmla="*/ 755 h 1115"/>
                <a:gd name="T94" fmla="*/ 300 w 828"/>
                <a:gd name="T95" fmla="*/ 734 h 1115"/>
                <a:gd name="T96" fmla="*/ 339 w 828"/>
                <a:gd name="T97" fmla="*/ 745 h 1115"/>
                <a:gd name="T98" fmla="*/ 382 w 828"/>
                <a:gd name="T99" fmla="*/ 802 h 1115"/>
                <a:gd name="T100" fmla="*/ 414 w 828"/>
                <a:gd name="T101" fmla="*/ 809 h 1115"/>
                <a:gd name="T102" fmla="*/ 418 w 828"/>
                <a:gd name="T103" fmla="*/ 855 h 1115"/>
                <a:gd name="T104" fmla="*/ 450 w 828"/>
                <a:gd name="T105" fmla="*/ 919 h 1115"/>
                <a:gd name="T106" fmla="*/ 460 w 828"/>
                <a:gd name="T107" fmla="*/ 962 h 1115"/>
                <a:gd name="T108" fmla="*/ 507 w 828"/>
                <a:gd name="T109" fmla="*/ 994 h 1115"/>
                <a:gd name="T110" fmla="*/ 532 w 828"/>
                <a:gd name="T111" fmla="*/ 1005 h 1115"/>
                <a:gd name="T112" fmla="*/ 574 w 828"/>
                <a:gd name="T113" fmla="*/ 1044 h 1115"/>
                <a:gd name="T114" fmla="*/ 606 w 828"/>
                <a:gd name="T115" fmla="*/ 1115 h 1115"/>
                <a:gd name="T116" fmla="*/ 649 w 828"/>
                <a:gd name="T117" fmla="*/ 1026 h 1115"/>
                <a:gd name="T118" fmla="*/ 631 w 828"/>
                <a:gd name="T119" fmla="*/ 944 h 1115"/>
                <a:gd name="T120" fmla="*/ 635 w 828"/>
                <a:gd name="T121" fmla="*/ 887 h 1115"/>
                <a:gd name="T122" fmla="*/ 678 w 828"/>
                <a:gd name="T123" fmla="*/ 862 h 1115"/>
                <a:gd name="T124" fmla="*/ 742 w 828"/>
                <a:gd name="T125" fmla="*/ 887 h 111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828"/>
                <a:gd name="T190" fmla="*/ 0 h 1115"/>
                <a:gd name="T191" fmla="*/ 828 w 828"/>
                <a:gd name="T192" fmla="*/ 1115 h 111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828" h="1115">
                  <a:moveTo>
                    <a:pt x="785" y="930"/>
                  </a:moveTo>
                  <a:lnTo>
                    <a:pt x="785" y="930"/>
                  </a:lnTo>
                  <a:lnTo>
                    <a:pt x="795" y="926"/>
                  </a:lnTo>
                  <a:lnTo>
                    <a:pt x="806" y="923"/>
                  </a:lnTo>
                  <a:lnTo>
                    <a:pt x="813" y="916"/>
                  </a:lnTo>
                  <a:lnTo>
                    <a:pt x="817" y="905"/>
                  </a:lnTo>
                  <a:lnTo>
                    <a:pt x="824" y="880"/>
                  </a:lnTo>
                  <a:lnTo>
                    <a:pt x="828" y="855"/>
                  </a:lnTo>
                  <a:lnTo>
                    <a:pt x="824" y="827"/>
                  </a:lnTo>
                  <a:lnTo>
                    <a:pt x="820" y="805"/>
                  </a:lnTo>
                  <a:lnTo>
                    <a:pt x="817" y="780"/>
                  </a:lnTo>
                  <a:lnTo>
                    <a:pt x="781" y="777"/>
                  </a:lnTo>
                  <a:lnTo>
                    <a:pt x="781" y="755"/>
                  </a:lnTo>
                  <a:lnTo>
                    <a:pt x="781" y="741"/>
                  </a:lnTo>
                  <a:lnTo>
                    <a:pt x="785" y="730"/>
                  </a:lnTo>
                  <a:lnTo>
                    <a:pt x="781" y="723"/>
                  </a:lnTo>
                  <a:lnTo>
                    <a:pt x="774" y="720"/>
                  </a:lnTo>
                  <a:lnTo>
                    <a:pt x="767" y="716"/>
                  </a:lnTo>
                  <a:lnTo>
                    <a:pt x="749" y="716"/>
                  </a:lnTo>
                  <a:lnTo>
                    <a:pt x="742" y="716"/>
                  </a:lnTo>
                  <a:lnTo>
                    <a:pt x="735" y="713"/>
                  </a:lnTo>
                  <a:lnTo>
                    <a:pt x="728" y="705"/>
                  </a:lnTo>
                  <a:lnTo>
                    <a:pt x="713" y="688"/>
                  </a:lnTo>
                  <a:lnTo>
                    <a:pt x="703" y="663"/>
                  </a:lnTo>
                  <a:lnTo>
                    <a:pt x="642" y="588"/>
                  </a:lnTo>
                  <a:lnTo>
                    <a:pt x="614" y="499"/>
                  </a:lnTo>
                  <a:lnTo>
                    <a:pt x="606" y="495"/>
                  </a:lnTo>
                  <a:lnTo>
                    <a:pt x="599" y="488"/>
                  </a:lnTo>
                  <a:lnTo>
                    <a:pt x="592" y="474"/>
                  </a:lnTo>
                  <a:lnTo>
                    <a:pt x="592" y="463"/>
                  </a:lnTo>
                  <a:lnTo>
                    <a:pt x="596" y="460"/>
                  </a:lnTo>
                  <a:lnTo>
                    <a:pt x="596" y="427"/>
                  </a:lnTo>
                  <a:lnTo>
                    <a:pt x="596" y="402"/>
                  </a:lnTo>
                  <a:lnTo>
                    <a:pt x="592" y="385"/>
                  </a:lnTo>
                  <a:lnTo>
                    <a:pt x="589" y="370"/>
                  </a:lnTo>
                  <a:lnTo>
                    <a:pt x="578" y="356"/>
                  </a:lnTo>
                  <a:lnTo>
                    <a:pt x="574" y="353"/>
                  </a:lnTo>
                  <a:lnTo>
                    <a:pt x="574" y="338"/>
                  </a:lnTo>
                  <a:lnTo>
                    <a:pt x="574" y="324"/>
                  </a:lnTo>
                  <a:lnTo>
                    <a:pt x="571" y="313"/>
                  </a:lnTo>
                  <a:lnTo>
                    <a:pt x="564" y="306"/>
                  </a:lnTo>
                  <a:lnTo>
                    <a:pt x="549" y="296"/>
                  </a:lnTo>
                  <a:lnTo>
                    <a:pt x="535" y="292"/>
                  </a:lnTo>
                  <a:lnTo>
                    <a:pt x="517" y="288"/>
                  </a:lnTo>
                  <a:lnTo>
                    <a:pt x="503" y="292"/>
                  </a:lnTo>
                  <a:lnTo>
                    <a:pt x="489" y="296"/>
                  </a:lnTo>
                  <a:lnTo>
                    <a:pt x="471" y="299"/>
                  </a:lnTo>
                  <a:lnTo>
                    <a:pt x="435" y="299"/>
                  </a:lnTo>
                  <a:lnTo>
                    <a:pt x="418" y="296"/>
                  </a:lnTo>
                  <a:lnTo>
                    <a:pt x="400" y="292"/>
                  </a:lnTo>
                  <a:lnTo>
                    <a:pt x="389" y="281"/>
                  </a:lnTo>
                  <a:lnTo>
                    <a:pt x="385" y="274"/>
                  </a:lnTo>
                  <a:lnTo>
                    <a:pt x="385" y="267"/>
                  </a:lnTo>
                  <a:lnTo>
                    <a:pt x="382" y="249"/>
                  </a:lnTo>
                  <a:lnTo>
                    <a:pt x="375" y="231"/>
                  </a:lnTo>
                  <a:lnTo>
                    <a:pt x="357" y="199"/>
                  </a:lnTo>
                  <a:lnTo>
                    <a:pt x="336" y="174"/>
                  </a:lnTo>
                  <a:lnTo>
                    <a:pt x="325" y="164"/>
                  </a:lnTo>
                  <a:lnTo>
                    <a:pt x="318" y="153"/>
                  </a:lnTo>
                  <a:lnTo>
                    <a:pt x="300" y="139"/>
                  </a:lnTo>
                  <a:lnTo>
                    <a:pt x="275" y="124"/>
                  </a:lnTo>
                  <a:lnTo>
                    <a:pt x="261" y="121"/>
                  </a:lnTo>
                  <a:lnTo>
                    <a:pt x="246" y="117"/>
                  </a:lnTo>
                  <a:lnTo>
                    <a:pt x="229" y="114"/>
                  </a:lnTo>
                  <a:lnTo>
                    <a:pt x="207" y="103"/>
                  </a:lnTo>
                  <a:lnTo>
                    <a:pt x="197" y="92"/>
                  </a:lnTo>
                  <a:lnTo>
                    <a:pt x="189" y="82"/>
                  </a:lnTo>
                  <a:lnTo>
                    <a:pt x="189" y="75"/>
                  </a:lnTo>
                  <a:lnTo>
                    <a:pt x="186" y="75"/>
                  </a:lnTo>
                  <a:lnTo>
                    <a:pt x="182" y="75"/>
                  </a:lnTo>
                  <a:lnTo>
                    <a:pt x="168" y="57"/>
                  </a:lnTo>
                  <a:lnTo>
                    <a:pt x="150" y="42"/>
                  </a:lnTo>
                  <a:lnTo>
                    <a:pt x="129" y="25"/>
                  </a:lnTo>
                  <a:lnTo>
                    <a:pt x="107" y="10"/>
                  </a:lnTo>
                  <a:lnTo>
                    <a:pt x="82" y="0"/>
                  </a:lnTo>
                  <a:lnTo>
                    <a:pt x="72" y="0"/>
                  </a:lnTo>
                  <a:lnTo>
                    <a:pt x="61" y="3"/>
                  </a:lnTo>
                  <a:lnTo>
                    <a:pt x="54" y="7"/>
                  </a:lnTo>
                  <a:lnTo>
                    <a:pt x="43" y="17"/>
                  </a:lnTo>
                  <a:lnTo>
                    <a:pt x="47" y="99"/>
                  </a:lnTo>
                  <a:lnTo>
                    <a:pt x="57" y="96"/>
                  </a:lnTo>
                  <a:lnTo>
                    <a:pt x="79" y="89"/>
                  </a:lnTo>
                  <a:lnTo>
                    <a:pt x="90" y="82"/>
                  </a:lnTo>
                  <a:lnTo>
                    <a:pt x="93" y="82"/>
                  </a:lnTo>
                  <a:lnTo>
                    <a:pt x="100" y="82"/>
                  </a:lnTo>
                  <a:lnTo>
                    <a:pt x="107" y="89"/>
                  </a:lnTo>
                  <a:lnTo>
                    <a:pt x="111" y="96"/>
                  </a:lnTo>
                  <a:lnTo>
                    <a:pt x="118" y="110"/>
                  </a:lnTo>
                  <a:lnTo>
                    <a:pt x="122" y="128"/>
                  </a:lnTo>
                  <a:lnTo>
                    <a:pt x="132" y="171"/>
                  </a:lnTo>
                  <a:lnTo>
                    <a:pt x="143" y="206"/>
                  </a:lnTo>
                  <a:lnTo>
                    <a:pt x="143" y="221"/>
                  </a:lnTo>
                  <a:lnTo>
                    <a:pt x="139" y="224"/>
                  </a:lnTo>
                  <a:lnTo>
                    <a:pt x="136" y="228"/>
                  </a:lnTo>
                  <a:lnTo>
                    <a:pt x="125" y="228"/>
                  </a:lnTo>
                  <a:lnTo>
                    <a:pt x="104" y="221"/>
                  </a:lnTo>
                  <a:lnTo>
                    <a:pt x="100" y="214"/>
                  </a:lnTo>
                  <a:lnTo>
                    <a:pt x="86" y="192"/>
                  </a:lnTo>
                  <a:lnTo>
                    <a:pt x="75" y="185"/>
                  </a:lnTo>
                  <a:lnTo>
                    <a:pt x="65" y="178"/>
                  </a:lnTo>
                  <a:lnTo>
                    <a:pt x="50" y="178"/>
                  </a:lnTo>
                  <a:lnTo>
                    <a:pt x="33" y="189"/>
                  </a:lnTo>
                  <a:lnTo>
                    <a:pt x="18" y="203"/>
                  </a:lnTo>
                  <a:lnTo>
                    <a:pt x="11" y="214"/>
                  </a:lnTo>
                  <a:lnTo>
                    <a:pt x="8" y="224"/>
                  </a:lnTo>
                  <a:lnTo>
                    <a:pt x="8" y="231"/>
                  </a:lnTo>
                  <a:lnTo>
                    <a:pt x="11" y="246"/>
                  </a:lnTo>
                  <a:lnTo>
                    <a:pt x="18" y="249"/>
                  </a:lnTo>
                  <a:lnTo>
                    <a:pt x="25" y="274"/>
                  </a:lnTo>
                  <a:lnTo>
                    <a:pt x="33" y="299"/>
                  </a:lnTo>
                  <a:lnTo>
                    <a:pt x="33" y="331"/>
                  </a:lnTo>
                  <a:lnTo>
                    <a:pt x="33" y="338"/>
                  </a:lnTo>
                  <a:lnTo>
                    <a:pt x="36" y="345"/>
                  </a:lnTo>
                  <a:lnTo>
                    <a:pt x="50" y="356"/>
                  </a:lnTo>
                  <a:lnTo>
                    <a:pt x="68" y="367"/>
                  </a:lnTo>
                  <a:lnTo>
                    <a:pt x="90" y="374"/>
                  </a:lnTo>
                  <a:lnTo>
                    <a:pt x="111" y="378"/>
                  </a:lnTo>
                  <a:lnTo>
                    <a:pt x="132" y="378"/>
                  </a:lnTo>
                  <a:lnTo>
                    <a:pt x="147" y="370"/>
                  </a:lnTo>
                  <a:lnTo>
                    <a:pt x="150" y="367"/>
                  </a:lnTo>
                  <a:lnTo>
                    <a:pt x="154" y="360"/>
                  </a:lnTo>
                  <a:lnTo>
                    <a:pt x="161" y="360"/>
                  </a:lnTo>
                  <a:lnTo>
                    <a:pt x="172" y="360"/>
                  </a:lnTo>
                  <a:lnTo>
                    <a:pt x="179" y="363"/>
                  </a:lnTo>
                  <a:lnTo>
                    <a:pt x="179" y="370"/>
                  </a:lnTo>
                  <a:lnTo>
                    <a:pt x="175" y="381"/>
                  </a:lnTo>
                  <a:lnTo>
                    <a:pt x="168" y="399"/>
                  </a:lnTo>
                  <a:lnTo>
                    <a:pt x="164" y="402"/>
                  </a:lnTo>
                  <a:lnTo>
                    <a:pt x="154" y="413"/>
                  </a:lnTo>
                  <a:lnTo>
                    <a:pt x="125" y="420"/>
                  </a:lnTo>
                  <a:lnTo>
                    <a:pt x="100" y="424"/>
                  </a:lnTo>
                  <a:lnTo>
                    <a:pt x="72" y="424"/>
                  </a:lnTo>
                  <a:lnTo>
                    <a:pt x="43" y="427"/>
                  </a:lnTo>
                  <a:lnTo>
                    <a:pt x="22" y="438"/>
                  </a:lnTo>
                  <a:lnTo>
                    <a:pt x="8" y="452"/>
                  </a:lnTo>
                  <a:lnTo>
                    <a:pt x="0" y="470"/>
                  </a:lnTo>
                  <a:lnTo>
                    <a:pt x="0" y="488"/>
                  </a:lnTo>
                  <a:lnTo>
                    <a:pt x="0" y="506"/>
                  </a:lnTo>
                  <a:lnTo>
                    <a:pt x="11" y="524"/>
                  </a:lnTo>
                  <a:lnTo>
                    <a:pt x="22" y="538"/>
                  </a:lnTo>
                  <a:lnTo>
                    <a:pt x="29" y="538"/>
                  </a:lnTo>
                  <a:lnTo>
                    <a:pt x="47" y="534"/>
                  </a:lnTo>
                  <a:lnTo>
                    <a:pt x="72" y="538"/>
                  </a:lnTo>
                  <a:lnTo>
                    <a:pt x="82" y="545"/>
                  </a:lnTo>
                  <a:lnTo>
                    <a:pt x="90" y="552"/>
                  </a:lnTo>
                  <a:lnTo>
                    <a:pt x="104" y="563"/>
                  </a:lnTo>
                  <a:lnTo>
                    <a:pt x="129" y="570"/>
                  </a:lnTo>
                  <a:lnTo>
                    <a:pt x="147" y="577"/>
                  </a:lnTo>
                  <a:lnTo>
                    <a:pt x="161" y="584"/>
                  </a:lnTo>
                  <a:lnTo>
                    <a:pt x="172" y="595"/>
                  </a:lnTo>
                  <a:lnTo>
                    <a:pt x="179" y="606"/>
                  </a:lnTo>
                  <a:lnTo>
                    <a:pt x="179" y="613"/>
                  </a:lnTo>
                  <a:lnTo>
                    <a:pt x="179" y="616"/>
                  </a:lnTo>
                  <a:lnTo>
                    <a:pt x="172" y="623"/>
                  </a:lnTo>
                  <a:lnTo>
                    <a:pt x="161" y="631"/>
                  </a:lnTo>
                  <a:lnTo>
                    <a:pt x="125" y="641"/>
                  </a:lnTo>
                  <a:lnTo>
                    <a:pt x="118" y="645"/>
                  </a:lnTo>
                  <a:lnTo>
                    <a:pt x="182" y="741"/>
                  </a:lnTo>
                  <a:lnTo>
                    <a:pt x="193" y="745"/>
                  </a:lnTo>
                  <a:lnTo>
                    <a:pt x="214" y="752"/>
                  </a:lnTo>
                  <a:lnTo>
                    <a:pt x="243" y="755"/>
                  </a:lnTo>
                  <a:lnTo>
                    <a:pt x="261" y="752"/>
                  </a:lnTo>
                  <a:lnTo>
                    <a:pt x="275" y="748"/>
                  </a:lnTo>
                  <a:lnTo>
                    <a:pt x="300" y="734"/>
                  </a:lnTo>
                  <a:lnTo>
                    <a:pt x="321" y="727"/>
                  </a:lnTo>
                  <a:lnTo>
                    <a:pt x="328" y="730"/>
                  </a:lnTo>
                  <a:lnTo>
                    <a:pt x="332" y="734"/>
                  </a:lnTo>
                  <a:lnTo>
                    <a:pt x="339" y="745"/>
                  </a:lnTo>
                  <a:lnTo>
                    <a:pt x="343" y="763"/>
                  </a:lnTo>
                  <a:lnTo>
                    <a:pt x="364" y="784"/>
                  </a:lnTo>
                  <a:lnTo>
                    <a:pt x="382" y="802"/>
                  </a:lnTo>
                  <a:lnTo>
                    <a:pt x="393" y="805"/>
                  </a:lnTo>
                  <a:lnTo>
                    <a:pt x="403" y="809"/>
                  </a:lnTo>
                  <a:lnTo>
                    <a:pt x="414" y="809"/>
                  </a:lnTo>
                  <a:lnTo>
                    <a:pt x="418" y="816"/>
                  </a:lnTo>
                  <a:lnTo>
                    <a:pt x="421" y="827"/>
                  </a:lnTo>
                  <a:lnTo>
                    <a:pt x="421" y="837"/>
                  </a:lnTo>
                  <a:lnTo>
                    <a:pt x="418" y="855"/>
                  </a:lnTo>
                  <a:lnTo>
                    <a:pt x="414" y="862"/>
                  </a:lnTo>
                  <a:lnTo>
                    <a:pt x="435" y="891"/>
                  </a:lnTo>
                  <a:lnTo>
                    <a:pt x="450" y="919"/>
                  </a:lnTo>
                  <a:lnTo>
                    <a:pt x="457" y="934"/>
                  </a:lnTo>
                  <a:lnTo>
                    <a:pt x="460" y="948"/>
                  </a:lnTo>
                  <a:lnTo>
                    <a:pt x="460" y="962"/>
                  </a:lnTo>
                  <a:lnTo>
                    <a:pt x="467" y="973"/>
                  </a:lnTo>
                  <a:lnTo>
                    <a:pt x="478" y="980"/>
                  </a:lnTo>
                  <a:lnTo>
                    <a:pt x="485" y="987"/>
                  </a:lnTo>
                  <a:lnTo>
                    <a:pt x="507" y="994"/>
                  </a:lnTo>
                  <a:lnTo>
                    <a:pt x="521" y="994"/>
                  </a:lnTo>
                  <a:lnTo>
                    <a:pt x="528" y="998"/>
                  </a:lnTo>
                  <a:lnTo>
                    <a:pt x="532" y="1005"/>
                  </a:lnTo>
                  <a:lnTo>
                    <a:pt x="542" y="1023"/>
                  </a:lnTo>
                  <a:lnTo>
                    <a:pt x="549" y="1033"/>
                  </a:lnTo>
                  <a:lnTo>
                    <a:pt x="560" y="1041"/>
                  </a:lnTo>
                  <a:lnTo>
                    <a:pt x="574" y="1044"/>
                  </a:lnTo>
                  <a:lnTo>
                    <a:pt x="592" y="1044"/>
                  </a:lnTo>
                  <a:lnTo>
                    <a:pt x="606" y="1062"/>
                  </a:lnTo>
                  <a:lnTo>
                    <a:pt x="606" y="1115"/>
                  </a:lnTo>
                  <a:lnTo>
                    <a:pt x="631" y="1073"/>
                  </a:lnTo>
                  <a:lnTo>
                    <a:pt x="642" y="1055"/>
                  </a:lnTo>
                  <a:lnTo>
                    <a:pt x="646" y="1041"/>
                  </a:lnTo>
                  <a:lnTo>
                    <a:pt x="649" y="1026"/>
                  </a:lnTo>
                  <a:lnTo>
                    <a:pt x="649" y="1008"/>
                  </a:lnTo>
                  <a:lnTo>
                    <a:pt x="639" y="969"/>
                  </a:lnTo>
                  <a:lnTo>
                    <a:pt x="631" y="944"/>
                  </a:lnTo>
                  <a:lnTo>
                    <a:pt x="628" y="926"/>
                  </a:lnTo>
                  <a:lnTo>
                    <a:pt x="628" y="912"/>
                  </a:lnTo>
                  <a:lnTo>
                    <a:pt x="628" y="898"/>
                  </a:lnTo>
                  <a:lnTo>
                    <a:pt x="635" y="887"/>
                  </a:lnTo>
                  <a:lnTo>
                    <a:pt x="646" y="880"/>
                  </a:lnTo>
                  <a:lnTo>
                    <a:pt x="671" y="862"/>
                  </a:lnTo>
                  <a:lnTo>
                    <a:pt x="678" y="862"/>
                  </a:lnTo>
                  <a:lnTo>
                    <a:pt x="688" y="859"/>
                  </a:lnTo>
                  <a:lnTo>
                    <a:pt x="706" y="866"/>
                  </a:lnTo>
                  <a:lnTo>
                    <a:pt x="724" y="877"/>
                  </a:lnTo>
                  <a:lnTo>
                    <a:pt x="742" y="887"/>
                  </a:lnTo>
                  <a:lnTo>
                    <a:pt x="774" y="916"/>
                  </a:lnTo>
                  <a:lnTo>
                    <a:pt x="785" y="930"/>
                  </a:lnTo>
                  <a:close/>
                </a:path>
              </a:pathLst>
            </a:custGeom>
            <a:solidFill>
              <a:srgbClr val="FFFCD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69" name="Freeform 65"/>
            <p:cNvSpPr>
              <a:spLocks/>
            </p:cNvSpPr>
            <p:nvPr/>
          </p:nvSpPr>
          <p:spPr bwMode="auto">
            <a:xfrm>
              <a:off x="3690" y="1622"/>
              <a:ext cx="25" cy="25"/>
            </a:xfrm>
            <a:custGeom>
              <a:avLst/>
              <a:gdLst>
                <a:gd name="T0" fmla="*/ 25 w 25"/>
                <a:gd name="T1" fmla="*/ 14 h 25"/>
                <a:gd name="T2" fmla="*/ 25 w 25"/>
                <a:gd name="T3" fmla="*/ 14 h 25"/>
                <a:gd name="T4" fmla="*/ 21 w 25"/>
                <a:gd name="T5" fmla="*/ 21 h 25"/>
                <a:gd name="T6" fmla="*/ 10 w 25"/>
                <a:gd name="T7" fmla="*/ 25 h 25"/>
                <a:gd name="T8" fmla="*/ 10 w 25"/>
                <a:gd name="T9" fmla="*/ 25 h 25"/>
                <a:gd name="T10" fmla="*/ 3 w 25"/>
                <a:gd name="T11" fmla="*/ 21 h 25"/>
                <a:gd name="T12" fmla="*/ 0 w 25"/>
                <a:gd name="T13" fmla="*/ 14 h 25"/>
                <a:gd name="T14" fmla="*/ 0 w 25"/>
                <a:gd name="T15" fmla="*/ 14 h 25"/>
                <a:gd name="T16" fmla="*/ 3 w 25"/>
                <a:gd name="T17" fmla="*/ 4 h 25"/>
                <a:gd name="T18" fmla="*/ 10 w 25"/>
                <a:gd name="T19" fmla="*/ 0 h 25"/>
                <a:gd name="T20" fmla="*/ 10 w 25"/>
                <a:gd name="T21" fmla="*/ 0 h 25"/>
                <a:gd name="T22" fmla="*/ 21 w 25"/>
                <a:gd name="T23" fmla="*/ 4 h 25"/>
                <a:gd name="T24" fmla="*/ 25 w 25"/>
                <a:gd name="T25" fmla="*/ 14 h 25"/>
                <a:gd name="T26" fmla="*/ 25 w 25"/>
                <a:gd name="T27" fmla="*/ 14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5"/>
                <a:gd name="T43" fmla="*/ 0 h 25"/>
                <a:gd name="T44" fmla="*/ 25 w 25"/>
                <a:gd name="T45" fmla="*/ 25 h 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5" h="25">
                  <a:moveTo>
                    <a:pt x="25" y="14"/>
                  </a:moveTo>
                  <a:lnTo>
                    <a:pt x="25" y="14"/>
                  </a:lnTo>
                  <a:lnTo>
                    <a:pt x="21" y="21"/>
                  </a:lnTo>
                  <a:lnTo>
                    <a:pt x="10" y="25"/>
                  </a:lnTo>
                  <a:lnTo>
                    <a:pt x="3" y="21"/>
                  </a:lnTo>
                  <a:lnTo>
                    <a:pt x="0" y="14"/>
                  </a:lnTo>
                  <a:lnTo>
                    <a:pt x="3" y="4"/>
                  </a:lnTo>
                  <a:lnTo>
                    <a:pt x="10" y="0"/>
                  </a:lnTo>
                  <a:lnTo>
                    <a:pt x="21" y="4"/>
                  </a:lnTo>
                  <a:lnTo>
                    <a:pt x="25" y="14"/>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0" name="Freeform 66"/>
            <p:cNvSpPr>
              <a:spLocks/>
            </p:cNvSpPr>
            <p:nvPr/>
          </p:nvSpPr>
          <p:spPr bwMode="auto">
            <a:xfrm>
              <a:off x="3675" y="1608"/>
              <a:ext cx="54" cy="53"/>
            </a:xfrm>
            <a:custGeom>
              <a:avLst/>
              <a:gdLst>
                <a:gd name="T0" fmla="*/ 54 w 54"/>
                <a:gd name="T1" fmla="*/ 28 h 53"/>
                <a:gd name="T2" fmla="*/ 54 w 54"/>
                <a:gd name="T3" fmla="*/ 28 h 53"/>
                <a:gd name="T4" fmla="*/ 50 w 54"/>
                <a:gd name="T5" fmla="*/ 35 h 53"/>
                <a:gd name="T6" fmla="*/ 47 w 54"/>
                <a:gd name="T7" fmla="*/ 46 h 53"/>
                <a:gd name="T8" fmla="*/ 36 w 54"/>
                <a:gd name="T9" fmla="*/ 50 h 53"/>
                <a:gd name="T10" fmla="*/ 25 w 54"/>
                <a:gd name="T11" fmla="*/ 53 h 53"/>
                <a:gd name="T12" fmla="*/ 25 w 54"/>
                <a:gd name="T13" fmla="*/ 53 h 53"/>
                <a:gd name="T14" fmla="*/ 18 w 54"/>
                <a:gd name="T15" fmla="*/ 50 h 53"/>
                <a:gd name="T16" fmla="*/ 8 w 54"/>
                <a:gd name="T17" fmla="*/ 46 h 53"/>
                <a:gd name="T18" fmla="*/ 4 w 54"/>
                <a:gd name="T19" fmla="*/ 35 h 53"/>
                <a:gd name="T20" fmla="*/ 0 w 54"/>
                <a:gd name="T21" fmla="*/ 28 h 53"/>
                <a:gd name="T22" fmla="*/ 0 w 54"/>
                <a:gd name="T23" fmla="*/ 28 h 53"/>
                <a:gd name="T24" fmla="*/ 4 w 54"/>
                <a:gd name="T25" fmla="*/ 18 h 53"/>
                <a:gd name="T26" fmla="*/ 8 w 54"/>
                <a:gd name="T27" fmla="*/ 7 h 53"/>
                <a:gd name="T28" fmla="*/ 18 w 54"/>
                <a:gd name="T29" fmla="*/ 3 h 53"/>
                <a:gd name="T30" fmla="*/ 25 w 54"/>
                <a:gd name="T31" fmla="*/ 0 h 53"/>
                <a:gd name="T32" fmla="*/ 25 w 54"/>
                <a:gd name="T33" fmla="*/ 0 h 53"/>
                <a:gd name="T34" fmla="*/ 36 w 54"/>
                <a:gd name="T35" fmla="*/ 3 h 53"/>
                <a:gd name="T36" fmla="*/ 47 w 54"/>
                <a:gd name="T37" fmla="*/ 7 h 53"/>
                <a:gd name="T38" fmla="*/ 50 w 54"/>
                <a:gd name="T39" fmla="*/ 18 h 53"/>
                <a:gd name="T40" fmla="*/ 54 w 54"/>
                <a:gd name="T41" fmla="*/ 28 h 53"/>
                <a:gd name="T42" fmla="*/ 54 w 54"/>
                <a:gd name="T43" fmla="*/ 28 h 5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3"/>
                <a:gd name="T68" fmla="*/ 54 w 54"/>
                <a:gd name="T69" fmla="*/ 53 h 5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3">
                  <a:moveTo>
                    <a:pt x="54" y="28"/>
                  </a:moveTo>
                  <a:lnTo>
                    <a:pt x="54" y="28"/>
                  </a:lnTo>
                  <a:lnTo>
                    <a:pt x="50" y="35"/>
                  </a:lnTo>
                  <a:lnTo>
                    <a:pt x="47" y="46"/>
                  </a:lnTo>
                  <a:lnTo>
                    <a:pt x="36" y="50"/>
                  </a:lnTo>
                  <a:lnTo>
                    <a:pt x="25" y="53"/>
                  </a:lnTo>
                  <a:lnTo>
                    <a:pt x="18" y="50"/>
                  </a:lnTo>
                  <a:lnTo>
                    <a:pt x="8" y="46"/>
                  </a:lnTo>
                  <a:lnTo>
                    <a:pt x="4" y="35"/>
                  </a:lnTo>
                  <a:lnTo>
                    <a:pt x="0" y="28"/>
                  </a:lnTo>
                  <a:lnTo>
                    <a:pt x="4" y="18"/>
                  </a:lnTo>
                  <a:lnTo>
                    <a:pt x="8" y="7"/>
                  </a:lnTo>
                  <a:lnTo>
                    <a:pt x="18" y="3"/>
                  </a:lnTo>
                  <a:lnTo>
                    <a:pt x="25" y="0"/>
                  </a:lnTo>
                  <a:lnTo>
                    <a:pt x="36" y="3"/>
                  </a:lnTo>
                  <a:lnTo>
                    <a:pt x="47" y="7"/>
                  </a:lnTo>
                  <a:lnTo>
                    <a:pt x="50" y="18"/>
                  </a:lnTo>
                  <a:lnTo>
                    <a:pt x="54" y="28"/>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1" name="Freeform 67"/>
            <p:cNvSpPr>
              <a:spLocks/>
            </p:cNvSpPr>
            <p:nvPr/>
          </p:nvSpPr>
          <p:spPr bwMode="auto">
            <a:xfrm>
              <a:off x="3098" y="1376"/>
              <a:ext cx="21" cy="21"/>
            </a:xfrm>
            <a:custGeom>
              <a:avLst/>
              <a:gdLst>
                <a:gd name="T0" fmla="*/ 21 w 21"/>
                <a:gd name="T1" fmla="*/ 11 h 21"/>
                <a:gd name="T2" fmla="*/ 21 w 21"/>
                <a:gd name="T3" fmla="*/ 11 h 21"/>
                <a:gd name="T4" fmla="*/ 18 w 21"/>
                <a:gd name="T5" fmla="*/ 18 h 21"/>
                <a:gd name="T6" fmla="*/ 11 w 21"/>
                <a:gd name="T7" fmla="*/ 21 h 21"/>
                <a:gd name="T8" fmla="*/ 11 w 21"/>
                <a:gd name="T9" fmla="*/ 21 h 21"/>
                <a:gd name="T10" fmla="*/ 3 w 21"/>
                <a:gd name="T11" fmla="*/ 18 h 21"/>
                <a:gd name="T12" fmla="*/ 0 w 21"/>
                <a:gd name="T13" fmla="*/ 11 h 21"/>
                <a:gd name="T14" fmla="*/ 0 w 21"/>
                <a:gd name="T15" fmla="*/ 11 h 21"/>
                <a:gd name="T16" fmla="*/ 3 w 21"/>
                <a:gd name="T17" fmla="*/ 4 h 21"/>
                <a:gd name="T18" fmla="*/ 11 w 21"/>
                <a:gd name="T19" fmla="*/ 0 h 21"/>
                <a:gd name="T20" fmla="*/ 11 w 21"/>
                <a:gd name="T21" fmla="*/ 0 h 21"/>
                <a:gd name="T22" fmla="*/ 18 w 21"/>
                <a:gd name="T23" fmla="*/ 4 h 21"/>
                <a:gd name="T24" fmla="*/ 21 w 21"/>
                <a:gd name="T25" fmla="*/ 11 h 21"/>
                <a:gd name="T26" fmla="*/ 21 w 21"/>
                <a:gd name="T27" fmla="*/ 1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21"/>
                <a:gd name="T44" fmla="*/ 21 w 21"/>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21">
                  <a:moveTo>
                    <a:pt x="21" y="11"/>
                  </a:moveTo>
                  <a:lnTo>
                    <a:pt x="21" y="11"/>
                  </a:lnTo>
                  <a:lnTo>
                    <a:pt x="18" y="18"/>
                  </a:lnTo>
                  <a:lnTo>
                    <a:pt x="11" y="21"/>
                  </a:lnTo>
                  <a:lnTo>
                    <a:pt x="3" y="18"/>
                  </a:lnTo>
                  <a:lnTo>
                    <a:pt x="0" y="11"/>
                  </a:lnTo>
                  <a:lnTo>
                    <a:pt x="3" y="4"/>
                  </a:lnTo>
                  <a:lnTo>
                    <a:pt x="11" y="0"/>
                  </a:lnTo>
                  <a:lnTo>
                    <a:pt x="18" y="4"/>
                  </a:lnTo>
                  <a:lnTo>
                    <a:pt x="21"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2" name="Freeform 68"/>
            <p:cNvSpPr>
              <a:spLocks/>
            </p:cNvSpPr>
            <p:nvPr/>
          </p:nvSpPr>
          <p:spPr bwMode="auto">
            <a:xfrm>
              <a:off x="3080" y="1358"/>
              <a:ext cx="54" cy="54"/>
            </a:xfrm>
            <a:custGeom>
              <a:avLst/>
              <a:gdLst>
                <a:gd name="T0" fmla="*/ 54 w 54"/>
                <a:gd name="T1" fmla="*/ 29 h 54"/>
                <a:gd name="T2" fmla="*/ 54 w 54"/>
                <a:gd name="T3" fmla="*/ 29 h 54"/>
                <a:gd name="T4" fmla="*/ 54 w 54"/>
                <a:gd name="T5" fmla="*/ 39 h 54"/>
                <a:gd name="T6" fmla="*/ 46 w 54"/>
                <a:gd name="T7" fmla="*/ 47 h 54"/>
                <a:gd name="T8" fmla="*/ 39 w 54"/>
                <a:gd name="T9" fmla="*/ 54 h 54"/>
                <a:gd name="T10" fmla="*/ 29 w 54"/>
                <a:gd name="T11" fmla="*/ 54 h 54"/>
                <a:gd name="T12" fmla="*/ 29 w 54"/>
                <a:gd name="T13" fmla="*/ 54 h 54"/>
                <a:gd name="T14" fmla="*/ 18 w 54"/>
                <a:gd name="T15" fmla="*/ 54 h 54"/>
                <a:gd name="T16" fmla="*/ 11 w 54"/>
                <a:gd name="T17" fmla="*/ 47 h 54"/>
                <a:gd name="T18" fmla="*/ 4 w 54"/>
                <a:gd name="T19" fmla="*/ 39 h 54"/>
                <a:gd name="T20" fmla="*/ 0 w 54"/>
                <a:gd name="T21" fmla="*/ 29 h 54"/>
                <a:gd name="T22" fmla="*/ 0 w 54"/>
                <a:gd name="T23" fmla="*/ 29 h 54"/>
                <a:gd name="T24" fmla="*/ 4 w 54"/>
                <a:gd name="T25" fmla="*/ 18 h 54"/>
                <a:gd name="T26" fmla="*/ 11 w 54"/>
                <a:gd name="T27" fmla="*/ 11 h 54"/>
                <a:gd name="T28" fmla="*/ 18 w 54"/>
                <a:gd name="T29" fmla="*/ 4 h 54"/>
                <a:gd name="T30" fmla="*/ 29 w 54"/>
                <a:gd name="T31" fmla="*/ 0 h 54"/>
                <a:gd name="T32" fmla="*/ 29 w 54"/>
                <a:gd name="T33" fmla="*/ 0 h 54"/>
                <a:gd name="T34" fmla="*/ 39 w 54"/>
                <a:gd name="T35" fmla="*/ 4 h 54"/>
                <a:gd name="T36" fmla="*/ 46 w 54"/>
                <a:gd name="T37" fmla="*/ 11 h 54"/>
                <a:gd name="T38" fmla="*/ 54 w 54"/>
                <a:gd name="T39" fmla="*/ 18 h 54"/>
                <a:gd name="T40" fmla="*/ 54 w 54"/>
                <a:gd name="T41" fmla="*/ 29 h 54"/>
                <a:gd name="T42" fmla="*/ 54 w 54"/>
                <a:gd name="T43" fmla="*/ 2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4"/>
                <a:gd name="T67" fmla="*/ 0 h 54"/>
                <a:gd name="T68" fmla="*/ 54 w 54"/>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4" h="54">
                  <a:moveTo>
                    <a:pt x="54" y="29"/>
                  </a:moveTo>
                  <a:lnTo>
                    <a:pt x="54" y="29"/>
                  </a:lnTo>
                  <a:lnTo>
                    <a:pt x="54" y="39"/>
                  </a:lnTo>
                  <a:lnTo>
                    <a:pt x="46" y="47"/>
                  </a:lnTo>
                  <a:lnTo>
                    <a:pt x="39" y="54"/>
                  </a:lnTo>
                  <a:lnTo>
                    <a:pt x="29" y="54"/>
                  </a:lnTo>
                  <a:lnTo>
                    <a:pt x="18" y="54"/>
                  </a:lnTo>
                  <a:lnTo>
                    <a:pt x="11" y="47"/>
                  </a:lnTo>
                  <a:lnTo>
                    <a:pt x="4" y="39"/>
                  </a:lnTo>
                  <a:lnTo>
                    <a:pt x="0" y="29"/>
                  </a:lnTo>
                  <a:lnTo>
                    <a:pt x="4" y="18"/>
                  </a:lnTo>
                  <a:lnTo>
                    <a:pt x="11" y="11"/>
                  </a:lnTo>
                  <a:lnTo>
                    <a:pt x="18" y="4"/>
                  </a:lnTo>
                  <a:lnTo>
                    <a:pt x="29" y="0"/>
                  </a:lnTo>
                  <a:lnTo>
                    <a:pt x="39" y="4"/>
                  </a:lnTo>
                  <a:lnTo>
                    <a:pt x="46" y="11"/>
                  </a:lnTo>
                  <a:lnTo>
                    <a:pt x="54" y="18"/>
                  </a:lnTo>
                  <a:lnTo>
                    <a:pt x="54" y="29"/>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3" name="Freeform 69"/>
            <p:cNvSpPr>
              <a:spLocks/>
            </p:cNvSpPr>
            <p:nvPr/>
          </p:nvSpPr>
          <p:spPr bwMode="auto">
            <a:xfrm>
              <a:off x="1761" y="3536"/>
              <a:ext cx="453" cy="585"/>
            </a:xfrm>
            <a:custGeom>
              <a:avLst/>
              <a:gdLst>
                <a:gd name="T0" fmla="*/ 378 w 453"/>
                <a:gd name="T1" fmla="*/ 114 h 585"/>
                <a:gd name="T2" fmla="*/ 367 w 453"/>
                <a:gd name="T3" fmla="*/ 118 h 585"/>
                <a:gd name="T4" fmla="*/ 310 w 453"/>
                <a:gd name="T5" fmla="*/ 54 h 585"/>
                <a:gd name="T6" fmla="*/ 296 w 453"/>
                <a:gd name="T7" fmla="*/ 29 h 585"/>
                <a:gd name="T8" fmla="*/ 271 w 453"/>
                <a:gd name="T9" fmla="*/ 89 h 585"/>
                <a:gd name="T10" fmla="*/ 257 w 453"/>
                <a:gd name="T11" fmla="*/ 107 h 585"/>
                <a:gd name="T12" fmla="*/ 200 w 453"/>
                <a:gd name="T13" fmla="*/ 111 h 585"/>
                <a:gd name="T14" fmla="*/ 168 w 453"/>
                <a:gd name="T15" fmla="*/ 0 h 585"/>
                <a:gd name="T16" fmla="*/ 75 w 453"/>
                <a:gd name="T17" fmla="*/ 79 h 585"/>
                <a:gd name="T18" fmla="*/ 25 w 453"/>
                <a:gd name="T19" fmla="*/ 96 h 585"/>
                <a:gd name="T20" fmla="*/ 4 w 453"/>
                <a:gd name="T21" fmla="*/ 118 h 585"/>
                <a:gd name="T22" fmla="*/ 0 w 453"/>
                <a:gd name="T23" fmla="*/ 157 h 585"/>
                <a:gd name="T24" fmla="*/ 121 w 453"/>
                <a:gd name="T25" fmla="*/ 239 h 585"/>
                <a:gd name="T26" fmla="*/ 168 w 453"/>
                <a:gd name="T27" fmla="*/ 289 h 585"/>
                <a:gd name="T28" fmla="*/ 175 w 453"/>
                <a:gd name="T29" fmla="*/ 317 h 585"/>
                <a:gd name="T30" fmla="*/ 164 w 453"/>
                <a:gd name="T31" fmla="*/ 360 h 585"/>
                <a:gd name="T32" fmla="*/ 132 w 453"/>
                <a:gd name="T33" fmla="*/ 389 h 585"/>
                <a:gd name="T34" fmla="*/ 121 w 453"/>
                <a:gd name="T35" fmla="*/ 410 h 585"/>
                <a:gd name="T36" fmla="*/ 153 w 453"/>
                <a:gd name="T37" fmla="*/ 428 h 585"/>
                <a:gd name="T38" fmla="*/ 185 w 453"/>
                <a:gd name="T39" fmla="*/ 435 h 585"/>
                <a:gd name="T40" fmla="*/ 232 w 453"/>
                <a:gd name="T41" fmla="*/ 464 h 585"/>
                <a:gd name="T42" fmla="*/ 242 w 453"/>
                <a:gd name="T43" fmla="*/ 496 h 585"/>
                <a:gd name="T44" fmla="*/ 228 w 453"/>
                <a:gd name="T45" fmla="*/ 514 h 585"/>
                <a:gd name="T46" fmla="*/ 210 w 453"/>
                <a:gd name="T47" fmla="*/ 528 h 585"/>
                <a:gd name="T48" fmla="*/ 242 w 453"/>
                <a:gd name="T49" fmla="*/ 556 h 585"/>
                <a:gd name="T50" fmla="*/ 292 w 453"/>
                <a:gd name="T51" fmla="*/ 585 h 585"/>
                <a:gd name="T52" fmla="*/ 307 w 453"/>
                <a:gd name="T53" fmla="*/ 574 h 585"/>
                <a:gd name="T54" fmla="*/ 335 w 453"/>
                <a:gd name="T55" fmla="*/ 524 h 585"/>
                <a:gd name="T56" fmla="*/ 332 w 453"/>
                <a:gd name="T57" fmla="*/ 492 h 585"/>
                <a:gd name="T58" fmla="*/ 303 w 453"/>
                <a:gd name="T59" fmla="*/ 399 h 585"/>
                <a:gd name="T60" fmla="*/ 303 w 453"/>
                <a:gd name="T61" fmla="*/ 367 h 585"/>
                <a:gd name="T62" fmla="*/ 321 w 453"/>
                <a:gd name="T63" fmla="*/ 328 h 585"/>
                <a:gd name="T64" fmla="*/ 346 w 453"/>
                <a:gd name="T65" fmla="*/ 328 h 585"/>
                <a:gd name="T66" fmla="*/ 371 w 453"/>
                <a:gd name="T67" fmla="*/ 342 h 585"/>
                <a:gd name="T68" fmla="*/ 406 w 453"/>
                <a:gd name="T69" fmla="*/ 353 h 585"/>
                <a:gd name="T70" fmla="*/ 424 w 453"/>
                <a:gd name="T71" fmla="*/ 339 h 585"/>
                <a:gd name="T72" fmla="*/ 439 w 453"/>
                <a:gd name="T73" fmla="*/ 257 h 585"/>
                <a:gd name="T74" fmla="*/ 435 w 453"/>
                <a:gd name="T75" fmla="*/ 182 h 585"/>
                <a:gd name="T76" fmla="*/ 442 w 453"/>
                <a:gd name="T77" fmla="*/ 139 h 585"/>
                <a:gd name="T78" fmla="*/ 453 w 453"/>
                <a:gd name="T79" fmla="*/ 114 h 585"/>
                <a:gd name="T80" fmla="*/ 442 w 453"/>
                <a:gd name="T81" fmla="*/ 79 h 585"/>
                <a:gd name="T82" fmla="*/ 424 w 453"/>
                <a:gd name="T83" fmla="*/ 64 h 585"/>
                <a:gd name="T84" fmla="*/ 399 w 453"/>
                <a:gd name="T85" fmla="*/ 72 h 585"/>
                <a:gd name="T86" fmla="*/ 385 w 453"/>
                <a:gd name="T87" fmla="*/ 100 h 58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53"/>
                <a:gd name="T133" fmla="*/ 0 h 585"/>
                <a:gd name="T134" fmla="*/ 453 w 453"/>
                <a:gd name="T135" fmla="*/ 585 h 58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53" h="585">
                  <a:moveTo>
                    <a:pt x="385" y="100"/>
                  </a:moveTo>
                  <a:lnTo>
                    <a:pt x="385" y="100"/>
                  </a:lnTo>
                  <a:lnTo>
                    <a:pt x="378" y="114"/>
                  </a:lnTo>
                  <a:lnTo>
                    <a:pt x="374" y="118"/>
                  </a:lnTo>
                  <a:lnTo>
                    <a:pt x="367" y="118"/>
                  </a:lnTo>
                  <a:lnTo>
                    <a:pt x="310" y="89"/>
                  </a:lnTo>
                  <a:lnTo>
                    <a:pt x="310" y="54"/>
                  </a:lnTo>
                  <a:lnTo>
                    <a:pt x="307" y="36"/>
                  </a:lnTo>
                  <a:lnTo>
                    <a:pt x="303" y="29"/>
                  </a:lnTo>
                  <a:lnTo>
                    <a:pt x="296" y="29"/>
                  </a:lnTo>
                  <a:lnTo>
                    <a:pt x="292" y="32"/>
                  </a:lnTo>
                  <a:lnTo>
                    <a:pt x="282" y="57"/>
                  </a:lnTo>
                  <a:lnTo>
                    <a:pt x="271" y="89"/>
                  </a:lnTo>
                  <a:lnTo>
                    <a:pt x="267" y="100"/>
                  </a:lnTo>
                  <a:lnTo>
                    <a:pt x="257" y="107"/>
                  </a:lnTo>
                  <a:lnTo>
                    <a:pt x="242" y="111"/>
                  </a:lnTo>
                  <a:lnTo>
                    <a:pt x="228" y="114"/>
                  </a:lnTo>
                  <a:lnTo>
                    <a:pt x="200" y="111"/>
                  </a:lnTo>
                  <a:lnTo>
                    <a:pt x="185" y="107"/>
                  </a:lnTo>
                  <a:lnTo>
                    <a:pt x="193" y="0"/>
                  </a:lnTo>
                  <a:lnTo>
                    <a:pt x="168" y="0"/>
                  </a:lnTo>
                  <a:lnTo>
                    <a:pt x="96" y="75"/>
                  </a:lnTo>
                  <a:lnTo>
                    <a:pt x="75" y="79"/>
                  </a:lnTo>
                  <a:lnTo>
                    <a:pt x="54" y="82"/>
                  </a:lnTo>
                  <a:lnTo>
                    <a:pt x="39" y="89"/>
                  </a:lnTo>
                  <a:lnTo>
                    <a:pt x="25" y="96"/>
                  </a:lnTo>
                  <a:lnTo>
                    <a:pt x="11" y="111"/>
                  </a:lnTo>
                  <a:lnTo>
                    <a:pt x="4" y="118"/>
                  </a:lnTo>
                  <a:lnTo>
                    <a:pt x="4" y="136"/>
                  </a:lnTo>
                  <a:lnTo>
                    <a:pt x="0" y="157"/>
                  </a:lnTo>
                  <a:lnTo>
                    <a:pt x="54" y="200"/>
                  </a:lnTo>
                  <a:lnTo>
                    <a:pt x="57" y="225"/>
                  </a:lnTo>
                  <a:lnTo>
                    <a:pt x="121" y="239"/>
                  </a:lnTo>
                  <a:lnTo>
                    <a:pt x="118" y="307"/>
                  </a:lnTo>
                  <a:lnTo>
                    <a:pt x="128" y="321"/>
                  </a:lnTo>
                  <a:lnTo>
                    <a:pt x="168" y="289"/>
                  </a:lnTo>
                  <a:lnTo>
                    <a:pt x="171" y="296"/>
                  </a:lnTo>
                  <a:lnTo>
                    <a:pt x="175" y="317"/>
                  </a:lnTo>
                  <a:lnTo>
                    <a:pt x="175" y="332"/>
                  </a:lnTo>
                  <a:lnTo>
                    <a:pt x="171" y="346"/>
                  </a:lnTo>
                  <a:lnTo>
                    <a:pt x="164" y="360"/>
                  </a:lnTo>
                  <a:lnTo>
                    <a:pt x="153" y="371"/>
                  </a:lnTo>
                  <a:lnTo>
                    <a:pt x="132" y="389"/>
                  </a:lnTo>
                  <a:lnTo>
                    <a:pt x="125" y="396"/>
                  </a:lnTo>
                  <a:lnTo>
                    <a:pt x="121" y="407"/>
                  </a:lnTo>
                  <a:lnTo>
                    <a:pt x="121" y="410"/>
                  </a:lnTo>
                  <a:lnTo>
                    <a:pt x="128" y="417"/>
                  </a:lnTo>
                  <a:lnTo>
                    <a:pt x="136" y="424"/>
                  </a:lnTo>
                  <a:lnTo>
                    <a:pt x="153" y="428"/>
                  </a:lnTo>
                  <a:lnTo>
                    <a:pt x="168" y="432"/>
                  </a:lnTo>
                  <a:lnTo>
                    <a:pt x="185" y="435"/>
                  </a:lnTo>
                  <a:lnTo>
                    <a:pt x="200" y="439"/>
                  </a:lnTo>
                  <a:lnTo>
                    <a:pt x="218" y="449"/>
                  </a:lnTo>
                  <a:lnTo>
                    <a:pt x="232" y="464"/>
                  </a:lnTo>
                  <a:lnTo>
                    <a:pt x="235" y="471"/>
                  </a:lnTo>
                  <a:lnTo>
                    <a:pt x="239" y="481"/>
                  </a:lnTo>
                  <a:lnTo>
                    <a:pt x="242" y="496"/>
                  </a:lnTo>
                  <a:lnTo>
                    <a:pt x="239" y="506"/>
                  </a:lnTo>
                  <a:lnTo>
                    <a:pt x="228" y="514"/>
                  </a:lnTo>
                  <a:lnTo>
                    <a:pt x="218" y="517"/>
                  </a:lnTo>
                  <a:lnTo>
                    <a:pt x="210" y="524"/>
                  </a:lnTo>
                  <a:lnTo>
                    <a:pt x="210" y="528"/>
                  </a:lnTo>
                  <a:lnTo>
                    <a:pt x="210" y="531"/>
                  </a:lnTo>
                  <a:lnTo>
                    <a:pt x="221" y="542"/>
                  </a:lnTo>
                  <a:lnTo>
                    <a:pt x="242" y="556"/>
                  </a:lnTo>
                  <a:lnTo>
                    <a:pt x="285" y="571"/>
                  </a:lnTo>
                  <a:lnTo>
                    <a:pt x="292" y="585"/>
                  </a:lnTo>
                  <a:lnTo>
                    <a:pt x="300" y="581"/>
                  </a:lnTo>
                  <a:lnTo>
                    <a:pt x="307" y="574"/>
                  </a:lnTo>
                  <a:lnTo>
                    <a:pt x="321" y="553"/>
                  </a:lnTo>
                  <a:lnTo>
                    <a:pt x="328" y="538"/>
                  </a:lnTo>
                  <a:lnTo>
                    <a:pt x="335" y="524"/>
                  </a:lnTo>
                  <a:lnTo>
                    <a:pt x="335" y="506"/>
                  </a:lnTo>
                  <a:lnTo>
                    <a:pt x="332" y="492"/>
                  </a:lnTo>
                  <a:lnTo>
                    <a:pt x="317" y="460"/>
                  </a:lnTo>
                  <a:lnTo>
                    <a:pt x="310" y="428"/>
                  </a:lnTo>
                  <a:lnTo>
                    <a:pt x="303" y="399"/>
                  </a:lnTo>
                  <a:lnTo>
                    <a:pt x="303" y="382"/>
                  </a:lnTo>
                  <a:lnTo>
                    <a:pt x="303" y="367"/>
                  </a:lnTo>
                  <a:lnTo>
                    <a:pt x="307" y="350"/>
                  </a:lnTo>
                  <a:lnTo>
                    <a:pt x="314" y="335"/>
                  </a:lnTo>
                  <a:lnTo>
                    <a:pt x="321" y="328"/>
                  </a:lnTo>
                  <a:lnTo>
                    <a:pt x="328" y="325"/>
                  </a:lnTo>
                  <a:lnTo>
                    <a:pt x="335" y="325"/>
                  </a:lnTo>
                  <a:lnTo>
                    <a:pt x="346" y="328"/>
                  </a:lnTo>
                  <a:lnTo>
                    <a:pt x="357" y="332"/>
                  </a:lnTo>
                  <a:lnTo>
                    <a:pt x="371" y="342"/>
                  </a:lnTo>
                  <a:lnTo>
                    <a:pt x="385" y="350"/>
                  </a:lnTo>
                  <a:lnTo>
                    <a:pt x="396" y="353"/>
                  </a:lnTo>
                  <a:lnTo>
                    <a:pt x="406" y="353"/>
                  </a:lnTo>
                  <a:lnTo>
                    <a:pt x="414" y="353"/>
                  </a:lnTo>
                  <a:lnTo>
                    <a:pt x="421" y="346"/>
                  </a:lnTo>
                  <a:lnTo>
                    <a:pt x="424" y="339"/>
                  </a:lnTo>
                  <a:lnTo>
                    <a:pt x="435" y="314"/>
                  </a:lnTo>
                  <a:lnTo>
                    <a:pt x="439" y="289"/>
                  </a:lnTo>
                  <a:lnTo>
                    <a:pt x="439" y="257"/>
                  </a:lnTo>
                  <a:lnTo>
                    <a:pt x="435" y="211"/>
                  </a:lnTo>
                  <a:lnTo>
                    <a:pt x="435" y="182"/>
                  </a:lnTo>
                  <a:lnTo>
                    <a:pt x="439" y="157"/>
                  </a:lnTo>
                  <a:lnTo>
                    <a:pt x="442" y="139"/>
                  </a:lnTo>
                  <a:lnTo>
                    <a:pt x="446" y="136"/>
                  </a:lnTo>
                  <a:lnTo>
                    <a:pt x="449" y="125"/>
                  </a:lnTo>
                  <a:lnTo>
                    <a:pt x="453" y="114"/>
                  </a:lnTo>
                  <a:lnTo>
                    <a:pt x="453" y="107"/>
                  </a:lnTo>
                  <a:lnTo>
                    <a:pt x="449" y="93"/>
                  </a:lnTo>
                  <a:lnTo>
                    <a:pt x="442" y="79"/>
                  </a:lnTo>
                  <a:lnTo>
                    <a:pt x="431" y="68"/>
                  </a:lnTo>
                  <a:lnTo>
                    <a:pt x="424" y="64"/>
                  </a:lnTo>
                  <a:lnTo>
                    <a:pt x="414" y="61"/>
                  </a:lnTo>
                  <a:lnTo>
                    <a:pt x="406" y="64"/>
                  </a:lnTo>
                  <a:lnTo>
                    <a:pt x="399" y="72"/>
                  </a:lnTo>
                  <a:lnTo>
                    <a:pt x="392" y="79"/>
                  </a:lnTo>
                  <a:lnTo>
                    <a:pt x="385" y="100"/>
                  </a:lnTo>
                  <a:close/>
                </a:path>
              </a:pathLst>
            </a:custGeom>
            <a:solidFill>
              <a:schemeClr val="bg1"/>
            </a:solidFill>
            <a:ln w="22225" cmpd="sng">
              <a:solidFill>
                <a:srgbClr val="5DB7E8"/>
              </a:solidFill>
              <a:round/>
              <a:headEnd/>
              <a:tailEnd/>
            </a:ln>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4" name="Freeform 70"/>
            <p:cNvSpPr>
              <a:spLocks/>
            </p:cNvSpPr>
            <p:nvPr/>
          </p:nvSpPr>
          <p:spPr bwMode="auto">
            <a:xfrm>
              <a:off x="1993" y="3939"/>
              <a:ext cx="21" cy="21"/>
            </a:xfrm>
            <a:custGeom>
              <a:avLst/>
              <a:gdLst>
                <a:gd name="T0" fmla="*/ 21 w 21"/>
                <a:gd name="T1" fmla="*/ 11 h 21"/>
                <a:gd name="T2" fmla="*/ 21 w 21"/>
                <a:gd name="T3" fmla="*/ 11 h 21"/>
                <a:gd name="T4" fmla="*/ 18 w 21"/>
                <a:gd name="T5" fmla="*/ 18 h 21"/>
                <a:gd name="T6" fmla="*/ 10 w 21"/>
                <a:gd name="T7" fmla="*/ 21 h 21"/>
                <a:gd name="T8" fmla="*/ 10 w 21"/>
                <a:gd name="T9" fmla="*/ 21 h 21"/>
                <a:gd name="T10" fmla="*/ 3 w 21"/>
                <a:gd name="T11" fmla="*/ 18 h 21"/>
                <a:gd name="T12" fmla="*/ 0 w 21"/>
                <a:gd name="T13" fmla="*/ 11 h 21"/>
                <a:gd name="T14" fmla="*/ 0 w 21"/>
                <a:gd name="T15" fmla="*/ 11 h 21"/>
                <a:gd name="T16" fmla="*/ 3 w 21"/>
                <a:gd name="T17" fmla="*/ 0 h 21"/>
                <a:gd name="T18" fmla="*/ 10 w 21"/>
                <a:gd name="T19" fmla="*/ 0 h 21"/>
                <a:gd name="T20" fmla="*/ 10 w 21"/>
                <a:gd name="T21" fmla="*/ 0 h 21"/>
                <a:gd name="T22" fmla="*/ 18 w 21"/>
                <a:gd name="T23" fmla="*/ 0 h 21"/>
                <a:gd name="T24" fmla="*/ 21 w 21"/>
                <a:gd name="T25" fmla="*/ 11 h 21"/>
                <a:gd name="T26" fmla="*/ 21 w 21"/>
                <a:gd name="T27" fmla="*/ 11 h 2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
                <a:gd name="T43" fmla="*/ 0 h 21"/>
                <a:gd name="T44" fmla="*/ 21 w 21"/>
                <a:gd name="T45" fmla="*/ 21 h 2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 h="21">
                  <a:moveTo>
                    <a:pt x="21" y="11"/>
                  </a:moveTo>
                  <a:lnTo>
                    <a:pt x="21" y="11"/>
                  </a:lnTo>
                  <a:lnTo>
                    <a:pt x="18" y="18"/>
                  </a:lnTo>
                  <a:lnTo>
                    <a:pt x="10" y="21"/>
                  </a:lnTo>
                  <a:lnTo>
                    <a:pt x="3" y="18"/>
                  </a:lnTo>
                  <a:lnTo>
                    <a:pt x="0" y="11"/>
                  </a:lnTo>
                  <a:lnTo>
                    <a:pt x="3" y="0"/>
                  </a:lnTo>
                  <a:lnTo>
                    <a:pt x="10" y="0"/>
                  </a:lnTo>
                  <a:lnTo>
                    <a:pt x="18" y="0"/>
                  </a:lnTo>
                  <a:lnTo>
                    <a:pt x="21" y="11"/>
                  </a:lnTo>
                  <a:close/>
                </a:path>
              </a:pathLst>
            </a:custGeom>
            <a:solidFill>
              <a:srgbClr val="E6001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5" name="Freeform 71"/>
            <p:cNvSpPr>
              <a:spLocks/>
            </p:cNvSpPr>
            <p:nvPr/>
          </p:nvSpPr>
          <p:spPr bwMode="auto">
            <a:xfrm>
              <a:off x="1979" y="3921"/>
              <a:ext cx="53" cy="54"/>
            </a:xfrm>
            <a:custGeom>
              <a:avLst/>
              <a:gdLst>
                <a:gd name="T0" fmla="*/ 53 w 53"/>
                <a:gd name="T1" fmla="*/ 29 h 54"/>
                <a:gd name="T2" fmla="*/ 53 w 53"/>
                <a:gd name="T3" fmla="*/ 29 h 54"/>
                <a:gd name="T4" fmla="*/ 49 w 53"/>
                <a:gd name="T5" fmla="*/ 39 h 54"/>
                <a:gd name="T6" fmla="*/ 42 w 53"/>
                <a:gd name="T7" fmla="*/ 47 h 54"/>
                <a:gd name="T8" fmla="*/ 35 w 53"/>
                <a:gd name="T9" fmla="*/ 54 h 54"/>
                <a:gd name="T10" fmla="*/ 24 w 53"/>
                <a:gd name="T11" fmla="*/ 54 h 54"/>
                <a:gd name="T12" fmla="*/ 24 w 53"/>
                <a:gd name="T13" fmla="*/ 54 h 54"/>
                <a:gd name="T14" fmla="*/ 14 w 53"/>
                <a:gd name="T15" fmla="*/ 54 h 54"/>
                <a:gd name="T16" fmla="*/ 7 w 53"/>
                <a:gd name="T17" fmla="*/ 47 h 54"/>
                <a:gd name="T18" fmla="*/ 0 w 53"/>
                <a:gd name="T19" fmla="*/ 39 h 54"/>
                <a:gd name="T20" fmla="*/ 0 w 53"/>
                <a:gd name="T21" fmla="*/ 29 h 54"/>
                <a:gd name="T22" fmla="*/ 0 w 53"/>
                <a:gd name="T23" fmla="*/ 29 h 54"/>
                <a:gd name="T24" fmla="*/ 0 w 53"/>
                <a:gd name="T25" fmla="*/ 18 h 54"/>
                <a:gd name="T26" fmla="*/ 7 w 53"/>
                <a:gd name="T27" fmla="*/ 7 h 54"/>
                <a:gd name="T28" fmla="*/ 14 w 53"/>
                <a:gd name="T29" fmla="*/ 4 h 54"/>
                <a:gd name="T30" fmla="*/ 24 w 53"/>
                <a:gd name="T31" fmla="*/ 0 h 54"/>
                <a:gd name="T32" fmla="*/ 24 w 53"/>
                <a:gd name="T33" fmla="*/ 0 h 54"/>
                <a:gd name="T34" fmla="*/ 35 w 53"/>
                <a:gd name="T35" fmla="*/ 4 h 54"/>
                <a:gd name="T36" fmla="*/ 42 w 53"/>
                <a:gd name="T37" fmla="*/ 7 h 54"/>
                <a:gd name="T38" fmla="*/ 49 w 53"/>
                <a:gd name="T39" fmla="*/ 18 h 54"/>
                <a:gd name="T40" fmla="*/ 53 w 53"/>
                <a:gd name="T41" fmla="*/ 29 h 54"/>
                <a:gd name="T42" fmla="*/ 53 w 53"/>
                <a:gd name="T43" fmla="*/ 29 h 5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53"/>
                <a:gd name="T67" fmla="*/ 0 h 54"/>
                <a:gd name="T68" fmla="*/ 53 w 53"/>
                <a:gd name="T69" fmla="*/ 54 h 5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53" h="54">
                  <a:moveTo>
                    <a:pt x="53" y="29"/>
                  </a:moveTo>
                  <a:lnTo>
                    <a:pt x="53" y="29"/>
                  </a:lnTo>
                  <a:lnTo>
                    <a:pt x="49" y="39"/>
                  </a:lnTo>
                  <a:lnTo>
                    <a:pt x="42" y="47"/>
                  </a:lnTo>
                  <a:lnTo>
                    <a:pt x="35" y="54"/>
                  </a:lnTo>
                  <a:lnTo>
                    <a:pt x="24" y="54"/>
                  </a:lnTo>
                  <a:lnTo>
                    <a:pt x="14" y="54"/>
                  </a:lnTo>
                  <a:lnTo>
                    <a:pt x="7" y="47"/>
                  </a:lnTo>
                  <a:lnTo>
                    <a:pt x="0" y="39"/>
                  </a:lnTo>
                  <a:lnTo>
                    <a:pt x="0" y="29"/>
                  </a:lnTo>
                  <a:lnTo>
                    <a:pt x="0" y="18"/>
                  </a:lnTo>
                  <a:lnTo>
                    <a:pt x="7" y="7"/>
                  </a:lnTo>
                  <a:lnTo>
                    <a:pt x="14" y="4"/>
                  </a:lnTo>
                  <a:lnTo>
                    <a:pt x="24" y="0"/>
                  </a:lnTo>
                  <a:lnTo>
                    <a:pt x="35" y="4"/>
                  </a:lnTo>
                  <a:lnTo>
                    <a:pt x="42" y="7"/>
                  </a:lnTo>
                  <a:lnTo>
                    <a:pt x="49" y="18"/>
                  </a:lnTo>
                  <a:lnTo>
                    <a:pt x="53" y="29"/>
                  </a:lnTo>
                  <a:close/>
                </a:path>
              </a:pathLst>
            </a:custGeom>
            <a:noFill/>
            <a:ln w="11113"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6" name="Freeform 72"/>
            <p:cNvSpPr>
              <a:spLocks/>
            </p:cNvSpPr>
            <p:nvPr/>
          </p:nvSpPr>
          <p:spPr bwMode="auto">
            <a:xfrm>
              <a:off x="2838" y="1754"/>
              <a:ext cx="71" cy="71"/>
            </a:xfrm>
            <a:custGeom>
              <a:avLst/>
              <a:gdLst>
                <a:gd name="T0" fmla="*/ 71 w 71"/>
                <a:gd name="T1" fmla="*/ 35 h 71"/>
                <a:gd name="T2" fmla="*/ 71 w 71"/>
                <a:gd name="T3" fmla="*/ 35 h 71"/>
                <a:gd name="T4" fmla="*/ 67 w 71"/>
                <a:gd name="T5" fmla="*/ 50 h 71"/>
                <a:gd name="T6" fmla="*/ 60 w 71"/>
                <a:gd name="T7" fmla="*/ 60 h 71"/>
                <a:gd name="T8" fmla="*/ 50 w 71"/>
                <a:gd name="T9" fmla="*/ 68 h 71"/>
                <a:gd name="T10" fmla="*/ 35 w 71"/>
                <a:gd name="T11" fmla="*/ 71 h 71"/>
                <a:gd name="T12" fmla="*/ 35 w 71"/>
                <a:gd name="T13" fmla="*/ 71 h 71"/>
                <a:gd name="T14" fmla="*/ 25 w 71"/>
                <a:gd name="T15" fmla="*/ 71 h 71"/>
                <a:gd name="T16" fmla="*/ 10 w 71"/>
                <a:gd name="T17" fmla="*/ 60 h 71"/>
                <a:gd name="T18" fmla="*/ 3 w 71"/>
                <a:gd name="T19" fmla="*/ 50 h 71"/>
                <a:gd name="T20" fmla="*/ 0 w 71"/>
                <a:gd name="T21" fmla="*/ 39 h 71"/>
                <a:gd name="T22" fmla="*/ 0 w 71"/>
                <a:gd name="T23" fmla="*/ 39 h 71"/>
                <a:gd name="T24" fmla="*/ 3 w 71"/>
                <a:gd name="T25" fmla="*/ 25 h 71"/>
                <a:gd name="T26" fmla="*/ 10 w 71"/>
                <a:gd name="T27" fmla="*/ 11 h 71"/>
                <a:gd name="T28" fmla="*/ 21 w 71"/>
                <a:gd name="T29" fmla="*/ 3 h 71"/>
                <a:gd name="T30" fmla="*/ 35 w 71"/>
                <a:gd name="T31" fmla="*/ 0 h 71"/>
                <a:gd name="T32" fmla="*/ 35 w 71"/>
                <a:gd name="T33" fmla="*/ 0 h 71"/>
                <a:gd name="T34" fmla="*/ 50 w 71"/>
                <a:gd name="T35" fmla="*/ 3 h 71"/>
                <a:gd name="T36" fmla="*/ 60 w 71"/>
                <a:gd name="T37" fmla="*/ 11 h 71"/>
                <a:gd name="T38" fmla="*/ 67 w 71"/>
                <a:gd name="T39" fmla="*/ 21 h 71"/>
                <a:gd name="T40" fmla="*/ 71 w 71"/>
                <a:gd name="T41" fmla="*/ 35 h 71"/>
                <a:gd name="T42" fmla="*/ 71 w 71"/>
                <a:gd name="T43" fmla="*/ 35 h 7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1"/>
                <a:gd name="T67" fmla="*/ 0 h 71"/>
                <a:gd name="T68" fmla="*/ 71 w 71"/>
                <a:gd name="T69" fmla="*/ 71 h 71"/>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1" h="71">
                  <a:moveTo>
                    <a:pt x="71" y="35"/>
                  </a:moveTo>
                  <a:lnTo>
                    <a:pt x="71" y="35"/>
                  </a:lnTo>
                  <a:lnTo>
                    <a:pt x="67" y="50"/>
                  </a:lnTo>
                  <a:lnTo>
                    <a:pt x="60" y="60"/>
                  </a:lnTo>
                  <a:lnTo>
                    <a:pt x="50" y="68"/>
                  </a:lnTo>
                  <a:lnTo>
                    <a:pt x="35" y="71"/>
                  </a:lnTo>
                  <a:lnTo>
                    <a:pt x="25" y="71"/>
                  </a:lnTo>
                  <a:lnTo>
                    <a:pt x="10" y="60"/>
                  </a:lnTo>
                  <a:lnTo>
                    <a:pt x="3" y="50"/>
                  </a:lnTo>
                  <a:lnTo>
                    <a:pt x="0" y="39"/>
                  </a:lnTo>
                  <a:lnTo>
                    <a:pt x="3" y="25"/>
                  </a:lnTo>
                  <a:lnTo>
                    <a:pt x="10" y="11"/>
                  </a:lnTo>
                  <a:lnTo>
                    <a:pt x="21" y="3"/>
                  </a:lnTo>
                  <a:lnTo>
                    <a:pt x="35" y="0"/>
                  </a:lnTo>
                  <a:lnTo>
                    <a:pt x="50" y="3"/>
                  </a:lnTo>
                  <a:lnTo>
                    <a:pt x="60" y="11"/>
                  </a:lnTo>
                  <a:lnTo>
                    <a:pt x="67" y="21"/>
                  </a:lnTo>
                  <a:lnTo>
                    <a:pt x="71" y="35"/>
                  </a:lnTo>
                  <a:close/>
                </a:path>
              </a:pathLst>
            </a:custGeom>
            <a:noFill/>
            <a:ln w="22225"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7" name="Freeform 73"/>
            <p:cNvSpPr>
              <a:spLocks/>
            </p:cNvSpPr>
            <p:nvPr/>
          </p:nvSpPr>
          <p:spPr bwMode="auto">
            <a:xfrm>
              <a:off x="2859" y="1775"/>
              <a:ext cx="29" cy="32"/>
            </a:xfrm>
            <a:custGeom>
              <a:avLst/>
              <a:gdLst>
                <a:gd name="T0" fmla="*/ 29 w 29"/>
                <a:gd name="T1" fmla="*/ 14 h 32"/>
                <a:gd name="T2" fmla="*/ 29 w 29"/>
                <a:gd name="T3" fmla="*/ 14 h 32"/>
                <a:gd name="T4" fmla="*/ 29 w 29"/>
                <a:gd name="T5" fmla="*/ 22 h 32"/>
                <a:gd name="T6" fmla="*/ 25 w 29"/>
                <a:gd name="T7" fmla="*/ 25 h 32"/>
                <a:gd name="T8" fmla="*/ 21 w 29"/>
                <a:gd name="T9" fmla="*/ 29 h 32"/>
                <a:gd name="T10" fmla="*/ 14 w 29"/>
                <a:gd name="T11" fmla="*/ 32 h 32"/>
                <a:gd name="T12" fmla="*/ 14 w 29"/>
                <a:gd name="T13" fmla="*/ 32 h 32"/>
                <a:gd name="T14" fmla="*/ 11 w 29"/>
                <a:gd name="T15" fmla="*/ 29 h 32"/>
                <a:gd name="T16" fmla="*/ 4 w 29"/>
                <a:gd name="T17" fmla="*/ 25 h 32"/>
                <a:gd name="T18" fmla="*/ 0 w 29"/>
                <a:gd name="T19" fmla="*/ 22 h 32"/>
                <a:gd name="T20" fmla="*/ 0 w 29"/>
                <a:gd name="T21" fmla="*/ 14 h 32"/>
                <a:gd name="T22" fmla="*/ 0 w 29"/>
                <a:gd name="T23" fmla="*/ 14 h 32"/>
                <a:gd name="T24" fmla="*/ 0 w 29"/>
                <a:gd name="T25" fmla="*/ 11 h 32"/>
                <a:gd name="T26" fmla="*/ 4 w 29"/>
                <a:gd name="T27" fmla="*/ 4 h 32"/>
                <a:gd name="T28" fmla="*/ 7 w 29"/>
                <a:gd name="T29" fmla="*/ 0 h 32"/>
                <a:gd name="T30" fmla="*/ 14 w 29"/>
                <a:gd name="T31" fmla="*/ 0 h 32"/>
                <a:gd name="T32" fmla="*/ 14 w 29"/>
                <a:gd name="T33" fmla="*/ 0 h 32"/>
                <a:gd name="T34" fmla="*/ 21 w 29"/>
                <a:gd name="T35" fmla="*/ 0 h 32"/>
                <a:gd name="T36" fmla="*/ 25 w 29"/>
                <a:gd name="T37" fmla="*/ 4 h 32"/>
                <a:gd name="T38" fmla="*/ 29 w 29"/>
                <a:gd name="T39" fmla="*/ 7 h 32"/>
                <a:gd name="T40" fmla="*/ 29 w 29"/>
                <a:gd name="T41" fmla="*/ 14 h 32"/>
                <a:gd name="T42" fmla="*/ 29 w 29"/>
                <a:gd name="T43" fmla="*/ 14 h 3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9"/>
                <a:gd name="T67" fmla="*/ 0 h 32"/>
                <a:gd name="T68" fmla="*/ 29 w 29"/>
                <a:gd name="T69" fmla="*/ 32 h 3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9" h="32">
                  <a:moveTo>
                    <a:pt x="29" y="14"/>
                  </a:moveTo>
                  <a:lnTo>
                    <a:pt x="29" y="14"/>
                  </a:lnTo>
                  <a:lnTo>
                    <a:pt x="29" y="22"/>
                  </a:lnTo>
                  <a:lnTo>
                    <a:pt x="25" y="25"/>
                  </a:lnTo>
                  <a:lnTo>
                    <a:pt x="21" y="29"/>
                  </a:lnTo>
                  <a:lnTo>
                    <a:pt x="14" y="32"/>
                  </a:lnTo>
                  <a:lnTo>
                    <a:pt x="11" y="29"/>
                  </a:lnTo>
                  <a:lnTo>
                    <a:pt x="4" y="25"/>
                  </a:lnTo>
                  <a:lnTo>
                    <a:pt x="0" y="22"/>
                  </a:lnTo>
                  <a:lnTo>
                    <a:pt x="0" y="14"/>
                  </a:lnTo>
                  <a:lnTo>
                    <a:pt x="0" y="11"/>
                  </a:lnTo>
                  <a:lnTo>
                    <a:pt x="4" y="4"/>
                  </a:lnTo>
                  <a:lnTo>
                    <a:pt x="7" y="0"/>
                  </a:lnTo>
                  <a:lnTo>
                    <a:pt x="14" y="0"/>
                  </a:lnTo>
                  <a:lnTo>
                    <a:pt x="21" y="0"/>
                  </a:lnTo>
                  <a:lnTo>
                    <a:pt x="25" y="4"/>
                  </a:lnTo>
                  <a:lnTo>
                    <a:pt x="29" y="7"/>
                  </a:lnTo>
                  <a:lnTo>
                    <a:pt x="29" y="14"/>
                  </a:lnTo>
                  <a:close/>
                </a:path>
              </a:pathLst>
            </a:custGeom>
            <a:noFill/>
            <a:ln w="22225" cmpd="sng">
              <a:solidFill>
                <a:srgbClr val="E6001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8" name="Freeform 74"/>
            <p:cNvSpPr>
              <a:spLocks/>
            </p:cNvSpPr>
            <p:nvPr/>
          </p:nvSpPr>
          <p:spPr bwMode="auto">
            <a:xfrm>
              <a:off x="2681" y="1650"/>
              <a:ext cx="78" cy="79"/>
            </a:xfrm>
            <a:custGeom>
              <a:avLst/>
              <a:gdLst>
                <a:gd name="T0" fmla="*/ 10 w 78"/>
                <a:gd name="T1" fmla="*/ 40 h 79"/>
                <a:gd name="T2" fmla="*/ 0 w 78"/>
                <a:gd name="T3" fmla="*/ 72 h 79"/>
                <a:gd name="T4" fmla="*/ 10 w 78"/>
                <a:gd name="T5" fmla="*/ 75 h 79"/>
                <a:gd name="T6" fmla="*/ 18 w 78"/>
                <a:gd name="T7" fmla="*/ 65 h 79"/>
                <a:gd name="T8" fmla="*/ 21 w 78"/>
                <a:gd name="T9" fmla="*/ 40 h 79"/>
                <a:gd name="T10" fmla="*/ 28 w 78"/>
                <a:gd name="T11" fmla="*/ 50 h 79"/>
                <a:gd name="T12" fmla="*/ 28 w 78"/>
                <a:gd name="T13" fmla="*/ 54 h 79"/>
                <a:gd name="T14" fmla="*/ 21 w 78"/>
                <a:gd name="T15" fmla="*/ 54 h 79"/>
                <a:gd name="T16" fmla="*/ 25 w 78"/>
                <a:gd name="T17" fmla="*/ 65 h 79"/>
                <a:gd name="T18" fmla="*/ 39 w 78"/>
                <a:gd name="T19" fmla="*/ 58 h 79"/>
                <a:gd name="T20" fmla="*/ 39 w 78"/>
                <a:gd name="T21" fmla="*/ 29 h 79"/>
                <a:gd name="T22" fmla="*/ 21 w 78"/>
                <a:gd name="T23" fmla="*/ 22 h 79"/>
                <a:gd name="T24" fmla="*/ 43 w 78"/>
                <a:gd name="T25" fmla="*/ 22 h 79"/>
                <a:gd name="T26" fmla="*/ 46 w 78"/>
                <a:gd name="T27" fmla="*/ 58 h 79"/>
                <a:gd name="T28" fmla="*/ 35 w 78"/>
                <a:gd name="T29" fmla="*/ 65 h 79"/>
                <a:gd name="T30" fmla="*/ 25 w 78"/>
                <a:gd name="T31" fmla="*/ 72 h 79"/>
                <a:gd name="T32" fmla="*/ 32 w 78"/>
                <a:gd name="T33" fmla="*/ 79 h 79"/>
                <a:gd name="T34" fmla="*/ 53 w 78"/>
                <a:gd name="T35" fmla="*/ 68 h 79"/>
                <a:gd name="T36" fmla="*/ 71 w 78"/>
                <a:gd name="T37" fmla="*/ 79 h 79"/>
                <a:gd name="T38" fmla="*/ 75 w 78"/>
                <a:gd name="T39" fmla="*/ 75 h 79"/>
                <a:gd name="T40" fmla="*/ 78 w 78"/>
                <a:gd name="T41" fmla="*/ 61 h 79"/>
                <a:gd name="T42" fmla="*/ 78 w 78"/>
                <a:gd name="T43" fmla="*/ 61 h 79"/>
                <a:gd name="T44" fmla="*/ 68 w 78"/>
                <a:gd name="T45" fmla="*/ 58 h 79"/>
                <a:gd name="T46" fmla="*/ 68 w 78"/>
                <a:gd name="T47" fmla="*/ 65 h 79"/>
                <a:gd name="T48" fmla="*/ 60 w 78"/>
                <a:gd name="T49" fmla="*/ 58 h 79"/>
                <a:gd name="T50" fmla="*/ 71 w 78"/>
                <a:gd name="T51" fmla="*/ 36 h 79"/>
                <a:gd name="T52" fmla="*/ 71 w 78"/>
                <a:gd name="T53" fmla="*/ 33 h 79"/>
                <a:gd name="T54" fmla="*/ 64 w 78"/>
                <a:gd name="T55" fmla="*/ 29 h 79"/>
                <a:gd name="T56" fmla="*/ 60 w 78"/>
                <a:gd name="T57" fmla="*/ 29 h 79"/>
                <a:gd name="T58" fmla="*/ 53 w 78"/>
                <a:gd name="T59" fmla="*/ 47 h 79"/>
                <a:gd name="T60" fmla="*/ 78 w 78"/>
                <a:gd name="T61" fmla="*/ 22 h 79"/>
                <a:gd name="T62" fmla="*/ 64 w 78"/>
                <a:gd name="T63" fmla="*/ 15 h 79"/>
                <a:gd name="T64" fmla="*/ 71 w 78"/>
                <a:gd name="T65" fmla="*/ 11 h 79"/>
                <a:gd name="T66" fmla="*/ 68 w 78"/>
                <a:gd name="T67" fmla="*/ 0 h 79"/>
                <a:gd name="T68" fmla="*/ 57 w 78"/>
                <a:gd name="T69" fmla="*/ 8 h 79"/>
                <a:gd name="T70" fmla="*/ 60 w 78"/>
                <a:gd name="T71" fmla="*/ 15 h 79"/>
                <a:gd name="T72" fmla="*/ 53 w 78"/>
                <a:gd name="T73" fmla="*/ 8 h 79"/>
                <a:gd name="T74" fmla="*/ 53 w 78"/>
                <a:gd name="T75" fmla="*/ 4 h 79"/>
                <a:gd name="T76" fmla="*/ 53 w 78"/>
                <a:gd name="T77" fmla="*/ 0 h 79"/>
                <a:gd name="T78" fmla="*/ 43 w 78"/>
                <a:gd name="T79" fmla="*/ 0 h 79"/>
                <a:gd name="T80" fmla="*/ 43 w 78"/>
                <a:gd name="T81" fmla="*/ 15 h 79"/>
                <a:gd name="T82" fmla="*/ 10 w 78"/>
                <a:gd name="T83" fmla="*/ 40 h 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8"/>
                <a:gd name="T127" fmla="*/ 0 h 79"/>
                <a:gd name="T128" fmla="*/ 78 w 78"/>
                <a:gd name="T129" fmla="*/ 79 h 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8" h="79">
                  <a:moveTo>
                    <a:pt x="10" y="40"/>
                  </a:moveTo>
                  <a:lnTo>
                    <a:pt x="10" y="40"/>
                  </a:lnTo>
                  <a:lnTo>
                    <a:pt x="7" y="58"/>
                  </a:lnTo>
                  <a:lnTo>
                    <a:pt x="0" y="72"/>
                  </a:lnTo>
                  <a:lnTo>
                    <a:pt x="10" y="75"/>
                  </a:lnTo>
                  <a:lnTo>
                    <a:pt x="18" y="65"/>
                  </a:lnTo>
                  <a:lnTo>
                    <a:pt x="21" y="47"/>
                  </a:lnTo>
                  <a:lnTo>
                    <a:pt x="21" y="40"/>
                  </a:lnTo>
                  <a:lnTo>
                    <a:pt x="28" y="40"/>
                  </a:lnTo>
                  <a:lnTo>
                    <a:pt x="28" y="50"/>
                  </a:lnTo>
                  <a:lnTo>
                    <a:pt x="28" y="54"/>
                  </a:lnTo>
                  <a:lnTo>
                    <a:pt x="21" y="54"/>
                  </a:lnTo>
                  <a:lnTo>
                    <a:pt x="25" y="65"/>
                  </a:lnTo>
                  <a:lnTo>
                    <a:pt x="35" y="61"/>
                  </a:lnTo>
                  <a:lnTo>
                    <a:pt x="39" y="58"/>
                  </a:lnTo>
                  <a:lnTo>
                    <a:pt x="39" y="54"/>
                  </a:lnTo>
                  <a:lnTo>
                    <a:pt x="39" y="29"/>
                  </a:lnTo>
                  <a:lnTo>
                    <a:pt x="21" y="29"/>
                  </a:lnTo>
                  <a:lnTo>
                    <a:pt x="21" y="22"/>
                  </a:lnTo>
                  <a:lnTo>
                    <a:pt x="43" y="22"/>
                  </a:lnTo>
                  <a:lnTo>
                    <a:pt x="43" y="43"/>
                  </a:lnTo>
                  <a:lnTo>
                    <a:pt x="46" y="58"/>
                  </a:lnTo>
                  <a:lnTo>
                    <a:pt x="35" y="65"/>
                  </a:lnTo>
                  <a:lnTo>
                    <a:pt x="25" y="72"/>
                  </a:lnTo>
                  <a:lnTo>
                    <a:pt x="32" y="79"/>
                  </a:lnTo>
                  <a:lnTo>
                    <a:pt x="53" y="68"/>
                  </a:lnTo>
                  <a:lnTo>
                    <a:pt x="60" y="75"/>
                  </a:lnTo>
                  <a:lnTo>
                    <a:pt x="71" y="79"/>
                  </a:lnTo>
                  <a:lnTo>
                    <a:pt x="75" y="75"/>
                  </a:lnTo>
                  <a:lnTo>
                    <a:pt x="78" y="61"/>
                  </a:lnTo>
                  <a:lnTo>
                    <a:pt x="68" y="58"/>
                  </a:lnTo>
                  <a:lnTo>
                    <a:pt x="68" y="65"/>
                  </a:lnTo>
                  <a:lnTo>
                    <a:pt x="60" y="58"/>
                  </a:lnTo>
                  <a:lnTo>
                    <a:pt x="71" y="36"/>
                  </a:lnTo>
                  <a:lnTo>
                    <a:pt x="71" y="33"/>
                  </a:lnTo>
                  <a:lnTo>
                    <a:pt x="64" y="29"/>
                  </a:lnTo>
                  <a:lnTo>
                    <a:pt x="60" y="29"/>
                  </a:lnTo>
                  <a:lnTo>
                    <a:pt x="53" y="47"/>
                  </a:lnTo>
                  <a:lnTo>
                    <a:pt x="53" y="22"/>
                  </a:lnTo>
                  <a:lnTo>
                    <a:pt x="78" y="22"/>
                  </a:lnTo>
                  <a:lnTo>
                    <a:pt x="78" y="15"/>
                  </a:lnTo>
                  <a:lnTo>
                    <a:pt x="64" y="15"/>
                  </a:lnTo>
                  <a:lnTo>
                    <a:pt x="71" y="11"/>
                  </a:lnTo>
                  <a:lnTo>
                    <a:pt x="68" y="0"/>
                  </a:lnTo>
                  <a:lnTo>
                    <a:pt x="57" y="8"/>
                  </a:lnTo>
                  <a:lnTo>
                    <a:pt x="60" y="15"/>
                  </a:lnTo>
                  <a:lnTo>
                    <a:pt x="53" y="15"/>
                  </a:lnTo>
                  <a:lnTo>
                    <a:pt x="53" y="8"/>
                  </a:lnTo>
                  <a:lnTo>
                    <a:pt x="53" y="4"/>
                  </a:lnTo>
                  <a:lnTo>
                    <a:pt x="53" y="0"/>
                  </a:lnTo>
                  <a:lnTo>
                    <a:pt x="43" y="0"/>
                  </a:lnTo>
                  <a:lnTo>
                    <a:pt x="43" y="15"/>
                  </a:lnTo>
                  <a:lnTo>
                    <a:pt x="10" y="15"/>
                  </a:lnTo>
                  <a:lnTo>
                    <a:pt x="10"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79" name="Freeform 75"/>
            <p:cNvSpPr>
              <a:spLocks noEditPoints="1"/>
            </p:cNvSpPr>
            <p:nvPr/>
          </p:nvSpPr>
          <p:spPr bwMode="auto">
            <a:xfrm>
              <a:off x="2766" y="1650"/>
              <a:ext cx="79" cy="79"/>
            </a:xfrm>
            <a:custGeom>
              <a:avLst/>
              <a:gdLst>
                <a:gd name="T0" fmla="*/ 4 w 79"/>
                <a:gd name="T1" fmla="*/ 25 h 79"/>
                <a:gd name="T2" fmla="*/ 22 w 79"/>
                <a:gd name="T3" fmla="*/ 33 h 79"/>
                <a:gd name="T4" fmla="*/ 0 w 79"/>
                <a:gd name="T5" fmla="*/ 47 h 79"/>
                <a:gd name="T6" fmla="*/ 7 w 79"/>
                <a:gd name="T7" fmla="*/ 54 h 79"/>
                <a:gd name="T8" fmla="*/ 11 w 79"/>
                <a:gd name="T9" fmla="*/ 54 h 79"/>
                <a:gd name="T10" fmla="*/ 22 w 79"/>
                <a:gd name="T11" fmla="*/ 75 h 79"/>
                <a:gd name="T12" fmla="*/ 32 w 79"/>
                <a:gd name="T13" fmla="*/ 72 h 79"/>
                <a:gd name="T14" fmla="*/ 43 w 79"/>
                <a:gd name="T15" fmla="*/ 75 h 79"/>
                <a:gd name="T16" fmla="*/ 29 w 79"/>
                <a:gd name="T17" fmla="*/ 40 h 79"/>
                <a:gd name="T18" fmla="*/ 36 w 79"/>
                <a:gd name="T19" fmla="*/ 33 h 79"/>
                <a:gd name="T20" fmla="*/ 47 w 79"/>
                <a:gd name="T21" fmla="*/ 25 h 79"/>
                <a:gd name="T22" fmla="*/ 40 w 79"/>
                <a:gd name="T23" fmla="*/ 25 h 79"/>
                <a:gd name="T24" fmla="*/ 50 w 79"/>
                <a:gd name="T25" fmla="*/ 15 h 79"/>
                <a:gd name="T26" fmla="*/ 40 w 79"/>
                <a:gd name="T27" fmla="*/ 8 h 79"/>
                <a:gd name="T28" fmla="*/ 36 w 79"/>
                <a:gd name="T29" fmla="*/ 11 h 79"/>
                <a:gd name="T30" fmla="*/ 29 w 79"/>
                <a:gd name="T31" fmla="*/ 8 h 79"/>
                <a:gd name="T32" fmla="*/ 29 w 79"/>
                <a:gd name="T33" fmla="*/ 4 h 79"/>
                <a:gd name="T34" fmla="*/ 29 w 79"/>
                <a:gd name="T35" fmla="*/ 0 h 79"/>
                <a:gd name="T36" fmla="*/ 22 w 79"/>
                <a:gd name="T37" fmla="*/ 0 h 79"/>
                <a:gd name="T38" fmla="*/ 18 w 79"/>
                <a:gd name="T39" fmla="*/ 11 h 79"/>
                <a:gd name="T40" fmla="*/ 7 w 79"/>
                <a:gd name="T41" fmla="*/ 18 h 79"/>
                <a:gd name="T42" fmla="*/ 18 w 79"/>
                <a:gd name="T43" fmla="*/ 25 h 79"/>
                <a:gd name="T44" fmla="*/ 65 w 79"/>
                <a:gd name="T45" fmla="*/ 29 h 79"/>
                <a:gd name="T46" fmla="*/ 61 w 79"/>
                <a:gd name="T47" fmla="*/ 36 h 79"/>
                <a:gd name="T48" fmla="*/ 65 w 79"/>
                <a:gd name="T49" fmla="*/ 40 h 79"/>
                <a:gd name="T50" fmla="*/ 65 w 79"/>
                <a:gd name="T51" fmla="*/ 40 h 79"/>
                <a:gd name="T52" fmla="*/ 68 w 79"/>
                <a:gd name="T53" fmla="*/ 50 h 79"/>
                <a:gd name="T54" fmla="*/ 68 w 79"/>
                <a:gd name="T55" fmla="*/ 58 h 79"/>
                <a:gd name="T56" fmla="*/ 61 w 79"/>
                <a:gd name="T57" fmla="*/ 58 h 79"/>
                <a:gd name="T58" fmla="*/ 65 w 79"/>
                <a:gd name="T59" fmla="*/ 68 h 79"/>
                <a:gd name="T60" fmla="*/ 75 w 79"/>
                <a:gd name="T61" fmla="*/ 65 h 79"/>
                <a:gd name="T62" fmla="*/ 79 w 79"/>
                <a:gd name="T63" fmla="*/ 58 h 79"/>
                <a:gd name="T64" fmla="*/ 79 w 79"/>
                <a:gd name="T65" fmla="*/ 47 h 79"/>
                <a:gd name="T66" fmla="*/ 72 w 79"/>
                <a:gd name="T67" fmla="*/ 36 h 79"/>
                <a:gd name="T68" fmla="*/ 75 w 79"/>
                <a:gd name="T69" fmla="*/ 22 h 79"/>
                <a:gd name="T70" fmla="*/ 50 w 79"/>
                <a:gd name="T71" fmla="*/ 4 h 79"/>
                <a:gd name="T72" fmla="*/ 61 w 79"/>
                <a:gd name="T73" fmla="*/ 79 h 79"/>
                <a:gd name="T74" fmla="*/ 68 w 79"/>
                <a:gd name="T75" fmla="*/ 15 h 79"/>
                <a:gd name="T76" fmla="*/ 65 w 79"/>
                <a:gd name="T77" fmla="*/ 29 h 79"/>
                <a:gd name="T78" fmla="*/ 65 w 79"/>
                <a:gd name="T79" fmla="*/ 29 h 79"/>
                <a:gd name="T80" fmla="*/ 32 w 79"/>
                <a:gd name="T81" fmla="*/ 18 h 79"/>
                <a:gd name="T82" fmla="*/ 29 w 79"/>
                <a:gd name="T83" fmla="*/ 25 h 79"/>
                <a:gd name="T84" fmla="*/ 29 w 79"/>
                <a:gd name="T85" fmla="*/ 25 h 79"/>
                <a:gd name="T86" fmla="*/ 32 w 79"/>
                <a:gd name="T87" fmla="*/ 18 h 79"/>
                <a:gd name="T88" fmla="*/ 32 w 79"/>
                <a:gd name="T89" fmla="*/ 47 h 79"/>
                <a:gd name="T90" fmla="*/ 22 w 79"/>
                <a:gd name="T91" fmla="*/ 54 h 79"/>
                <a:gd name="T92" fmla="*/ 32 w 79"/>
                <a:gd name="T93" fmla="*/ 47 h 79"/>
                <a:gd name="T94" fmla="*/ 32 w 79"/>
                <a:gd name="T95" fmla="*/ 61 h 79"/>
                <a:gd name="T96" fmla="*/ 22 w 79"/>
                <a:gd name="T97" fmla="*/ 65 h 79"/>
                <a:gd name="T98" fmla="*/ 32 w 79"/>
                <a:gd name="T99" fmla="*/ 61 h 7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79"/>
                <a:gd name="T151" fmla="*/ 0 h 79"/>
                <a:gd name="T152" fmla="*/ 79 w 79"/>
                <a:gd name="T153" fmla="*/ 79 h 7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79" h="79">
                  <a:moveTo>
                    <a:pt x="18" y="25"/>
                  </a:moveTo>
                  <a:lnTo>
                    <a:pt x="4" y="25"/>
                  </a:lnTo>
                  <a:lnTo>
                    <a:pt x="4" y="33"/>
                  </a:lnTo>
                  <a:lnTo>
                    <a:pt x="22" y="33"/>
                  </a:lnTo>
                  <a:lnTo>
                    <a:pt x="0" y="47"/>
                  </a:lnTo>
                  <a:lnTo>
                    <a:pt x="7" y="54"/>
                  </a:lnTo>
                  <a:lnTo>
                    <a:pt x="11" y="54"/>
                  </a:lnTo>
                  <a:lnTo>
                    <a:pt x="11" y="75"/>
                  </a:lnTo>
                  <a:lnTo>
                    <a:pt x="22" y="75"/>
                  </a:lnTo>
                  <a:lnTo>
                    <a:pt x="22" y="72"/>
                  </a:lnTo>
                  <a:lnTo>
                    <a:pt x="32" y="72"/>
                  </a:lnTo>
                  <a:lnTo>
                    <a:pt x="32" y="75"/>
                  </a:lnTo>
                  <a:lnTo>
                    <a:pt x="43" y="75"/>
                  </a:lnTo>
                  <a:lnTo>
                    <a:pt x="43" y="40"/>
                  </a:lnTo>
                  <a:lnTo>
                    <a:pt x="29" y="40"/>
                  </a:lnTo>
                  <a:lnTo>
                    <a:pt x="36" y="33"/>
                  </a:lnTo>
                  <a:lnTo>
                    <a:pt x="47" y="33"/>
                  </a:lnTo>
                  <a:lnTo>
                    <a:pt x="47" y="25"/>
                  </a:lnTo>
                  <a:lnTo>
                    <a:pt x="40" y="25"/>
                  </a:lnTo>
                  <a:lnTo>
                    <a:pt x="50" y="15"/>
                  </a:lnTo>
                  <a:lnTo>
                    <a:pt x="40" y="8"/>
                  </a:lnTo>
                  <a:lnTo>
                    <a:pt x="36" y="15"/>
                  </a:lnTo>
                  <a:lnTo>
                    <a:pt x="36" y="11"/>
                  </a:lnTo>
                  <a:lnTo>
                    <a:pt x="29" y="11"/>
                  </a:lnTo>
                  <a:lnTo>
                    <a:pt x="29" y="8"/>
                  </a:lnTo>
                  <a:lnTo>
                    <a:pt x="29" y="4"/>
                  </a:lnTo>
                  <a:lnTo>
                    <a:pt x="29" y="0"/>
                  </a:lnTo>
                  <a:lnTo>
                    <a:pt x="22" y="0"/>
                  </a:lnTo>
                  <a:lnTo>
                    <a:pt x="18" y="0"/>
                  </a:lnTo>
                  <a:lnTo>
                    <a:pt x="18" y="11"/>
                  </a:lnTo>
                  <a:lnTo>
                    <a:pt x="7" y="11"/>
                  </a:lnTo>
                  <a:lnTo>
                    <a:pt x="7" y="18"/>
                  </a:lnTo>
                  <a:lnTo>
                    <a:pt x="18" y="18"/>
                  </a:lnTo>
                  <a:lnTo>
                    <a:pt x="18" y="25"/>
                  </a:lnTo>
                  <a:close/>
                  <a:moveTo>
                    <a:pt x="65" y="29"/>
                  </a:moveTo>
                  <a:lnTo>
                    <a:pt x="65" y="29"/>
                  </a:lnTo>
                  <a:lnTo>
                    <a:pt x="61" y="36"/>
                  </a:lnTo>
                  <a:lnTo>
                    <a:pt x="65" y="40"/>
                  </a:lnTo>
                  <a:lnTo>
                    <a:pt x="68" y="50"/>
                  </a:lnTo>
                  <a:lnTo>
                    <a:pt x="68" y="58"/>
                  </a:lnTo>
                  <a:lnTo>
                    <a:pt x="61" y="58"/>
                  </a:lnTo>
                  <a:lnTo>
                    <a:pt x="65" y="68"/>
                  </a:lnTo>
                  <a:lnTo>
                    <a:pt x="72" y="68"/>
                  </a:lnTo>
                  <a:lnTo>
                    <a:pt x="75" y="65"/>
                  </a:lnTo>
                  <a:lnTo>
                    <a:pt x="79" y="58"/>
                  </a:lnTo>
                  <a:lnTo>
                    <a:pt x="79" y="47"/>
                  </a:lnTo>
                  <a:lnTo>
                    <a:pt x="72" y="36"/>
                  </a:lnTo>
                  <a:lnTo>
                    <a:pt x="75" y="22"/>
                  </a:lnTo>
                  <a:lnTo>
                    <a:pt x="79" y="4"/>
                  </a:lnTo>
                  <a:lnTo>
                    <a:pt x="50" y="4"/>
                  </a:lnTo>
                  <a:lnTo>
                    <a:pt x="50" y="79"/>
                  </a:lnTo>
                  <a:lnTo>
                    <a:pt x="61" y="79"/>
                  </a:lnTo>
                  <a:lnTo>
                    <a:pt x="61" y="15"/>
                  </a:lnTo>
                  <a:lnTo>
                    <a:pt x="68" y="15"/>
                  </a:lnTo>
                  <a:lnTo>
                    <a:pt x="65" y="29"/>
                  </a:lnTo>
                  <a:close/>
                  <a:moveTo>
                    <a:pt x="32" y="18"/>
                  </a:moveTo>
                  <a:lnTo>
                    <a:pt x="32" y="18"/>
                  </a:lnTo>
                  <a:lnTo>
                    <a:pt x="29" y="25"/>
                  </a:lnTo>
                  <a:lnTo>
                    <a:pt x="29" y="18"/>
                  </a:lnTo>
                  <a:lnTo>
                    <a:pt x="32" y="18"/>
                  </a:lnTo>
                  <a:close/>
                  <a:moveTo>
                    <a:pt x="32" y="47"/>
                  </a:moveTo>
                  <a:lnTo>
                    <a:pt x="32" y="54"/>
                  </a:lnTo>
                  <a:lnTo>
                    <a:pt x="22" y="54"/>
                  </a:lnTo>
                  <a:lnTo>
                    <a:pt x="22" y="47"/>
                  </a:lnTo>
                  <a:lnTo>
                    <a:pt x="32" y="47"/>
                  </a:lnTo>
                  <a:close/>
                  <a:moveTo>
                    <a:pt x="32" y="61"/>
                  </a:moveTo>
                  <a:lnTo>
                    <a:pt x="32" y="65"/>
                  </a:lnTo>
                  <a:lnTo>
                    <a:pt x="22" y="65"/>
                  </a:lnTo>
                  <a:lnTo>
                    <a:pt x="22" y="61"/>
                  </a:lnTo>
                  <a:lnTo>
                    <a:pt x="32" y="6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0" name="Freeform 76"/>
            <p:cNvSpPr>
              <a:spLocks/>
            </p:cNvSpPr>
            <p:nvPr/>
          </p:nvSpPr>
          <p:spPr bwMode="auto">
            <a:xfrm>
              <a:off x="2855" y="1650"/>
              <a:ext cx="75" cy="79"/>
            </a:xfrm>
            <a:custGeom>
              <a:avLst/>
              <a:gdLst>
                <a:gd name="T0" fmla="*/ 47 w 75"/>
                <a:gd name="T1" fmla="*/ 11 h 79"/>
                <a:gd name="T2" fmla="*/ 47 w 75"/>
                <a:gd name="T3" fmla="*/ 11 h 79"/>
                <a:gd name="T4" fmla="*/ 43 w 75"/>
                <a:gd name="T5" fmla="*/ 8 h 79"/>
                <a:gd name="T6" fmla="*/ 43 w 75"/>
                <a:gd name="T7" fmla="*/ 8 h 79"/>
                <a:gd name="T8" fmla="*/ 43 w 75"/>
                <a:gd name="T9" fmla="*/ 0 h 79"/>
                <a:gd name="T10" fmla="*/ 43 w 75"/>
                <a:gd name="T11" fmla="*/ 0 h 79"/>
                <a:gd name="T12" fmla="*/ 36 w 75"/>
                <a:gd name="T13" fmla="*/ 4 h 79"/>
                <a:gd name="T14" fmla="*/ 36 w 75"/>
                <a:gd name="T15" fmla="*/ 4 h 79"/>
                <a:gd name="T16" fmla="*/ 29 w 75"/>
                <a:gd name="T17" fmla="*/ 4 h 79"/>
                <a:gd name="T18" fmla="*/ 29 w 75"/>
                <a:gd name="T19" fmla="*/ 4 h 79"/>
                <a:gd name="T20" fmla="*/ 33 w 75"/>
                <a:gd name="T21" fmla="*/ 15 h 79"/>
                <a:gd name="T22" fmla="*/ 0 w 75"/>
                <a:gd name="T23" fmla="*/ 15 h 79"/>
                <a:gd name="T24" fmla="*/ 0 w 75"/>
                <a:gd name="T25" fmla="*/ 22 h 79"/>
                <a:gd name="T26" fmla="*/ 33 w 75"/>
                <a:gd name="T27" fmla="*/ 22 h 79"/>
                <a:gd name="T28" fmla="*/ 33 w 75"/>
                <a:gd name="T29" fmla="*/ 33 h 79"/>
                <a:gd name="T30" fmla="*/ 11 w 75"/>
                <a:gd name="T31" fmla="*/ 33 h 79"/>
                <a:gd name="T32" fmla="*/ 11 w 75"/>
                <a:gd name="T33" fmla="*/ 72 h 79"/>
                <a:gd name="T34" fmla="*/ 22 w 75"/>
                <a:gd name="T35" fmla="*/ 72 h 79"/>
                <a:gd name="T36" fmla="*/ 22 w 75"/>
                <a:gd name="T37" fmla="*/ 43 h 79"/>
                <a:gd name="T38" fmla="*/ 33 w 75"/>
                <a:gd name="T39" fmla="*/ 43 h 79"/>
                <a:gd name="T40" fmla="*/ 33 w 75"/>
                <a:gd name="T41" fmla="*/ 79 h 79"/>
                <a:gd name="T42" fmla="*/ 43 w 75"/>
                <a:gd name="T43" fmla="*/ 79 h 79"/>
                <a:gd name="T44" fmla="*/ 43 w 75"/>
                <a:gd name="T45" fmla="*/ 43 h 79"/>
                <a:gd name="T46" fmla="*/ 54 w 75"/>
                <a:gd name="T47" fmla="*/ 43 h 79"/>
                <a:gd name="T48" fmla="*/ 54 w 75"/>
                <a:gd name="T49" fmla="*/ 58 h 79"/>
                <a:gd name="T50" fmla="*/ 54 w 75"/>
                <a:gd name="T51" fmla="*/ 58 h 79"/>
                <a:gd name="T52" fmla="*/ 54 w 75"/>
                <a:gd name="T53" fmla="*/ 61 h 79"/>
                <a:gd name="T54" fmla="*/ 47 w 75"/>
                <a:gd name="T55" fmla="*/ 61 h 79"/>
                <a:gd name="T56" fmla="*/ 47 w 75"/>
                <a:gd name="T57" fmla="*/ 61 h 79"/>
                <a:gd name="T58" fmla="*/ 50 w 75"/>
                <a:gd name="T59" fmla="*/ 72 h 79"/>
                <a:gd name="T60" fmla="*/ 50 w 75"/>
                <a:gd name="T61" fmla="*/ 72 h 79"/>
                <a:gd name="T62" fmla="*/ 61 w 75"/>
                <a:gd name="T63" fmla="*/ 68 h 79"/>
                <a:gd name="T64" fmla="*/ 65 w 75"/>
                <a:gd name="T65" fmla="*/ 68 h 79"/>
                <a:gd name="T66" fmla="*/ 68 w 75"/>
                <a:gd name="T67" fmla="*/ 65 h 79"/>
                <a:gd name="T68" fmla="*/ 68 w 75"/>
                <a:gd name="T69" fmla="*/ 33 h 79"/>
                <a:gd name="T70" fmla="*/ 43 w 75"/>
                <a:gd name="T71" fmla="*/ 33 h 79"/>
                <a:gd name="T72" fmla="*/ 43 w 75"/>
                <a:gd name="T73" fmla="*/ 22 h 79"/>
                <a:gd name="T74" fmla="*/ 75 w 75"/>
                <a:gd name="T75" fmla="*/ 22 h 79"/>
                <a:gd name="T76" fmla="*/ 75 w 75"/>
                <a:gd name="T77" fmla="*/ 15 h 79"/>
                <a:gd name="T78" fmla="*/ 36 w 75"/>
                <a:gd name="T79" fmla="*/ 15 h 79"/>
                <a:gd name="T80" fmla="*/ 36 w 75"/>
                <a:gd name="T81" fmla="*/ 15 h 79"/>
                <a:gd name="T82" fmla="*/ 47 w 75"/>
                <a:gd name="T83" fmla="*/ 11 h 79"/>
                <a:gd name="T84" fmla="*/ 47 w 75"/>
                <a:gd name="T85" fmla="*/ 11 h 79"/>
                <a:gd name="T86" fmla="*/ 47 w 75"/>
                <a:gd name="T87" fmla="*/ 11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9"/>
                <a:gd name="T134" fmla="*/ 75 w 75"/>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9">
                  <a:moveTo>
                    <a:pt x="47" y="11"/>
                  </a:moveTo>
                  <a:lnTo>
                    <a:pt x="47" y="11"/>
                  </a:lnTo>
                  <a:lnTo>
                    <a:pt x="43" y="8"/>
                  </a:lnTo>
                  <a:lnTo>
                    <a:pt x="43" y="0"/>
                  </a:lnTo>
                  <a:lnTo>
                    <a:pt x="36" y="4"/>
                  </a:lnTo>
                  <a:lnTo>
                    <a:pt x="29" y="4"/>
                  </a:lnTo>
                  <a:lnTo>
                    <a:pt x="33" y="15"/>
                  </a:lnTo>
                  <a:lnTo>
                    <a:pt x="0" y="15"/>
                  </a:lnTo>
                  <a:lnTo>
                    <a:pt x="0" y="22"/>
                  </a:lnTo>
                  <a:lnTo>
                    <a:pt x="33" y="22"/>
                  </a:lnTo>
                  <a:lnTo>
                    <a:pt x="33" y="33"/>
                  </a:lnTo>
                  <a:lnTo>
                    <a:pt x="11" y="33"/>
                  </a:lnTo>
                  <a:lnTo>
                    <a:pt x="11" y="72"/>
                  </a:lnTo>
                  <a:lnTo>
                    <a:pt x="22" y="72"/>
                  </a:lnTo>
                  <a:lnTo>
                    <a:pt x="22" y="43"/>
                  </a:lnTo>
                  <a:lnTo>
                    <a:pt x="33" y="43"/>
                  </a:lnTo>
                  <a:lnTo>
                    <a:pt x="33" y="79"/>
                  </a:lnTo>
                  <a:lnTo>
                    <a:pt x="43" y="79"/>
                  </a:lnTo>
                  <a:lnTo>
                    <a:pt x="43" y="43"/>
                  </a:lnTo>
                  <a:lnTo>
                    <a:pt x="54" y="43"/>
                  </a:lnTo>
                  <a:lnTo>
                    <a:pt x="54" y="58"/>
                  </a:lnTo>
                  <a:lnTo>
                    <a:pt x="54" y="61"/>
                  </a:lnTo>
                  <a:lnTo>
                    <a:pt x="47" y="61"/>
                  </a:lnTo>
                  <a:lnTo>
                    <a:pt x="50" y="72"/>
                  </a:lnTo>
                  <a:lnTo>
                    <a:pt x="61" y="68"/>
                  </a:lnTo>
                  <a:lnTo>
                    <a:pt x="65" y="68"/>
                  </a:lnTo>
                  <a:lnTo>
                    <a:pt x="68" y="65"/>
                  </a:lnTo>
                  <a:lnTo>
                    <a:pt x="68" y="33"/>
                  </a:lnTo>
                  <a:lnTo>
                    <a:pt x="43" y="33"/>
                  </a:lnTo>
                  <a:lnTo>
                    <a:pt x="43" y="22"/>
                  </a:lnTo>
                  <a:lnTo>
                    <a:pt x="75" y="22"/>
                  </a:lnTo>
                  <a:lnTo>
                    <a:pt x="75" y="15"/>
                  </a:lnTo>
                  <a:lnTo>
                    <a:pt x="36" y="15"/>
                  </a:lnTo>
                  <a:lnTo>
                    <a:pt x="4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1" name="Freeform 77"/>
            <p:cNvSpPr>
              <a:spLocks noEditPoints="1"/>
            </p:cNvSpPr>
            <p:nvPr/>
          </p:nvSpPr>
          <p:spPr bwMode="auto">
            <a:xfrm>
              <a:off x="2795" y="1429"/>
              <a:ext cx="82" cy="75"/>
            </a:xfrm>
            <a:custGeom>
              <a:avLst/>
              <a:gdLst>
                <a:gd name="T0" fmla="*/ 21 w 82"/>
                <a:gd name="T1" fmla="*/ 4 h 75"/>
                <a:gd name="T2" fmla="*/ 14 w 82"/>
                <a:gd name="T3" fmla="*/ 0 h 75"/>
                <a:gd name="T4" fmla="*/ 3 w 82"/>
                <a:gd name="T5" fmla="*/ 22 h 75"/>
                <a:gd name="T6" fmla="*/ 11 w 82"/>
                <a:gd name="T7" fmla="*/ 29 h 75"/>
                <a:gd name="T8" fmla="*/ 28 w 82"/>
                <a:gd name="T9" fmla="*/ 4 h 75"/>
                <a:gd name="T10" fmla="*/ 21 w 82"/>
                <a:gd name="T11" fmla="*/ 4 h 75"/>
                <a:gd name="T12" fmla="*/ 21 w 82"/>
                <a:gd name="T13" fmla="*/ 4 h 75"/>
                <a:gd name="T14" fmla="*/ 43 w 82"/>
                <a:gd name="T15" fmla="*/ 33 h 75"/>
                <a:gd name="T16" fmla="*/ 39 w 82"/>
                <a:gd name="T17" fmla="*/ 25 h 75"/>
                <a:gd name="T18" fmla="*/ 43 w 82"/>
                <a:gd name="T19" fmla="*/ 25 h 75"/>
                <a:gd name="T20" fmla="*/ 53 w 82"/>
                <a:gd name="T21" fmla="*/ 25 h 75"/>
                <a:gd name="T22" fmla="*/ 50 w 82"/>
                <a:gd name="T23" fmla="*/ 33 h 75"/>
                <a:gd name="T24" fmla="*/ 50 w 82"/>
                <a:gd name="T25" fmla="*/ 25 h 75"/>
                <a:gd name="T26" fmla="*/ 64 w 82"/>
                <a:gd name="T27" fmla="*/ 25 h 75"/>
                <a:gd name="T28" fmla="*/ 60 w 82"/>
                <a:gd name="T29" fmla="*/ 33 h 75"/>
                <a:gd name="T30" fmla="*/ 60 w 82"/>
                <a:gd name="T31" fmla="*/ 25 h 75"/>
                <a:gd name="T32" fmla="*/ 46 w 82"/>
                <a:gd name="T33" fmla="*/ 54 h 75"/>
                <a:gd name="T34" fmla="*/ 46 w 82"/>
                <a:gd name="T35" fmla="*/ 57 h 75"/>
                <a:gd name="T36" fmla="*/ 50 w 82"/>
                <a:gd name="T37" fmla="*/ 65 h 75"/>
                <a:gd name="T38" fmla="*/ 60 w 82"/>
                <a:gd name="T39" fmla="*/ 61 h 75"/>
                <a:gd name="T40" fmla="*/ 78 w 82"/>
                <a:gd name="T41" fmla="*/ 50 h 75"/>
                <a:gd name="T42" fmla="*/ 25 w 82"/>
                <a:gd name="T43" fmla="*/ 43 h 75"/>
                <a:gd name="T44" fmla="*/ 53 w 82"/>
                <a:gd name="T45" fmla="*/ 50 h 75"/>
                <a:gd name="T46" fmla="*/ 46 w 82"/>
                <a:gd name="T47" fmla="*/ 54 h 75"/>
                <a:gd name="T48" fmla="*/ 46 w 82"/>
                <a:gd name="T49" fmla="*/ 54 h 75"/>
                <a:gd name="T50" fmla="*/ 68 w 82"/>
                <a:gd name="T51" fmla="*/ 65 h 75"/>
                <a:gd name="T52" fmla="*/ 71 w 82"/>
                <a:gd name="T53" fmla="*/ 72 h 75"/>
                <a:gd name="T54" fmla="*/ 82 w 82"/>
                <a:gd name="T55" fmla="*/ 68 h 75"/>
                <a:gd name="T56" fmla="*/ 71 w 82"/>
                <a:gd name="T57" fmla="*/ 50 h 75"/>
                <a:gd name="T58" fmla="*/ 60 w 82"/>
                <a:gd name="T59" fmla="*/ 57 h 75"/>
                <a:gd name="T60" fmla="*/ 68 w 82"/>
                <a:gd name="T61" fmla="*/ 65 h 75"/>
                <a:gd name="T62" fmla="*/ 60 w 82"/>
                <a:gd name="T63" fmla="*/ 61 h 75"/>
                <a:gd name="T64" fmla="*/ 53 w 82"/>
                <a:gd name="T65" fmla="*/ 68 h 75"/>
                <a:gd name="T66" fmla="*/ 46 w 82"/>
                <a:gd name="T67" fmla="*/ 68 h 75"/>
                <a:gd name="T68" fmla="*/ 46 w 82"/>
                <a:gd name="T69" fmla="*/ 65 h 75"/>
                <a:gd name="T70" fmla="*/ 36 w 82"/>
                <a:gd name="T71" fmla="*/ 54 h 75"/>
                <a:gd name="T72" fmla="*/ 25 w 82"/>
                <a:gd name="T73" fmla="*/ 54 h 75"/>
                <a:gd name="T74" fmla="*/ 21 w 82"/>
                <a:gd name="T75" fmla="*/ 68 h 75"/>
                <a:gd name="T76" fmla="*/ 21 w 82"/>
                <a:gd name="T77" fmla="*/ 40 h 75"/>
                <a:gd name="T78" fmla="*/ 28 w 82"/>
                <a:gd name="T79" fmla="*/ 40 h 75"/>
                <a:gd name="T80" fmla="*/ 75 w 82"/>
                <a:gd name="T81" fmla="*/ 18 h 75"/>
                <a:gd name="T82" fmla="*/ 57 w 82"/>
                <a:gd name="T83" fmla="*/ 15 h 75"/>
                <a:gd name="T84" fmla="*/ 78 w 82"/>
                <a:gd name="T85" fmla="*/ 4 h 75"/>
                <a:gd name="T86" fmla="*/ 57 w 82"/>
                <a:gd name="T87" fmla="*/ 4 h 75"/>
                <a:gd name="T88" fmla="*/ 57 w 82"/>
                <a:gd name="T89" fmla="*/ 4 h 75"/>
                <a:gd name="T90" fmla="*/ 57 w 82"/>
                <a:gd name="T91" fmla="*/ 0 h 75"/>
                <a:gd name="T92" fmla="*/ 46 w 82"/>
                <a:gd name="T93" fmla="*/ 0 h 75"/>
                <a:gd name="T94" fmla="*/ 28 w 82"/>
                <a:gd name="T95" fmla="*/ 4 h 75"/>
                <a:gd name="T96" fmla="*/ 43 w 82"/>
                <a:gd name="T97" fmla="*/ 15 h 75"/>
                <a:gd name="T98" fmla="*/ 28 w 82"/>
                <a:gd name="T99" fmla="*/ 18 h 75"/>
                <a:gd name="T100" fmla="*/ 28 w 82"/>
                <a:gd name="T101" fmla="*/ 22 h 75"/>
                <a:gd name="T102" fmla="*/ 21 w 82"/>
                <a:gd name="T103" fmla="*/ 18 h 75"/>
                <a:gd name="T104" fmla="*/ 0 w 82"/>
                <a:gd name="T105" fmla="*/ 47 h 75"/>
                <a:gd name="T106" fmla="*/ 7 w 82"/>
                <a:gd name="T107" fmla="*/ 54 h 75"/>
                <a:gd name="T108" fmla="*/ 11 w 82"/>
                <a:gd name="T109" fmla="*/ 75 h 75"/>
                <a:gd name="T110" fmla="*/ 21 w 82"/>
                <a:gd name="T111" fmla="*/ 72 h 75"/>
                <a:gd name="T112" fmla="*/ 28 w 82"/>
                <a:gd name="T113" fmla="*/ 75 h 75"/>
                <a:gd name="T114" fmla="*/ 36 w 82"/>
                <a:gd name="T115" fmla="*/ 68 h 75"/>
                <a:gd name="T116" fmla="*/ 36 w 82"/>
                <a:gd name="T117" fmla="*/ 75 h 75"/>
                <a:gd name="T118" fmla="*/ 60 w 82"/>
                <a:gd name="T119" fmla="*/ 75 h 75"/>
                <a:gd name="T120" fmla="*/ 68 w 82"/>
                <a:gd name="T121" fmla="*/ 75 h 75"/>
                <a:gd name="T122" fmla="*/ 68 w 82"/>
                <a:gd name="T123" fmla="*/ 65 h 7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2"/>
                <a:gd name="T187" fmla="*/ 0 h 75"/>
                <a:gd name="T188" fmla="*/ 82 w 82"/>
                <a:gd name="T189" fmla="*/ 75 h 7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2" h="75">
                  <a:moveTo>
                    <a:pt x="21" y="4"/>
                  </a:moveTo>
                  <a:lnTo>
                    <a:pt x="21" y="4"/>
                  </a:lnTo>
                  <a:lnTo>
                    <a:pt x="14" y="0"/>
                  </a:lnTo>
                  <a:lnTo>
                    <a:pt x="11" y="11"/>
                  </a:lnTo>
                  <a:lnTo>
                    <a:pt x="3" y="22"/>
                  </a:lnTo>
                  <a:lnTo>
                    <a:pt x="11" y="29"/>
                  </a:lnTo>
                  <a:lnTo>
                    <a:pt x="28" y="4"/>
                  </a:lnTo>
                  <a:lnTo>
                    <a:pt x="21" y="4"/>
                  </a:lnTo>
                  <a:close/>
                  <a:moveTo>
                    <a:pt x="43" y="25"/>
                  </a:moveTo>
                  <a:lnTo>
                    <a:pt x="43" y="33"/>
                  </a:lnTo>
                  <a:lnTo>
                    <a:pt x="39" y="33"/>
                  </a:lnTo>
                  <a:lnTo>
                    <a:pt x="39" y="25"/>
                  </a:lnTo>
                  <a:lnTo>
                    <a:pt x="43" y="25"/>
                  </a:lnTo>
                  <a:close/>
                  <a:moveTo>
                    <a:pt x="50" y="25"/>
                  </a:moveTo>
                  <a:lnTo>
                    <a:pt x="53" y="25"/>
                  </a:lnTo>
                  <a:lnTo>
                    <a:pt x="53" y="33"/>
                  </a:lnTo>
                  <a:lnTo>
                    <a:pt x="50" y="33"/>
                  </a:lnTo>
                  <a:lnTo>
                    <a:pt x="50" y="25"/>
                  </a:lnTo>
                  <a:close/>
                  <a:moveTo>
                    <a:pt x="60" y="25"/>
                  </a:moveTo>
                  <a:lnTo>
                    <a:pt x="64" y="25"/>
                  </a:lnTo>
                  <a:lnTo>
                    <a:pt x="64" y="33"/>
                  </a:lnTo>
                  <a:lnTo>
                    <a:pt x="60" y="33"/>
                  </a:lnTo>
                  <a:lnTo>
                    <a:pt x="60" y="25"/>
                  </a:lnTo>
                  <a:close/>
                  <a:moveTo>
                    <a:pt x="46" y="54"/>
                  </a:moveTo>
                  <a:lnTo>
                    <a:pt x="46" y="54"/>
                  </a:lnTo>
                  <a:lnTo>
                    <a:pt x="46" y="57"/>
                  </a:lnTo>
                  <a:lnTo>
                    <a:pt x="50" y="65"/>
                  </a:lnTo>
                  <a:lnTo>
                    <a:pt x="60" y="61"/>
                  </a:lnTo>
                  <a:lnTo>
                    <a:pt x="53" y="50"/>
                  </a:lnTo>
                  <a:lnTo>
                    <a:pt x="78" y="50"/>
                  </a:lnTo>
                  <a:lnTo>
                    <a:pt x="78" y="43"/>
                  </a:lnTo>
                  <a:lnTo>
                    <a:pt x="25" y="43"/>
                  </a:lnTo>
                  <a:lnTo>
                    <a:pt x="25" y="50"/>
                  </a:lnTo>
                  <a:lnTo>
                    <a:pt x="53" y="50"/>
                  </a:lnTo>
                  <a:lnTo>
                    <a:pt x="46" y="54"/>
                  </a:lnTo>
                  <a:close/>
                  <a:moveTo>
                    <a:pt x="68" y="65"/>
                  </a:moveTo>
                  <a:lnTo>
                    <a:pt x="68" y="65"/>
                  </a:lnTo>
                  <a:lnTo>
                    <a:pt x="71" y="72"/>
                  </a:lnTo>
                  <a:lnTo>
                    <a:pt x="82" y="68"/>
                  </a:lnTo>
                  <a:lnTo>
                    <a:pt x="71" y="50"/>
                  </a:lnTo>
                  <a:lnTo>
                    <a:pt x="60" y="57"/>
                  </a:lnTo>
                  <a:lnTo>
                    <a:pt x="68" y="65"/>
                  </a:lnTo>
                  <a:lnTo>
                    <a:pt x="60" y="61"/>
                  </a:lnTo>
                  <a:lnTo>
                    <a:pt x="57" y="68"/>
                  </a:lnTo>
                  <a:lnTo>
                    <a:pt x="53" y="68"/>
                  </a:lnTo>
                  <a:lnTo>
                    <a:pt x="46" y="68"/>
                  </a:lnTo>
                  <a:lnTo>
                    <a:pt x="46" y="65"/>
                  </a:lnTo>
                  <a:lnTo>
                    <a:pt x="46" y="54"/>
                  </a:lnTo>
                  <a:lnTo>
                    <a:pt x="36" y="54"/>
                  </a:lnTo>
                  <a:lnTo>
                    <a:pt x="36" y="57"/>
                  </a:lnTo>
                  <a:lnTo>
                    <a:pt x="25" y="54"/>
                  </a:lnTo>
                  <a:lnTo>
                    <a:pt x="21" y="68"/>
                  </a:lnTo>
                  <a:lnTo>
                    <a:pt x="21" y="40"/>
                  </a:lnTo>
                  <a:lnTo>
                    <a:pt x="28" y="29"/>
                  </a:lnTo>
                  <a:lnTo>
                    <a:pt x="28" y="40"/>
                  </a:lnTo>
                  <a:lnTo>
                    <a:pt x="75" y="40"/>
                  </a:lnTo>
                  <a:lnTo>
                    <a:pt x="75" y="18"/>
                  </a:lnTo>
                  <a:lnTo>
                    <a:pt x="53" y="18"/>
                  </a:lnTo>
                  <a:lnTo>
                    <a:pt x="57" y="15"/>
                  </a:lnTo>
                  <a:lnTo>
                    <a:pt x="78" y="15"/>
                  </a:lnTo>
                  <a:lnTo>
                    <a:pt x="78" y="4"/>
                  </a:lnTo>
                  <a:lnTo>
                    <a:pt x="57" y="4"/>
                  </a:lnTo>
                  <a:lnTo>
                    <a:pt x="57" y="0"/>
                  </a:lnTo>
                  <a:lnTo>
                    <a:pt x="46" y="0"/>
                  </a:lnTo>
                  <a:lnTo>
                    <a:pt x="46" y="4"/>
                  </a:lnTo>
                  <a:lnTo>
                    <a:pt x="28" y="4"/>
                  </a:lnTo>
                  <a:lnTo>
                    <a:pt x="28" y="15"/>
                  </a:lnTo>
                  <a:lnTo>
                    <a:pt x="43" y="15"/>
                  </a:lnTo>
                  <a:lnTo>
                    <a:pt x="43" y="18"/>
                  </a:lnTo>
                  <a:lnTo>
                    <a:pt x="28" y="18"/>
                  </a:lnTo>
                  <a:lnTo>
                    <a:pt x="28" y="22"/>
                  </a:lnTo>
                  <a:lnTo>
                    <a:pt x="21" y="18"/>
                  </a:lnTo>
                  <a:lnTo>
                    <a:pt x="11" y="33"/>
                  </a:lnTo>
                  <a:lnTo>
                    <a:pt x="0" y="47"/>
                  </a:lnTo>
                  <a:lnTo>
                    <a:pt x="7" y="54"/>
                  </a:lnTo>
                  <a:lnTo>
                    <a:pt x="11" y="50"/>
                  </a:lnTo>
                  <a:lnTo>
                    <a:pt x="11" y="75"/>
                  </a:lnTo>
                  <a:lnTo>
                    <a:pt x="21" y="75"/>
                  </a:lnTo>
                  <a:lnTo>
                    <a:pt x="21" y="72"/>
                  </a:lnTo>
                  <a:lnTo>
                    <a:pt x="28" y="75"/>
                  </a:lnTo>
                  <a:lnTo>
                    <a:pt x="36" y="61"/>
                  </a:lnTo>
                  <a:lnTo>
                    <a:pt x="36" y="68"/>
                  </a:lnTo>
                  <a:lnTo>
                    <a:pt x="36" y="75"/>
                  </a:lnTo>
                  <a:lnTo>
                    <a:pt x="43" y="75"/>
                  </a:lnTo>
                  <a:lnTo>
                    <a:pt x="60" y="75"/>
                  </a:lnTo>
                  <a:lnTo>
                    <a:pt x="68" y="75"/>
                  </a:lnTo>
                  <a:lnTo>
                    <a:pt x="68" y="6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2" name="Freeform 78"/>
            <p:cNvSpPr>
              <a:spLocks noEditPoints="1"/>
            </p:cNvSpPr>
            <p:nvPr/>
          </p:nvSpPr>
          <p:spPr bwMode="auto">
            <a:xfrm>
              <a:off x="2888" y="1433"/>
              <a:ext cx="67" cy="71"/>
            </a:xfrm>
            <a:custGeom>
              <a:avLst/>
              <a:gdLst>
                <a:gd name="T0" fmla="*/ 10 w 67"/>
                <a:gd name="T1" fmla="*/ 71 h 71"/>
                <a:gd name="T2" fmla="*/ 10 w 67"/>
                <a:gd name="T3" fmla="*/ 46 h 71"/>
                <a:gd name="T4" fmla="*/ 10 w 67"/>
                <a:gd name="T5" fmla="*/ 46 h 71"/>
                <a:gd name="T6" fmla="*/ 14 w 67"/>
                <a:gd name="T7" fmla="*/ 57 h 71"/>
                <a:gd name="T8" fmla="*/ 14 w 67"/>
                <a:gd name="T9" fmla="*/ 57 h 71"/>
                <a:gd name="T10" fmla="*/ 21 w 67"/>
                <a:gd name="T11" fmla="*/ 57 h 71"/>
                <a:gd name="T12" fmla="*/ 25 w 67"/>
                <a:gd name="T13" fmla="*/ 53 h 71"/>
                <a:gd name="T14" fmla="*/ 28 w 67"/>
                <a:gd name="T15" fmla="*/ 50 h 71"/>
                <a:gd name="T16" fmla="*/ 28 w 67"/>
                <a:gd name="T17" fmla="*/ 43 h 71"/>
                <a:gd name="T18" fmla="*/ 28 w 67"/>
                <a:gd name="T19" fmla="*/ 43 h 71"/>
                <a:gd name="T20" fmla="*/ 28 w 67"/>
                <a:gd name="T21" fmla="*/ 32 h 71"/>
                <a:gd name="T22" fmla="*/ 25 w 67"/>
                <a:gd name="T23" fmla="*/ 25 h 71"/>
                <a:gd name="T24" fmla="*/ 25 w 67"/>
                <a:gd name="T25" fmla="*/ 25 h 71"/>
                <a:gd name="T26" fmla="*/ 25 w 67"/>
                <a:gd name="T27" fmla="*/ 18 h 71"/>
                <a:gd name="T28" fmla="*/ 25 w 67"/>
                <a:gd name="T29" fmla="*/ 18 h 71"/>
                <a:gd name="T30" fmla="*/ 28 w 67"/>
                <a:gd name="T31" fmla="*/ 0 h 71"/>
                <a:gd name="T32" fmla="*/ 0 w 67"/>
                <a:gd name="T33" fmla="*/ 0 h 71"/>
                <a:gd name="T34" fmla="*/ 0 w 67"/>
                <a:gd name="T35" fmla="*/ 71 h 71"/>
                <a:gd name="T36" fmla="*/ 10 w 67"/>
                <a:gd name="T37" fmla="*/ 71 h 71"/>
                <a:gd name="T38" fmla="*/ 10 w 67"/>
                <a:gd name="T39" fmla="*/ 71 h 71"/>
                <a:gd name="T40" fmla="*/ 42 w 67"/>
                <a:gd name="T41" fmla="*/ 71 h 71"/>
                <a:gd name="T42" fmla="*/ 42 w 67"/>
                <a:gd name="T43" fmla="*/ 64 h 71"/>
                <a:gd name="T44" fmla="*/ 57 w 67"/>
                <a:gd name="T45" fmla="*/ 64 h 71"/>
                <a:gd name="T46" fmla="*/ 57 w 67"/>
                <a:gd name="T47" fmla="*/ 71 h 71"/>
                <a:gd name="T48" fmla="*/ 67 w 67"/>
                <a:gd name="T49" fmla="*/ 71 h 71"/>
                <a:gd name="T50" fmla="*/ 67 w 67"/>
                <a:gd name="T51" fmla="*/ 0 h 71"/>
                <a:gd name="T52" fmla="*/ 32 w 67"/>
                <a:gd name="T53" fmla="*/ 0 h 71"/>
                <a:gd name="T54" fmla="*/ 32 w 67"/>
                <a:gd name="T55" fmla="*/ 71 h 71"/>
                <a:gd name="T56" fmla="*/ 42 w 67"/>
                <a:gd name="T57" fmla="*/ 71 h 71"/>
                <a:gd name="T58" fmla="*/ 42 w 67"/>
                <a:gd name="T59" fmla="*/ 71 h 71"/>
                <a:gd name="T60" fmla="*/ 10 w 67"/>
                <a:gd name="T61" fmla="*/ 29 h 71"/>
                <a:gd name="T62" fmla="*/ 10 w 67"/>
                <a:gd name="T63" fmla="*/ 29 h 71"/>
                <a:gd name="T64" fmla="*/ 17 w 67"/>
                <a:gd name="T65" fmla="*/ 39 h 71"/>
                <a:gd name="T66" fmla="*/ 17 w 67"/>
                <a:gd name="T67" fmla="*/ 39 h 71"/>
                <a:gd name="T68" fmla="*/ 17 w 67"/>
                <a:gd name="T69" fmla="*/ 46 h 71"/>
                <a:gd name="T70" fmla="*/ 10 w 67"/>
                <a:gd name="T71" fmla="*/ 46 h 71"/>
                <a:gd name="T72" fmla="*/ 10 w 67"/>
                <a:gd name="T73" fmla="*/ 7 h 71"/>
                <a:gd name="T74" fmla="*/ 17 w 67"/>
                <a:gd name="T75" fmla="*/ 7 h 71"/>
                <a:gd name="T76" fmla="*/ 17 w 67"/>
                <a:gd name="T77" fmla="*/ 7 h 71"/>
                <a:gd name="T78" fmla="*/ 10 w 67"/>
                <a:gd name="T79" fmla="*/ 29 h 71"/>
                <a:gd name="T80" fmla="*/ 10 w 67"/>
                <a:gd name="T81" fmla="*/ 29 h 71"/>
                <a:gd name="T82" fmla="*/ 10 w 67"/>
                <a:gd name="T83" fmla="*/ 29 h 71"/>
                <a:gd name="T84" fmla="*/ 42 w 67"/>
                <a:gd name="T85" fmla="*/ 25 h 71"/>
                <a:gd name="T86" fmla="*/ 42 w 67"/>
                <a:gd name="T87" fmla="*/ 11 h 71"/>
                <a:gd name="T88" fmla="*/ 57 w 67"/>
                <a:gd name="T89" fmla="*/ 11 h 71"/>
                <a:gd name="T90" fmla="*/ 57 w 67"/>
                <a:gd name="T91" fmla="*/ 25 h 71"/>
                <a:gd name="T92" fmla="*/ 42 w 67"/>
                <a:gd name="T93" fmla="*/ 25 h 71"/>
                <a:gd name="T94" fmla="*/ 42 w 67"/>
                <a:gd name="T95" fmla="*/ 25 h 71"/>
                <a:gd name="T96" fmla="*/ 57 w 67"/>
                <a:gd name="T97" fmla="*/ 36 h 71"/>
                <a:gd name="T98" fmla="*/ 57 w 67"/>
                <a:gd name="T99" fmla="*/ 53 h 71"/>
                <a:gd name="T100" fmla="*/ 42 w 67"/>
                <a:gd name="T101" fmla="*/ 53 h 71"/>
                <a:gd name="T102" fmla="*/ 42 w 67"/>
                <a:gd name="T103" fmla="*/ 36 h 71"/>
                <a:gd name="T104" fmla="*/ 57 w 67"/>
                <a:gd name="T105" fmla="*/ 36 h 71"/>
                <a:gd name="T106" fmla="*/ 57 w 67"/>
                <a:gd name="T107" fmla="*/ 36 h 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7"/>
                <a:gd name="T163" fmla="*/ 0 h 71"/>
                <a:gd name="T164" fmla="*/ 67 w 67"/>
                <a:gd name="T165" fmla="*/ 71 h 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7" h="71">
                  <a:moveTo>
                    <a:pt x="10" y="71"/>
                  </a:moveTo>
                  <a:lnTo>
                    <a:pt x="10" y="46"/>
                  </a:lnTo>
                  <a:lnTo>
                    <a:pt x="14" y="57"/>
                  </a:lnTo>
                  <a:lnTo>
                    <a:pt x="21" y="57"/>
                  </a:lnTo>
                  <a:lnTo>
                    <a:pt x="25" y="53"/>
                  </a:lnTo>
                  <a:lnTo>
                    <a:pt x="28" y="50"/>
                  </a:lnTo>
                  <a:lnTo>
                    <a:pt x="28" y="43"/>
                  </a:lnTo>
                  <a:lnTo>
                    <a:pt x="28" y="32"/>
                  </a:lnTo>
                  <a:lnTo>
                    <a:pt x="25" y="25"/>
                  </a:lnTo>
                  <a:lnTo>
                    <a:pt x="25" y="18"/>
                  </a:lnTo>
                  <a:lnTo>
                    <a:pt x="28" y="0"/>
                  </a:lnTo>
                  <a:lnTo>
                    <a:pt x="0" y="0"/>
                  </a:lnTo>
                  <a:lnTo>
                    <a:pt x="0" y="71"/>
                  </a:lnTo>
                  <a:lnTo>
                    <a:pt x="10" y="71"/>
                  </a:lnTo>
                  <a:close/>
                  <a:moveTo>
                    <a:pt x="42" y="71"/>
                  </a:moveTo>
                  <a:lnTo>
                    <a:pt x="42" y="64"/>
                  </a:lnTo>
                  <a:lnTo>
                    <a:pt x="57" y="64"/>
                  </a:lnTo>
                  <a:lnTo>
                    <a:pt x="57" y="71"/>
                  </a:lnTo>
                  <a:lnTo>
                    <a:pt x="67" y="71"/>
                  </a:lnTo>
                  <a:lnTo>
                    <a:pt x="67" y="0"/>
                  </a:lnTo>
                  <a:lnTo>
                    <a:pt x="32" y="0"/>
                  </a:lnTo>
                  <a:lnTo>
                    <a:pt x="32" y="71"/>
                  </a:lnTo>
                  <a:lnTo>
                    <a:pt x="42" y="71"/>
                  </a:lnTo>
                  <a:close/>
                  <a:moveTo>
                    <a:pt x="10" y="29"/>
                  </a:moveTo>
                  <a:lnTo>
                    <a:pt x="10" y="29"/>
                  </a:lnTo>
                  <a:lnTo>
                    <a:pt x="17" y="39"/>
                  </a:lnTo>
                  <a:lnTo>
                    <a:pt x="17" y="46"/>
                  </a:lnTo>
                  <a:lnTo>
                    <a:pt x="10" y="46"/>
                  </a:lnTo>
                  <a:lnTo>
                    <a:pt x="10" y="7"/>
                  </a:lnTo>
                  <a:lnTo>
                    <a:pt x="17" y="7"/>
                  </a:lnTo>
                  <a:lnTo>
                    <a:pt x="10" y="29"/>
                  </a:lnTo>
                  <a:close/>
                  <a:moveTo>
                    <a:pt x="42" y="25"/>
                  </a:moveTo>
                  <a:lnTo>
                    <a:pt x="42" y="11"/>
                  </a:lnTo>
                  <a:lnTo>
                    <a:pt x="57" y="11"/>
                  </a:lnTo>
                  <a:lnTo>
                    <a:pt x="57" y="25"/>
                  </a:lnTo>
                  <a:lnTo>
                    <a:pt x="42" y="25"/>
                  </a:lnTo>
                  <a:close/>
                  <a:moveTo>
                    <a:pt x="57" y="36"/>
                  </a:moveTo>
                  <a:lnTo>
                    <a:pt x="57" y="53"/>
                  </a:lnTo>
                  <a:lnTo>
                    <a:pt x="42" y="53"/>
                  </a:lnTo>
                  <a:lnTo>
                    <a:pt x="42" y="36"/>
                  </a:lnTo>
                  <a:lnTo>
                    <a:pt x="57"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3" name="Freeform 79"/>
            <p:cNvSpPr>
              <a:spLocks/>
            </p:cNvSpPr>
            <p:nvPr/>
          </p:nvSpPr>
          <p:spPr bwMode="auto">
            <a:xfrm>
              <a:off x="2970" y="1429"/>
              <a:ext cx="74" cy="75"/>
            </a:xfrm>
            <a:custGeom>
              <a:avLst/>
              <a:gdLst>
                <a:gd name="T0" fmla="*/ 46 w 74"/>
                <a:gd name="T1" fmla="*/ 11 h 75"/>
                <a:gd name="T2" fmla="*/ 46 w 74"/>
                <a:gd name="T3" fmla="*/ 11 h 75"/>
                <a:gd name="T4" fmla="*/ 42 w 74"/>
                <a:gd name="T5" fmla="*/ 8 h 75"/>
                <a:gd name="T6" fmla="*/ 42 w 74"/>
                <a:gd name="T7" fmla="*/ 8 h 75"/>
                <a:gd name="T8" fmla="*/ 42 w 74"/>
                <a:gd name="T9" fmla="*/ 0 h 75"/>
                <a:gd name="T10" fmla="*/ 42 w 74"/>
                <a:gd name="T11" fmla="*/ 0 h 75"/>
                <a:gd name="T12" fmla="*/ 35 w 74"/>
                <a:gd name="T13" fmla="*/ 0 h 75"/>
                <a:gd name="T14" fmla="*/ 35 w 74"/>
                <a:gd name="T15" fmla="*/ 0 h 75"/>
                <a:gd name="T16" fmla="*/ 28 w 74"/>
                <a:gd name="T17" fmla="*/ 0 h 75"/>
                <a:gd name="T18" fmla="*/ 28 w 74"/>
                <a:gd name="T19" fmla="*/ 0 h 75"/>
                <a:gd name="T20" fmla="*/ 32 w 74"/>
                <a:gd name="T21" fmla="*/ 11 h 75"/>
                <a:gd name="T22" fmla="*/ 0 w 74"/>
                <a:gd name="T23" fmla="*/ 11 h 75"/>
                <a:gd name="T24" fmla="*/ 0 w 74"/>
                <a:gd name="T25" fmla="*/ 22 h 75"/>
                <a:gd name="T26" fmla="*/ 32 w 74"/>
                <a:gd name="T27" fmla="*/ 22 h 75"/>
                <a:gd name="T28" fmla="*/ 32 w 74"/>
                <a:gd name="T29" fmla="*/ 33 h 75"/>
                <a:gd name="T30" fmla="*/ 10 w 74"/>
                <a:gd name="T31" fmla="*/ 33 h 75"/>
                <a:gd name="T32" fmla="*/ 10 w 74"/>
                <a:gd name="T33" fmla="*/ 68 h 75"/>
                <a:gd name="T34" fmla="*/ 21 w 74"/>
                <a:gd name="T35" fmla="*/ 68 h 75"/>
                <a:gd name="T36" fmla="*/ 21 w 74"/>
                <a:gd name="T37" fmla="*/ 40 h 75"/>
                <a:gd name="T38" fmla="*/ 32 w 74"/>
                <a:gd name="T39" fmla="*/ 40 h 75"/>
                <a:gd name="T40" fmla="*/ 32 w 74"/>
                <a:gd name="T41" fmla="*/ 75 h 75"/>
                <a:gd name="T42" fmla="*/ 42 w 74"/>
                <a:gd name="T43" fmla="*/ 75 h 75"/>
                <a:gd name="T44" fmla="*/ 42 w 74"/>
                <a:gd name="T45" fmla="*/ 40 h 75"/>
                <a:gd name="T46" fmla="*/ 57 w 74"/>
                <a:gd name="T47" fmla="*/ 40 h 75"/>
                <a:gd name="T48" fmla="*/ 57 w 74"/>
                <a:gd name="T49" fmla="*/ 57 h 75"/>
                <a:gd name="T50" fmla="*/ 57 w 74"/>
                <a:gd name="T51" fmla="*/ 57 h 75"/>
                <a:gd name="T52" fmla="*/ 53 w 74"/>
                <a:gd name="T53" fmla="*/ 61 h 75"/>
                <a:gd name="T54" fmla="*/ 46 w 74"/>
                <a:gd name="T55" fmla="*/ 61 h 75"/>
                <a:gd name="T56" fmla="*/ 46 w 74"/>
                <a:gd name="T57" fmla="*/ 61 h 75"/>
                <a:gd name="T58" fmla="*/ 49 w 74"/>
                <a:gd name="T59" fmla="*/ 72 h 75"/>
                <a:gd name="T60" fmla="*/ 49 w 74"/>
                <a:gd name="T61" fmla="*/ 72 h 75"/>
                <a:gd name="T62" fmla="*/ 60 w 74"/>
                <a:gd name="T63" fmla="*/ 68 h 75"/>
                <a:gd name="T64" fmla="*/ 64 w 74"/>
                <a:gd name="T65" fmla="*/ 65 h 75"/>
                <a:gd name="T66" fmla="*/ 67 w 74"/>
                <a:gd name="T67" fmla="*/ 61 h 75"/>
                <a:gd name="T68" fmla="*/ 67 w 74"/>
                <a:gd name="T69" fmla="*/ 33 h 75"/>
                <a:gd name="T70" fmla="*/ 42 w 74"/>
                <a:gd name="T71" fmla="*/ 33 h 75"/>
                <a:gd name="T72" fmla="*/ 42 w 74"/>
                <a:gd name="T73" fmla="*/ 22 h 75"/>
                <a:gd name="T74" fmla="*/ 74 w 74"/>
                <a:gd name="T75" fmla="*/ 22 h 75"/>
                <a:gd name="T76" fmla="*/ 74 w 74"/>
                <a:gd name="T77" fmla="*/ 11 h 75"/>
                <a:gd name="T78" fmla="*/ 35 w 74"/>
                <a:gd name="T79" fmla="*/ 11 h 75"/>
                <a:gd name="T80" fmla="*/ 35 w 74"/>
                <a:gd name="T81" fmla="*/ 11 h 75"/>
                <a:gd name="T82" fmla="*/ 46 w 74"/>
                <a:gd name="T83" fmla="*/ 11 h 75"/>
                <a:gd name="T84" fmla="*/ 46 w 74"/>
                <a:gd name="T85" fmla="*/ 11 h 75"/>
                <a:gd name="T86" fmla="*/ 46 w 74"/>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4"/>
                <a:gd name="T133" fmla="*/ 0 h 75"/>
                <a:gd name="T134" fmla="*/ 74 w 74"/>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4" h="75">
                  <a:moveTo>
                    <a:pt x="46" y="11"/>
                  </a:moveTo>
                  <a:lnTo>
                    <a:pt x="46" y="11"/>
                  </a:lnTo>
                  <a:lnTo>
                    <a:pt x="42" y="8"/>
                  </a:lnTo>
                  <a:lnTo>
                    <a:pt x="42" y="0"/>
                  </a:lnTo>
                  <a:lnTo>
                    <a:pt x="35" y="0"/>
                  </a:lnTo>
                  <a:lnTo>
                    <a:pt x="28" y="0"/>
                  </a:lnTo>
                  <a:lnTo>
                    <a:pt x="32" y="11"/>
                  </a:lnTo>
                  <a:lnTo>
                    <a:pt x="0" y="11"/>
                  </a:lnTo>
                  <a:lnTo>
                    <a:pt x="0" y="22"/>
                  </a:lnTo>
                  <a:lnTo>
                    <a:pt x="32" y="22"/>
                  </a:lnTo>
                  <a:lnTo>
                    <a:pt x="32" y="33"/>
                  </a:lnTo>
                  <a:lnTo>
                    <a:pt x="10" y="33"/>
                  </a:lnTo>
                  <a:lnTo>
                    <a:pt x="10" y="68"/>
                  </a:lnTo>
                  <a:lnTo>
                    <a:pt x="21" y="68"/>
                  </a:lnTo>
                  <a:lnTo>
                    <a:pt x="21" y="40"/>
                  </a:lnTo>
                  <a:lnTo>
                    <a:pt x="32" y="40"/>
                  </a:lnTo>
                  <a:lnTo>
                    <a:pt x="32" y="75"/>
                  </a:lnTo>
                  <a:lnTo>
                    <a:pt x="42" y="75"/>
                  </a:lnTo>
                  <a:lnTo>
                    <a:pt x="42" y="40"/>
                  </a:lnTo>
                  <a:lnTo>
                    <a:pt x="57" y="40"/>
                  </a:lnTo>
                  <a:lnTo>
                    <a:pt x="57" y="57"/>
                  </a:lnTo>
                  <a:lnTo>
                    <a:pt x="53" y="61"/>
                  </a:lnTo>
                  <a:lnTo>
                    <a:pt x="46" y="61"/>
                  </a:lnTo>
                  <a:lnTo>
                    <a:pt x="49" y="72"/>
                  </a:lnTo>
                  <a:lnTo>
                    <a:pt x="60" y="68"/>
                  </a:lnTo>
                  <a:lnTo>
                    <a:pt x="64" y="65"/>
                  </a:lnTo>
                  <a:lnTo>
                    <a:pt x="67" y="61"/>
                  </a:lnTo>
                  <a:lnTo>
                    <a:pt x="67" y="33"/>
                  </a:lnTo>
                  <a:lnTo>
                    <a:pt x="42" y="33"/>
                  </a:lnTo>
                  <a:lnTo>
                    <a:pt x="42" y="22"/>
                  </a:lnTo>
                  <a:lnTo>
                    <a:pt x="74" y="22"/>
                  </a:lnTo>
                  <a:lnTo>
                    <a:pt x="74" y="11"/>
                  </a:lnTo>
                  <a:lnTo>
                    <a:pt x="35" y="11"/>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4" name="Freeform 80"/>
            <p:cNvSpPr>
              <a:spLocks noEditPoints="1"/>
            </p:cNvSpPr>
            <p:nvPr/>
          </p:nvSpPr>
          <p:spPr bwMode="auto">
            <a:xfrm>
              <a:off x="3993" y="1066"/>
              <a:ext cx="67" cy="71"/>
            </a:xfrm>
            <a:custGeom>
              <a:avLst/>
              <a:gdLst>
                <a:gd name="T0" fmla="*/ 67 w 67"/>
                <a:gd name="T1" fmla="*/ 53 h 71"/>
                <a:gd name="T2" fmla="*/ 67 w 67"/>
                <a:gd name="T3" fmla="*/ 53 h 71"/>
                <a:gd name="T4" fmla="*/ 57 w 67"/>
                <a:gd name="T5" fmla="*/ 50 h 71"/>
                <a:gd name="T6" fmla="*/ 57 w 67"/>
                <a:gd name="T7" fmla="*/ 50 h 71"/>
                <a:gd name="T8" fmla="*/ 53 w 67"/>
                <a:gd name="T9" fmla="*/ 50 h 71"/>
                <a:gd name="T10" fmla="*/ 53 w 67"/>
                <a:gd name="T11" fmla="*/ 50 h 71"/>
                <a:gd name="T12" fmla="*/ 53 w 67"/>
                <a:gd name="T13" fmla="*/ 57 h 71"/>
                <a:gd name="T14" fmla="*/ 50 w 67"/>
                <a:gd name="T15" fmla="*/ 60 h 71"/>
                <a:gd name="T16" fmla="*/ 14 w 67"/>
                <a:gd name="T17" fmla="*/ 60 h 71"/>
                <a:gd name="T18" fmla="*/ 14 w 67"/>
                <a:gd name="T19" fmla="*/ 60 h 71"/>
                <a:gd name="T20" fmla="*/ 10 w 67"/>
                <a:gd name="T21" fmla="*/ 57 h 71"/>
                <a:gd name="T22" fmla="*/ 10 w 67"/>
                <a:gd name="T23" fmla="*/ 57 h 71"/>
                <a:gd name="T24" fmla="*/ 10 w 67"/>
                <a:gd name="T25" fmla="*/ 36 h 71"/>
                <a:gd name="T26" fmla="*/ 60 w 67"/>
                <a:gd name="T27" fmla="*/ 36 h 71"/>
                <a:gd name="T28" fmla="*/ 60 w 67"/>
                <a:gd name="T29" fmla="*/ 0 h 71"/>
                <a:gd name="T30" fmla="*/ 0 w 67"/>
                <a:gd name="T31" fmla="*/ 0 h 71"/>
                <a:gd name="T32" fmla="*/ 0 w 67"/>
                <a:gd name="T33" fmla="*/ 60 h 71"/>
                <a:gd name="T34" fmla="*/ 0 w 67"/>
                <a:gd name="T35" fmla="*/ 60 h 71"/>
                <a:gd name="T36" fmla="*/ 3 w 67"/>
                <a:gd name="T37" fmla="*/ 68 h 71"/>
                <a:gd name="T38" fmla="*/ 10 w 67"/>
                <a:gd name="T39" fmla="*/ 71 h 71"/>
                <a:gd name="T40" fmla="*/ 53 w 67"/>
                <a:gd name="T41" fmla="*/ 71 h 71"/>
                <a:gd name="T42" fmla="*/ 53 w 67"/>
                <a:gd name="T43" fmla="*/ 71 h 71"/>
                <a:gd name="T44" fmla="*/ 60 w 67"/>
                <a:gd name="T45" fmla="*/ 68 h 71"/>
                <a:gd name="T46" fmla="*/ 64 w 67"/>
                <a:gd name="T47" fmla="*/ 68 h 71"/>
                <a:gd name="T48" fmla="*/ 67 w 67"/>
                <a:gd name="T49" fmla="*/ 60 h 71"/>
                <a:gd name="T50" fmla="*/ 67 w 67"/>
                <a:gd name="T51" fmla="*/ 53 h 71"/>
                <a:gd name="T52" fmla="*/ 67 w 67"/>
                <a:gd name="T53" fmla="*/ 53 h 71"/>
                <a:gd name="T54" fmla="*/ 67 w 67"/>
                <a:gd name="T55" fmla="*/ 53 h 71"/>
                <a:gd name="T56" fmla="*/ 10 w 67"/>
                <a:gd name="T57" fmla="*/ 11 h 71"/>
                <a:gd name="T58" fmla="*/ 25 w 67"/>
                <a:gd name="T59" fmla="*/ 11 h 71"/>
                <a:gd name="T60" fmla="*/ 25 w 67"/>
                <a:gd name="T61" fmla="*/ 28 h 71"/>
                <a:gd name="T62" fmla="*/ 10 w 67"/>
                <a:gd name="T63" fmla="*/ 28 h 71"/>
                <a:gd name="T64" fmla="*/ 10 w 67"/>
                <a:gd name="T65" fmla="*/ 11 h 71"/>
                <a:gd name="T66" fmla="*/ 10 w 67"/>
                <a:gd name="T67" fmla="*/ 11 h 71"/>
                <a:gd name="T68" fmla="*/ 35 w 67"/>
                <a:gd name="T69" fmla="*/ 28 h 71"/>
                <a:gd name="T70" fmla="*/ 35 w 67"/>
                <a:gd name="T71" fmla="*/ 11 h 71"/>
                <a:gd name="T72" fmla="*/ 50 w 67"/>
                <a:gd name="T73" fmla="*/ 11 h 71"/>
                <a:gd name="T74" fmla="*/ 50 w 67"/>
                <a:gd name="T75" fmla="*/ 28 h 71"/>
                <a:gd name="T76" fmla="*/ 35 w 67"/>
                <a:gd name="T77" fmla="*/ 28 h 71"/>
                <a:gd name="T78" fmla="*/ 35 w 67"/>
                <a:gd name="T79" fmla="*/ 28 h 7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67"/>
                <a:gd name="T121" fmla="*/ 0 h 71"/>
                <a:gd name="T122" fmla="*/ 67 w 67"/>
                <a:gd name="T123" fmla="*/ 71 h 71"/>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67" h="71">
                  <a:moveTo>
                    <a:pt x="67" y="53"/>
                  </a:moveTo>
                  <a:lnTo>
                    <a:pt x="67" y="53"/>
                  </a:lnTo>
                  <a:lnTo>
                    <a:pt x="57" y="50"/>
                  </a:lnTo>
                  <a:lnTo>
                    <a:pt x="53" y="50"/>
                  </a:lnTo>
                  <a:lnTo>
                    <a:pt x="53" y="57"/>
                  </a:lnTo>
                  <a:lnTo>
                    <a:pt x="50" y="60"/>
                  </a:lnTo>
                  <a:lnTo>
                    <a:pt x="14" y="60"/>
                  </a:lnTo>
                  <a:lnTo>
                    <a:pt x="10" y="57"/>
                  </a:lnTo>
                  <a:lnTo>
                    <a:pt x="10" y="36"/>
                  </a:lnTo>
                  <a:lnTo>
                    <a:pt x="60" y="36"/>
                  </a:lnTo>
                  <a:lnTo>
                    <a:pt x="60" y="0"/>
                  </a:lnTo>
                  <a:lnTo>
                    <a:pt x="0" y="0"/>
                  </a:lnTo>
                  <a:lnTo>
                    <a:pt x="0" y="60"/>
                  </a:lnTo>
                  <a:lnTo>
                    <a:pt x="3" y="68"/>
                  </a:lnTo>
                  <a:lnTo>
                    <a:pt x="10" y="71"/>
                  </a:lnTo>
                  <a:lnTo>
                    <a:pt x="53" y="71"/>
                  </a:lnTo>
                  <a:lnTo>
                    <a:pt x="60" y="68"/>
                  </a:lnTo>
                  <a:lnTo>
                    <a:pt x="64" y="68"/>
                  </a:lnTo>
                  <a:lnTo>
                    <a:pt x="67" y="60"/>
                  </a:lnTo>
                  <a:lnTo>
                    <a:pt x="67" y="53"/>
                  </a:lnTo>
                  <a:close/>
                  <a:moveTo>
                    <a:pt x="10" y="11"/>
                  </a:moveTo>
                  <a:lnTo>
                    <a:pt x="25" y="11"/>
                  </a:lnTo>
                  <a:lnTo>
                    <a:pt x="25" y="28"/>
                  </a:lnTo>
                  <a:lnTo>
                    <a:pt x="10" y="28"/>
                  </a:lnTo>
                  <a:lnTo>
                    <a:pt x="10" y="11"/>
                  </a:lnTo>
                  <a:close/>
                  <a:moveTo>
                    <a:pt x="35" y="28"/>
                  </a:moveTo>
                  <a:lnTo>
                    <a:pt x="35" y="11"/>
                  </a:lnTo>
                  <a:lnTo>
                    <a:pt x="50" y="11"/>
                  </a:lnTo>
                  <a:lnTo>
                    <a:pt x="50" y="28"/>
                  </a:lnTo>
                  <a:lnTo>
                    <a:pt x="3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5" name="Freeform 81"/>
            <p:cNvSpPr>
              <a:spLocks noEditPoints="1"/>
            </p:cNvSpPr>
            <p:nvPr/>
          </p:nvSpPr>
          <p:spPr bwMode="auto">
            <a:xfrm>
              <a:off x="4075" y="1062"/>
              <a:ext cx="67" cy="79"/>
            </a:xfrm>
            <a:custGeom>
              <a:avLst/>
              <a:gdLst>
                <a:gd name="T0" fmla="*/ 10 w 67"/>
                <a:gd name="T1" fmla="*/ 54 h 79"/>
                <a:gd name="T2" fmla="*/ 10 w 67"/>
                <a:gd name="T3" fmla="*/ 50 h 79"/>
                <a:gd name="T4" fmla="*/ 28 w 67"/>
                <a:gd name="T5" fmla="*/ 50 h 79"/>
                <a:gd name="T6" fmla="*/ 28 w 67"/>
                <a:gd name="T7" fmla="*/ 79 h 79"/>
                <a:gd name="T8" fmla="*/ 39 w 67"/>
                <a:gd name="T9" fmla="*/ 79 h 79"/>
                <a:gd name="T10" fmla="*/ 39 w 67"/>
                <a:gd name="T11" fmla="*/ 50 h 79"/>
                <a:gd name="T12" fmla="*/ 57 w 67"/>
                <a:gd name="T13" fmla="*/ 50 h 79"/>
                <a:gd name="T14" fmla="*/ 57 w 67"/>
                <a:gd name="T15" fmla="*/ 54 h 79"/>
                <a:gd name="T16" fmla="*/ 67 w 67"/>
                <a:gd name="T17" fmla="*/ 54 h 79"/>
                <a:gd name="T18" fmla="*/ 67 w 67"/>
                <a:gd name="T19" fmla="*/ 15 h 79"/>
                <a:gd name="T20" fmla="*/ 39 w 67"/>
                <a:gd name="T21" fmla="*/ 15 h 79"/>
                <a:gd name="T22" fmla="*/ 39 w 67"/>
                <a:gd name="T23" fmla="*/ 7 h 79"/>
                <a:gd name="T24" fmla="*/ 39 w 67"/>
                <a:gd name="T25" fmla="*/ 7 h 79"/>
                <a:gd name="T26" fmla="*/ 42 w 67"/>
                <a:gd name="T27" fmla="*/ 0 h 79"/>
                <a:gd name="T28" fmla="*/ 42 w 67"/>
                <a:gd name="T29" fmla="*/ 0 h 79"/>
                <a:gd name="T30" fmla="*/ 42 w 67"/>
                <a:gd name="T31" fmla="*/ 0 h 79"/>
                <a:gd name="T32" fmla="*/ 42 w 67"/>
                <a:gd name="T33" fmla="*/ 0 h 79"/>
                <a:gd name="T34" fmla="*/ 39 w 67"/>
                <a:gd name="T35" fmla="*/ 0 h 79"/>
                <a:gd name="T36" fmla="*/ 39 w 67"/>
                <a:gd name="T37" fmla="*/ 0 h 79"/>
                <a:gd name="T38" fmla="*/ 28 w 67"/>
                <a:gd name="T39" fmla="*/ 0 h 79"/>
                <a:gd name="T40" fmla="*/ 28 w 67"/>
                <a:gd name="T41" fmla="*/ 15 h 79"/>
                <a:gd name="T42" fmla="*/ 0 w 67"/>
                <a:gd name="T43" fmla="*/ 15 h 79"/>
                <a:gd name="T44" fmla="*/ 0 w 67"/>
                <a:gd name="T45" fmla="*/ 54 h 79"/>
                <a:gd name="T46" fmla="*/ 10 w 67"/>
                <a:gd name="T47" fmla="*/ 54 h 79"/>
                <a:gd name="T48" fmla="*/ 10 w 67"/>
                <a:gd name="T49" fmla="*/ 54 h 79"/>
                <a:gd name="T50" fmla="*/ 28 w 67"/>
                <a:gd name="T51" fmla="*/ 25 h 79"/>
                <a:gd name="T52" fmla="*/ 28 w 67"/>
                <a:gd name="T53" fmla="*/ 40 h 79"/>
                <a:gd name="T54" fmla="*/ 10 w 67"/>
                <a:gd name="T55" fmla="*/ 40 h 79"/>
                <a:gd name="T56" fmla="*/ 10 w 67"/>
                <a:gd name="T57" fmla="*/ 25 h 79"/>
                <a:gd name="T58" fmla="*/ 28 w 67"/>
                <a:gd name="T59" fmla="*/ 25 h 79"/>
                <a:gd name="T60" fmla="*/ 28 w 67"/>
                <a:gd name="T61" fmla="*/ 25 h 79"/>
                <a:gd name="T62" fmla="*/ 39 w 67"/>
                <a:gd name="T63" fmla="*/ 40 h 79"/>
                <a:gd name="T64" fmla="*/ 39 w 67"/>
                <a:gd name="T65" fmla="*/ 25 h 79"/>
                <a:gd name="T66" fmla="*/ 57 w 67"/>
                <a:gd name="T67" fmla="*/ 25 h 79"/>
                <a:gd name="T68" fmla="*/ 57 w 67"/>
                <a:gd name="T69" fmla="*/ 40 h 79"/>
                <a:gd name="T70" fmla="*/ 39 w 67"/>
                <a:gd name="T71" fmla="*/ 40 h 79"/>
                <a:gd name="T72" fmla="*/ 39 w 67"/>
                <a:gd name="T73" fmla="*/ 40 h 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67"/>
                <a:gd name="T112" fmla="*/ 0 h 79"/>
                <a:gd name="T113" fmla="*/ 67 w 67"/>
                <a:gd name="T114" fmla="*/ 79 h 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67" h="79">
                  <a:moveTo>
                    <a:pt x="10" y="54"/>
                  </a:moveTo>
                  <a:lnTo>
                    <a:pt x="10" y="50"/>
                  </a:lnTo>
                  <a:lnTo>
                    <a:pt x="28" y="50"/>
                  </a:lnTo>
                  <a:lnTo>
                    <a:pt x="28" y="79"/>
                  </a:lnTo>
                  <a:lnTo>
                    <a:pt x="39" y="79"/>
                  </a:lnTo>
                  <a:lnTo>
                    <a:pt x="39" y="50"/>
                  </a:lnTo>
                  <a:lnTo>
                    <a:pt x="57" y="50"/>
                  </a:lnTo>
                  <a:lnTo>
                    <a:pt x="57" y="54"/>
                  </a:lnTo>
                  <a:lnTo>
                    <a:pt x="67" y="54"/>
                  </a:lnTo>
                  <a:lnTo>
                    <a:pt x="67" y="15"/>
                  </a:lnTo>
                  <a:lnTo>
                    <a:pt x="39" y="15"/>
                  </a:lnTo>
                  <a:lnTo>
                    <a:pt x="39" y="7"/>
                  </a:lnTo>
                  <a:lnTo>
                    <a:pt x="42" y="0"/>
                  </a:lnTo>
                  <a:lnTo>
                    <a:pt x="39" y="0"/>
                  </a:lnTo>
                  <a:lnTo>
                    <a:pt x="28" y="0"/>
                  </a:lnTo>
                  <a:lnTo>
                    <a:pt x="28" y="15"/>
                  </a:lnTo>
                  <a:lnTo>
                    <a:pt x="0" y="15"/>
                  </a:lnTo>
                  <a:lnTo>
                    <a:pt x="0" y="54"/>
                  </a:lnTo>
                  <a:lnTo>
                    <a:pt x="10" y="54"/>
                  </a:lnTo>
                  <a:close/>
                  <a:moveTo>
                    <a:pt x="28" y="25"/>
                  </a:moveTo>
                  <a:lnTo>
                    <a:pt x="28" y="40"/>
                  </a:lnTo>
                  <a:lnTo>
                    <a:pt x="10" y="40"/>
                  </a:lnTo>
                  <a:lnTo>
                    <a:pt x="10" y="25"/>
                  </a:lnTo>
                  <a:lnTo>
                    <a:pt x="28" y="25"/>
                  </a:lnTo>
                  <a:close/>
                  <a:moveTo>
                    <a:pt x="39" y="40"/>
                  </a:moveTo>
                  <a:lnTo>
                    <a:pt x="39" y="25"/>
                  </a:lnTo>
                  <a:lnTo>
                    <a:pt x="57" y="25"/>
                  </a:lnTo>
                  <a:lnTo>
                    <a:pt x="57" y="40"/>
                  </a:lnTo>
                  <a:lnTo>
                    <a:pt x="39"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6" name="Freeform 82"/>
            <p:cNvSpPr>
              <a:spLocks/>
            </p:cNvSpPr>
            <p:nvPr/>
          </p:nvSpPr>
          <p:spPr bwMode="auto">
            <a:xfrm>
              <a:off x="4157" y="1062"/>
              <a:ext cx="75" cy="75"/>
            </a:xfrm>
            <a:custGeom>
              <a:avLst/>
              <a:gdLst>
                <a:gd name="T0" fmla="*/ 46 w 75"/>
                <a:gd name="T1" fmla="*/ 11 h 75"/>
                <a:gd name="T2" fmla="*/ 46 w 75"/>
                <a:gd name="T3" fmla="*/ 11 h 75"/>
                <a:gd name="T4" fmla="*/ 46 w 75"/>
                <a:gd name="T5" fmla="*/ 7 h 75"/>
                <a:gd name="T6" fmla="*/ 46 w 75"/>
                <a:gd name="T7" fmla="*/ 7 h 75"/>
                <a:gd name="T8" fmla="*/ 42 w 75"/>
                <a:gd name="T9" fmla="*/ 0 h 75"/>
                <a:gd name="T10" fmla="*/ 42 w 75"/>
                <a:gd name="T11" fmla="*/ 0 h 75"/>
                <a:gd name="T12" fmla="*/ 35 w 75"/>
                <a:gd name="T13" fmla="*/ 0 h 75"/>
                <a:gd name="T14" fmla="*/ 35 w 75"/>
                <a:gd name="T15" fmla="*/ 0 h 75"/>
                <a:gd name="T16" fmla="*/ 28 w 75"/>
                <a:gd name="T17" fmla="*/ 0 h 75"/>
                <a:gd name="T18" fmla="*/ 28 w 75"/>
                <a:gd name="T19" fmla="*/ 0 h 75"/>
                <a:gd name="T20" fmla="*/ 32 w 75"/>
                <a:gd name="T21" fmla="*/ 11 h 75"/>
                <a:gd name="T22" fmla="*/ 0 w 75"/>
                <a:gd name="T23" fmla="*/ 11 h 75"/>
                <a:gd name="T24" fmla="*/ 0 w 75"/>
                <a:gd name="T25" fmla="*/ 22 h 75"/>
                <a:gd name="T26" fmla="*/ 32 w 75"/>
                <a:gd name="T27" fmla="*/ 22 h 75"/>
                <a:gd name="T28" fmla="*/ 32 w 75"/>
                <a:gd name="T29" fmla="*/ 32 h 75"/>
                <a:gd name="T30" fmla="*/ 10 w 75"/>
                <a:gd name="T31" fmla="*/ 32 h 75"/>
                <a:gd name="T32" fmla="*/ 10 w 75"/>
                <a:gd name="T33" fmla="*/ 68 h 75"/>
                <a:gd name="T34" fmla="*/ 21 w 75"/>
                <a:gd name="T35" fmla="*/ 68 h 75"/>
                <a:gd name="T36" fmla="*/ 21 w 75"/>
                <a:gd name="T37" fmla="*/ 40 h 75"/>
                <a:gd name="T38" fmla="*/ 32 w 75"/>
                <a:gd name="T39" fmla="*/ 40 h 75"/>
                <a:gd name="T40" fmla="*/ 32 w 75"/>
                <a:gd name="T41" fmla="*/ 75 h 75"/>
                <a:gd name="T42" fmla="*/ 42 w 75"/>
                <a:gd name="T43" fmla="*/ 75 h 75"/>
                <a:gd name="T44" fmla="*/ 42 w 75"/>
                <a:gd name="T45" fmla="*/ 40 h 75"/>
                <a:gd name="T46" fmla="*/ 57 w 75"/>
                <a:gd name="T47" fmla="*/ 40 h 75"/>
                <a:gd name="T48" fmla="*/ 57 w 75"/>
                <a:gd name="T49" fmla="*/ 57 h 75"/>
                <a:gd name="T50" fmla="*/ 57 w 75"/>
                <a:gd name="T51" fmla="*/ 57 h 75"/>
                <a:gd name="T52" fmla="*/ 53 w 75"/>
                <a:gd name="T53" fmla="*/ 61 h 75"/>
                <a:gd name="T54" fmla="*/ 46 w 75"/>
                <a:gd name="T55" fmla="*/ 61 h 75"/>
                <a:gd name="T56" fmla="*/ 46 w 75"/>
                <a:gd name="T57" fmla="*/ 61 h 75"/>
                <a:gd name="T58" fmla="*/ 50 w 75"/>
                <a:gd name="T59" fmla="*/ 72 h 75"/>
                <a:gd name="T60" fmla="*/ 50 w 75"/>
                <a:gd name="T61" fmla="*/ 72 h 75"/>
                <a:gd name="T62" fmla="*/ 64 w 75"/>
                <a:gd name="T63" fmla="*/ 68 h 75"/>
                <a:gd name="T64" fmla="*/ 64 w 75"/>
                <a:gd name="T65" fmla="*/ 64 h 75"/>
                <a:gd name="T66" fmla="*/ 67 w 75"/>
                <a:gd name="T67" fmla="*/ 61 h 75"/>
                <a:gd name="T68" fmla="*/ 67 w 75"/>
                <a:gd name="T69" fmla="*/ 32 h 75"/>
                <a:gd name="T70" fmla="*/ 42 w 75"/>
                <a:gd name="T71" fmla="*/ 32 h 75"/>
                <a:gd name="T72" fmla="*/ 42 w 75"/>
                <a:gd name="T73" fmla="*/ 22 h 75"/>
                <a:gd name="T74" fmla="*/ 75 w 75"/>
                <a:gd name="T75" fmla="*/ 22 h 75"/>
                <a:gd name="T76" fmla="*/ 75 w 75"/>
                <a:gd name="T77" fmla="*/ 11 h 75"/>
                <a:gd name="T78" fmla="*/ 39 w 75"/>
                <a:gd name="T79" fmla="*/ 11 h 75"/>
                <a:gd name="T80" fmla="*/ 39 w 75"/>
                <a:gd name="T81" fmla="*/ 11 h 75"/>
                <a:gd name="T82" fmla="*/ 46 w 75"/>
                <a:gd name="T83" fmla="*/ 11 h 75"/>
                <a:gd name="T84" fmla="*/ 46 w 75"/>
                <a:gd name="T85" fmla="*/ 11 h 75"/>
                <a:gd name="T86" fmla="*/ 46 w 75"/>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5"/>
                <a:gd name="T134" fmla="*/ 75 w 75"/>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5">
                  <a:moveTo>
                    <a:pt x="46" y="11"/>
                  </a:moveTo>
                  <a:lnTo>
                    <a:pt x="46" y="11"/>
                  </a:lnTo>
                  <a:lnTo>
                    <a:pt x="46" y="7"/>
                  </a:lnTo>
                  <a:lnTo>
                    <a:pt x="42" y="0"/>
                  </a:lnTo>
                  <a:lnTo>
                    <a:pt x="35" y="0"/>
                  </a:lnTo>
                  <a:lnTo>
                    <a:pt x="28" y="0"/>
                  </a:lnTo>
                  <a:lnTo>
                    <a:pt x="32" y="11"/>
                  </a:lnTo>
                  <a:lnTo>
                    <a:pt x="0" y="11"/>
                  </a:lnTo>
                  <a:lnTo>
                    <a:pt x="0" y="22"/>
                  </a:lnTo>
                  <a:lnTo>
                    <a:pt x="32" y="22"/>
                  </a:lnTo>
                  <a:lnTo>
                    <a:pt x="32" y="32"/>
                  </a:lnTo>
                  <a:lnTo>
                    <a:pt x="10" y="32"/>
                  </a:lnTo>
                  <a:lnTo>
                    <a:pt x="10" y="68"/>
                  </a:lnTo>
                  <a:lnTo>
                    <a:pt x="21" y="68"/>
                  </a:lnTo>
                  <a:lnTo>
                    <a:pt x="21" y="40"/>
                  </a:lnTo>
                  <a:lnTo>
                    <a:pt x="32" y="40"/>
                  </a:lnTo>
                  <a:lnTo>
                    <a:pt x="32" y="75"/>
                  </a:lnTo>
                  <a:lnTo>
                    <a:pt x="42" y="75"/>
                  </a:lnTo>
                  <a:lnTo>
                    <a:pt x="42" y="40"/>
                  </a:lnTo>
                  <a:lnTo>
                    <a:pt x="57" y="40"/>
                  </a:lnTo>
                  <a:lnTo>
                    <a:pt x="57" y="57"/>
                  </a:lnTo>
                  <a:lnTo>
                    <a:pt x="53" y="61"/>
                  </a:lnTo>
                  <a:lnTo>
                    <a:pt x="46" y="61"/>
                  </a:lnTo>
                  <a:lnTo>
                    <a:pt x="50" y="72"/>
                  </a:lnTo>
                  <a:lnTo>
                    <a:pt x="64" y="68"/>
                  </a:lnTo>
                  <a:lnTo>
                    <a:pt x="64" y="64"/>
                  </a:lnTo>
                  <a:lnTo>
                    <a:pt x="67" y="61"/>
                  </a:lnTo>
                  <a:lnTo>
                    <a:pt x="67" y="32"/>
                  </a:lnTo>
                  <a:lnTo>
                    <a:pt x="42" y="32"/>
                  </a:lnTo>
                  <a:lnTo>
                    <a:pt x="42" y="22"/>
                  </a:lnTo>
                  <a:lnTo>
                    <a:pt x="75" y="22"/>
                  </a:lnTo>
                  <a:lnTo>
                    <a:pt x="75" y="11"/>
                  </a:lnTo>
                  <a:lnTo>
                    <a:pt x="39" y="11"/>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7" name="Freeform 83"/>
            <p:cNvSpPr>
              <a:spLocks noEditPoints="1"/>
            </p:cNvSpPr>
            <p:nvPr/>
          </p:nvSpPr>
          <p:spPr bwMode="auto">
            <a:xfrm>
              <a:off x="4189" y="1258"/>
              <a:ext cx="82" cy="75"/>
            </a:xfrm>
            <a:custGeom>
              <a:avLst/>
              <a:gdLst>
                <a:gd name="T0" fmla="*/ 14 w 82"/>
                <a:gd name="T1" fmla="*/ 22 h 75"/>
                <a:gd name="T2" fmla="*/ 25 w 82"/>
                <a:gd name="T3" fmla="*/ 15 h 75"/>
                <a:gd name="T4" fmla="*/ 21 w 82"/>
                <a:gd name="T5" fmla="*/ 4 h 75"/>
                <a:gd name="T6" fmla="*/ 7 w 82"/>
                <a:gd name="T7" fmla="*/ 4 h 75"/>
                <a:gd name="T8" fmla="*/ 14 w 82"/>
                <a:gd name="T9" fmla="*/ 22 h 75"/>
                <a:gd name="T10" fmla="*/ 14 w 82"/>
                <a:gd name="T11" fmla="*/ 22 h 75"/>
                <a:gd name="T12" fmla="*/ 3 w 82"/>
                <a:gd name="T13" fmla="*/ 36 h 75"/>
                <a:gd name="T14" fmla="*/ 14 w 82"/>
                <a:gd name="T15" fmla="*/ 57 h 75"/>
                <a:gd name="T16" fmla="*/ 7 w 82"/>
                <a:gd name="T17" fmla="*/ 65 h 75"/>
                <a:gd name="T18" fmla="*/ 0 w 82"/>
                <a:gd name="T19" fmla="*/ 68 h 75"/>
                <a:gd name="T20" fmla="*/ 10 w 82"/>
                <a:gd name="T21" fmla="*/ 75 h 75"/>
                <a:gd name="T22" fmla="*/ 10 w 82"/>
                <a:gd name="T23" fmla="*/ 72 h 75"/>
                <a:gd name="T24" fmla="*/ 18 w 82"/>
                <a:gd name="T25" fmla="*/ 65 h 75"/>
                <a:gd name="T26" fmla="*/ 21 w 82"/>
                <a:gd name="T27" fmla="*/ 68 h 75"/>
                <a:gd name="T28" fmla="*/ 28 w 82"/>
                <a:gd name="T29" fmla="*/ 72 h 75"/>
                <a:gd name="T30" fmla="*/ 75 w 82"/>
                <a:gd name="T31" fmla="*/ 75 h 75"/>
                <a:gd name="T32" fmla="*/ 82 w 82"/>
                <a:gd name="T33" fmla="*/ 61 h 75"/>
                <a:gd name="T34" fmla="*/ 43 w 82"/>
                <a:gd name="T35" fmla="*/ 65 h 75"/>
                <a:gd name="T36" fmla="*/ 28 w 82"/>
                <a:gd name="T37" fmla="*/ 61 h 75"/>
                <a:gd name="T38" fmla="*/ 25 w 82"/>
                <a:gd name="T39" fmla="*/ 54 h 75"/>
                <a:gd name="T40" fmla="*/ 25 w 82"/>
                <a:gd name="T41" fmla="*/ 25 h 75"/>
                <a:gd name="T42" fmla="*/ 3 w 82"/>
                <a:gd name="T43" fmla="*/ 25 h 75"/>
                <a:gd name="T44" fmla="*/ 25 w 82"/>
                <a:gd name="T45" fmla="*/ 54 h 75"/>
                <a:gd name="T46" fmla="*/ 35 w 82"/>
                <a:gd name="T47" fmla="*/ 61 h 75"/>
                <a:gd name="T48" fmla="*/ 50 w 82"/>
                <a:gd name="T49" fmla="*/ 43 h 75"/>
                <a:gd name="T50" fmla="*/ 67 w 82"/>
                <a:gd name="T51" fmla="*/ 61 h 75"/>
                <a:gd name="T52" fmla="*/ 78 w 82"/>
                <a:gd name="T53" fmla="*/ 50 h 75"/>
                <a:gd name="T54" fmla="*/ 60 w 82"/>
                <a:gd name="T55" fmla="*/ 36 h 75"/>
                <a:gd name="T56" fmla="*/ 53 w 82"/>
                <a:gd name="T57" fmla="*/ 32 h 75"/>
                <a:gd name="T58" fmla="*/ 53 w 82"/>
                <a:gd name="T59" fmla="*/ 29 h 75"/>
                <a:gd name="T60" fmla="*/ 53 w 82"/>
                <a:gd name="T61" fmla="*/ 29 h 75"/>
                <a:gd name="T62" fmla="*/ 75 w 82"/>
                <a:gd name="T63" fmla="*/ 18 h 75"/>
                <a:gd name="T64" fmla="*/ 57 w 82"/>
                <a:gd name="T65" fmla="*/ 4 h 75"/>
                <a:gd name="T66" fmla="*/ 57 w 82"/>
                <a:gd name="T67" fmla="*/ 0 h 75"/>
                <a:gd name="T68" fmla="*/ 57 w 82"/>
                <a:gd name="T69" fmla="*/ 0 h 75"/>
                <a:gd name="T70" fmla="*/ 50 w 82"/>
                <a:gd name="T71" fmla="*/ 0 h 75"/>
                <a:gd name="T72" fmla="*/ 43 w 82"/>
                <a:gd name="T73" fmla="*/ 18 h 75"/>
                <a:gd name="T74" fmla="*/ 25 w 82"/>
                <a:gd name="T75" fmla="*/ 29 h 75"/>
                <a:gd name="T76" fmla="*/ 43 w 82"/>
                <a:gd name="T77" fmla="*/ 29 h 75"/>
                <a:gd name="T78" fmla="*/ 25 w 82"/>
                <a:gd name="T79" fmla="*/ 54 h 75"/>
                <a:gd name="T80" fmla="*/ 25 w 82"/>
                <a:gd name="T81" fmla="*/ 54 h 7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2"/>
                <a:gd name="T124" fmla="*/ 0 h 75"/>
                <a:gd name="T125" fmla="*/ 82 w 82"/>
                <a:gd name="T126" fmla="*/ 75 h 7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2" h="75">
                  <a:moveTo>
                    <a:pt x="14" y="22"/>
                  </a:moveTo>
                  <a:lnTo>
                    <a:pt x="14" y="22"/>
                  </a:lnTo>
                  <a:lnTo>
                    <a:pt x="25" y="15"/>
                  </a:lnTo>
                  <a:lnTo>
                    <a:pt x="21" y="4"/>
                  </a:lnTo>
                  <a:lnTo>
                    <a:pt x="18" y="0"/>
                  </a:lnTo>
                  <a:lnTo>
                    <a:pt x="7" y="4"/>
                  </a:lnTo>
                  <a:lnTo>
                    <a:pt x="14" y="22"/>
                  </a:lnTo>
                  <a:close/>
                  <a:moveTo>
                    <a:pt x="3" y="25"/>
                  </a:moveTo>
                  <a:lnTo>
                    <a:pt x="3" y="36"/>
                  </a:lnTo>
                  <a:lnTo>
                    <a:pt x="14" y="36"/>
                  </a:lnTo>
                  <a:lnTo>
                    <a:pt x="14" y="57"/>
                  </a:lnTo>
                  <a:lnTo>
                    <a:pt x="7" y="65"/>
                  </a:lnTo>
                  <a:lnTo>
                    <a:pt x="0" y="68"/>
                  </a:lnTo>
                  <a:lnTo>
                    <a:pt x="10" y="75"/>
                  </a:lnTo>
                  <a:lnTo>
                    <a:pt x="10" y="72"/>
                  </a:lnTo>
                  <a:lnTo>
                    <a:pt x="18" y="65"/>
                  </a:lnTo>
                  <a:lnTo>
                    <a:pt x="21" y="68"/>
                  </a:lnTo>
                  <a:lnTo>
                    <a:pt x="28" y="72"/>
                  </a:lnTo>
                  <a:lnTo>
                    <a:pt x="75" y="75"/>
                  </a:lnTo>
                  <a:lnTo>
                    <a:pt x="82" y="61"/>
                  </a:lnTo>
                  <a:lnTo>
                    <a:pt x="43" y="65"/>
                  </a:lnTo>
                  <a:lnTo>
                    <a:pt x="28" y="61"/>
                  </a:lnTo>
                  <a:lnTo>
                    <a:pt x="25" y="57"/>
                  </a:lnTo>
                  <a:lnTo>
                    <a:pt x="25" y="54"/>
                  </a:lnTo>
                  <a:lnTo>
                    <a:pt x="25" y="25"/>
                  </a:lnTo>
                  <a:lnTo>
                    <a:pt x="3" y="25"/>
                  </a:lnTo>
                  <a:close/>
                  <a:moveTo>
                    <a:pt x="25" y="54"/>
                  </a:moveTo>
                  <a:lnTo>
                    <a:pt x="25" y="54"/>
                  </a:lnTo>
                  <a:lnTo>
                    <a:pt x="35" y="61"/>
                  </a:lnTo>
                  <a:lnTo>
                    <a:pt x="43" y="54"/>
                  </a:lnTo>
                  <a:lnTo>
                    <a:pt x="50" y="43"/>
                  </a:lnTo>
                  <a:lnTo>
                    <a:pt x="67" y="61"/>
                  </a:lnTo>
                  <a:lnTo>
                    <a:pt x="78" y="50"/>
                  </a:lnTo>
                  <a:lnTo>
                    <a:pt x="60" y="36"/>
                  </a:lnTo>
                  <a:lnTo>
                    <a:pt x="53" y="32"/>
                  </a:lnTo>
                  <a:lnTo>
                    <a:pt x="53" y="29"/>
                  </a:lnTo>
                  <a:lnTo>
                    <a:pt x="75" y="29"/>
                  </a:lnTo>
                  <a:lnTo>
                    <a:pt x="75" y="18"/>
                  </a:lnTo>
                  <a:lnTo>
                    <a:pt x="57" y="18"/>
                  </a:lnTo>
                  <a:lnTo>
                    <a:pt x="57" y="4"/>
                  </a:lnTo>
                  <a:lnTo>
                    <a:pt x="57" y="0"/>
                  </a:lnTo>
                  <a:lnTo>
                    <a:pt x="50" y="0"/>
                  </a:lnTo>
                  <a:lnTo>
                    <a:pt x="43" y="0"/>
                  </a:lnTo>
                  <a:lnTo>
                    <a:pt x="43" y="18"/>
                  </a:lnTo>
                  <a:lnTo>
                    <a:pt x="25" y="18"/>
                  </a:lnTo>
                  <a:lnTo>
                    <a:pt x="25" y="29"/>
                  </a:lnTo>
                  <a:lnTo>
                    <a:pt x="43" y="29"/>
                  </a:lnTo>
                  <a:lnTo>
                    <a:pt x="39" y="43"/>
                  </a:lnTo>
                  <a:lnTo>
                    <a:pt x="25"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8" name="Freeform 84"/>
            <p:cNvSpPr>
              <a:spLocks noEditPoints="1"/>
            </p:cNvSpPr>
            <p:nvPr/>
          </p:nvSpPr>
          <p:spPr bwMode="auto">
            <a:xfrm>
              <a:off x="4278" y="1258"/>
              <a:ext cx="71" cy="75"/>
            </a:xfrm>
            <a:custGeom>
              <a:avLst/>
              <a:gdLst>
                <a:gd name="T0" fmla="*/ 57 w 71"/>
                <a:gd name="T1" fmla="*/ 18 h 75"/>
                <a:gd name="T2" fmla="*/ 46 w 71"/>
                <a:gd name="T3" fmla="*/ 11 h 75"/>
                <a:gd name="T4" fmla="*/ 46 w 71"/>
                <a:gd name="T5" fmla="*/ 7 h 75"/>
                <a:gd name="T6" fmla="*/ 50 w 71"/>
                <a:gd name="T7" fmla="*/ 4 h 75"/>
                <a:gd name="T8" fmla="*/ 46 w 71"/>
                <a:gd name="T9" fmla="*/ 4 h 75"/>
                <a:gd name="T10" fmla="*/ 39 w 71"/>
                <a:gd name="T11" fmla="*/ 4 h 75"/>
                <a:gd name="T12" fmla="*/ 39 w 71"/>
                <a:gd name="T13" fmla="*/ 36 h 75"/>
                <a:gd name="T14" fmla="*/ 32 w 71"/>
                <a:gd name="T15" fmla="*/ 18 h 75"/>
                <a:gd name="T16" fmla="*/ 25 w 71"/>
                <a:gd name="T17" fmla="*/ 7 h 75"/>
                <a:gd name="T18" fmla="*/ 25 w 71"/>
                <a:gd name="T19" fmla="*/ 4 h 75"/>
                <a:gd name="T20" fmla="*/ 25 w 71"/>
                <a:gd name="T21" fmla="*/ 0 h 75"/>
                <a:gd name="T22" fmla="*/ 25 w 71"/>
                <a:gd name="T23" fmla="*/ 0 h 75"/>
                <a:gd name="T24" fmla="*/ 14 w 71"/>
                <a:gd name="T25" fmla="*/ 0 h 75"/>
                <a:gd name="T26" fmla="*/ 14 w 71"/>
                <a:gd name="T27" fmla="*/ 43 h 75"/>
                <a:gd name="T28" fmla="*/ 11 w 71"/>
                <a:gd name="T29" fmla="*/ 57 h 75"/>
                <a:gd name="T30" fmla="*/ 0 w 71"/>
                <a:gd name="T31" fmla="*/ 68 h 75"/>
                <a:gd name="T32" fmla="*/ 11 w 71"/>
                <a:gd name="T33" fmla="*/ 75 h 75"/>
                <a:gd name="T34" fmla="*/ 18 w 71"/>
                <a:gd name="T35" fmla="*/ 65 h 75"/>
                <a:gd name="T36" fmla="*/ 21 w 71"/>
                <a:gd name="T37" fmla="*/ 57 h 75"/>
                <a:gd name="T38" fmla="*/ 25 w 71"/>
                <a:gd name="T39" fmla="*/ 25 h 75"/>
                <a:gd name="T40" fmla="*/ 28 w 71"/>
                <a:gd name="T41" fmla="*/ 47 h 75"/>
                <a:gd name="T42" fmla="*/ 36 w 71"/>
                <a:gd name="T43" fmla="*/ 47 h 75"/>
                <a:gd name="T44" fmla="*/ 39 w 71"/>
                <a:gd name="T45" fmla="*/ 43 h 75"/>
                <a:gd name="T46" fmla="*/ 46 w 71"/>
                <a:gd name="T47" fmla="*/ 72 h 75"/>
                <a:gd name="T48" fmla="*/ 46 w 71"/>
                <a:gd name="T49" fmla="*/ 22 h 75"/>
                <a:gd name="T50" fmla="*/ 53 w 71"/>
                <a:gd name="T51" fmla="*/ 47 h 75"/>
                <a:gd name="T52" fmla="*/ 60 w 71"/>
                <a:gd name="T53" fmla="*/ 75 h 75"/>
                <a:gd name="T54" fmla="*/ 71 w 71"/>
                <a:gd name="T55" fmla="*/ 7 h 75"/>
                <a:gd name="T56" fmla="*/ 71 w 71"/>
                <a:gd name="T57" fmla="*/ 0 h 75"/>
                <a:gd name="T58" fmla="*/ 71 w 71"/>
                <a:gd name="T59" fmla="*/ 0 h 75"/>
                <a:gd name="T60" fmla="*/ 71 w 71"/>
                <a:gd name="T61" fmla="*/ 0 h 75"/>
                <a:gd name="T62" fmla="*/ 60 w 71"/>
                <a:gd name="T63" fmla="*/ 0 h 75"/>
                <a:gd name="T64" fmla="*/ 60 w 71"/>
                <a:gd name="T65" fmla="*/ 36 h 75"/>
                <a:gd name="T66" fmla="*/ 57 w 71"/>
                <a:gd name="T67" fmla="*/ 18 h 75"/>
                <a:gd name="T68" fmla="*/ 11 w 71"/>
                <a:gd name="T69" fmla="*/ 36 h 75"/>
                <a:gd name="T70" fmla="*/ 14 w 71"/>
                <a:gd name="T71" fmla="*/ 22 h 75"/>
                <a:gd name="T72" fmla="*/ 3 w 71"/>
                <a:gd name="T73" fmla="*/ 18 h 75"/>
                <a:gd name="T74" fmla="*/ 3 w 71"/>
                <a:gd name="T75" fmla="*/ 22 h 75"/>
                <a:gd name="T76" fmla="*/ 0 w 71"/>
                <a:gd name="T77" fmla="*/ 43 h 75"/>
                <a:gd name="T78" fmla="*/ 11 w 71"/>
                <a:gd name="T79" fmla="*/ 47 h 75"/>
                <a:gd name="T80" fmla="*/ 11 w 71"/>
                <a:gd name="T81" fmla="*/ 36 h 75"/>
                <a:gd name="T82" fmla="*/ 11 w 71"/>
                <a:gd name="T83" fmla="*/ 36 h 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75"/>
                <a:gd name="T128" fmla="*/ 71 w 71"/>
                <a:gd name="T129" fmla="*/ 75 h 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75">
                  <a:moveTo>
                    <a:pt x="57" y="18"/>
                  </a:moveTo>
                  <a:lnTo>
                    <a:pt x="57" y="18"/>
                  </a:lnTo>
                  <a:lnTo>
                    <a:pt x="46" y="22"/>
                  </a:lnTo>
                  <a:lnTo>
                    <a:pt x="46" y="11"/>
                  </a:lnTo>
                  <a:lnTo>
                    <a:pt x="46" y="7"/>
                  </a:lnTo>
                  <a:lnTo>
                    <a:pt x="50" y="4"/>
                  </a:lnTo>
                  <a:lnTo>
                    <a:pt x="46" y="4"/>
                  </a:lnTo>
                  <a:lnTo>
                    <a:pt x="39" y="4"/>
                  </a:lnTo>
                  <a:lnTo>
                    <a:pt x="39" y="36"/>
                  </a:lnTo>
                  <a:lnTo>
                    <a:pt x="32" y="18"/>
                  </a:lnTo>
                  <a:lnTo>
                    <a:pt x="25" y="22"/>
                  </a:lnTo>
                  <a:lnTo>
                    <a:pt x="25" y="7"/>
                  </a:lnTo>
                  <a:lnTo>
                    <a:pt x="25" y="4"/>
                  </a:lnTo>
                  <a:lnTo>
                    <a:pt x="25" y="0"/>
                  </a:lnTo>
                  <a:lnTo>
                    <a:pt x="14" y="0"/>
                  </a:lnTo>
                  <a:lnTo>
                    <a:pt x="14" y="43"/>
                  </a:lnTo>
                  <a:lnTo>
                    <a:pt x="14" y="50"/>
                  </a:lnTo>
                  <a:lnTo>
                    <a:pt x="11" y="57"/>
                  </a:lnTo>
                  <a:lnTo>
                    <a:pt x="0" y="68"/>
                  </a:lnTo>
                  <a:lnTo>
                    <a:pt x="11" y="75"/>
                  </a:lnTo>
                  <a:lnTo>
                    <a:pt x="18" y="65"/>
                  </a:lnTo>
                  <a:lnTo>
                    <a:pt x="21" y="57"/>
                  </a:lnTo>
                  <a:lnTo>
                    <a:pt x="25" y="40"/>
                  </a:lnTo>
                  <a:lnTo>
                    <a:pt x="25" y="25"/>
                  </a:lnTo>
                  <a:lnTo>
                    <a:pt x="28" y="47"/>
                  </a:lnTo>
                  <a:lnTo>
                    <a:pt x="36" y="47"/>
                  </a:lnTo>
                  <a:lnTo>
                    <a:pt x="39" y="43"/>
                  </a:lnTo>
                  <a:lnTo>
                    <a:pt x="36" y="72"/>
                  </a:lnTo>
                  <a:lnTo>
                    <a:pt x="46" y="72"/>
                  </a:lnTo>
                  <a:lnTo>
                    <a:pt x="46" y="22"/>
                  </a:lnTo>
                  <a:lnTo>
                    <a:pt x="53" y="47"/>
                  </a:lnTo>
                  <a:lnTo>
                    <a:pt x="60" y="43"/>
                  </a:lnTo>
                  <a:lnTo>
                    <a:pt x="60" y="75"/>
                  </a:lnTo>
                  <a:lnTo>
                    <a:pt x="71" y="75"/>
                  </a:lnTo>
                  <a:lnTo>
                    <a:pt x="71" y="7"/>
                  </a:lnTo>
                  <a:lnTo>
                    <a:pt x="71" y="0"/>
                  </a:lnTo>
                  <a:lnTo>
                    <a:pt x="60" y="0"/>
                  </a:lnTo>
                  <a:lnTo>
                    <a:pt x="60" y="36"/>
                  </a:lnTo>
                  <a:lnTo>
                    <a:pt x="57" y="18"/>
                  </a:lnTo>
                  <a:close/>
                  <a:moveTo>
                    <a:pt x="11" y="36"/>
                  </a:moveTo>
                  <a:lnTo>
                    <a:pt x="11" y="36"/>
                  </a:lnTo>
                  <a:lnTo>
                    <a:pt x="14" y="22"/>
                  </a:lnTo>
                  <a:lnTo>
                    <a:pt x="3" y="18"/>
                  </a:lnTo>
                  <a:lnTo>
                    <a:pt x="3" y="22"/>
                  </a:lnTo>
                  <a:lnTo>
                    <a:pt x="0" y="43"/>
                  </a:lnTo>
                  <a:lnTo>
                    <a:pt x="11" y="47"/>
                  </a:lnTo>
                  <a:lnTo>
                    <a:pt x="1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89" name="Freeform 85"/>
            <p:cNvSpPr>
              <a:spLocks/>
            </p:cNvSpPr>
            <p:nvPr/>
          </p:nvSpPr>
          <p:spPr bwMode="auto">
            <a:xfrm>
              <a:off x="4363" y="1255"/>
              <a:ext cx="75" cy="78"/>
            </a:xfrm>
            <a:custGeom>
              <a:avLst/>
              <a:gdLst>
                <a:gd name="T0" fmla="*/ 47 w 75"/>
                <a:gd name="T1" fmla="*/ 10 h 78"/>
                <a:gd name="T2" fmla="*/ 47 w 75"/>
                <a:gd name="T3" fmla="*/ 10 h 78"/>
                <a:gd name="T4" fmla="*/ 43 w 75"/>
                <a:gd name="T5" fmla="*/ 7 h 78"/>
                <a:gd name="T6" fmla="*/ 43 w 75"/>
                <a:gd name="T7" fmla="*/ 7 h 78"/>
                <a:gd name="T8" fmla="*/ 43 w 75"/>
                <a:gd name="T9" fmla="*/ 0 h 78"/>
                <a:gd name="T10" fmla="*/ 43 w 75"/>
                <a:gd name="T11" fmla="*/ 0 h 78"/>
                <a:gd name="T12" fmla="*/ 36 w 75"/>
                <a:gd name="T13" fmla="*/ 3 h 78"/>
                <a:gd name="T14" fmla="*/ 36 w 75"/>
                <a:gd name="T15" fmla="*/ 3 h 78"/>
                <a:gd name="T16" fmla="*/ 29 w 75"/>
                <a:gd name="T17" fmla="*/ 3 h 78"/>
                <a:gd name="T18" fmla="*/ 29 w 75"/>
                <a:gd name="T19" fmla="*/ 3 h 78"/>
                <a:gd name="T20" fmla="*/ 33 w 75"/>
                <a:gd name="T21" fmla="*/ 14 h 78"/>
                <a:gd name="T22" fmla="*/ 0 w 75"/>
                <a:gd name="T23" fmla="*/ 14 h 78"/>
                <a:gd name="T24" fmla="*/ 0 w 75"/>
                <a:gd name="T25" fmla="*/ 25 h 78"/>
                <a:gd name="T26" fmla="*/ 33 w 75"/>
                <a:gd name="T27" fmla="*/ 25 h 78"/>
                <a:gd name="T28" fmla="*/ 33 w 75"/>
                <a:gd name="T29" fmla="*/ 32 h 78"/>
                <a:gd name="T30" fmla="*/ 11 w 75"/>
                <a:gd name="T31" fmla="*/ 32 h 78"/>
                <a:gd name="T32" fmla="*/ 11 w 75"/>
                <a:gd name="T33" fmla="*/ 71 h 78"/>
                <a:gd name="T34" fmla="*/ 22 w 75"/>
                <a:gd name="T35" fmla="*/ 71 h 78"/>
                <a:gd name="T36" fmla="*/ 22 w 75"/>
                <a:gd name="T37" fmla="*/ 43 h 78"/>
                <a:gd name="T38" fmla="*/ 33 w 75"/>
                <a:gd name="T39" fmla="*/ 43 h 78"/>
                <a:gd name="T40" fmla="*/ 33 w 75"/>
                <a:gd name="T41" fmla="*/ 78 h 78"/>
                <a:gd name="T42" fmla="*/ 43 w 75"/>
                <a:gd name="T43" fmla="*/ 78 h 78"/>
                <a:gd name="T44" fmla="*/ 43 w 75"/>
                <a:gd name="T45" fmla="*/ 43 h 78"/>
                <a:gd name="T46" fmla="*/ 57 w 75"/>
                <a:gd name="T47" fmla="*/ 43 h 78"/>
                <a:gd name="T48" fmla="*/ 57 w 75"/>
                <a:gd name="T49" fmla="*/ 60 h 78"/>
                <a:gd name="T50" fmla="*/ 57 w 75"/>
                <a:gd name="T51" fmla="*/ 60 h 78"/>
                <a:gd name="T52" fmla="*/ 54 w 75"/>
                <a:gd name="T53" fmla="*/ 60 h 78"/>
                <a:gd name="T54" fmla="*/ 47 w 75"/>
                <a:gd name="T55" fmla="*/ 60 h 78"/>
                <a:gd name="T56" fmla="*/ 47 w 75"/>
                <a:gd name="T57" fmla="*/ 60 h 78"/>
                <a:gd name="T58" fmla="*/ 50 w 75"/>
                <a:gd name="T59" fmla="*/ 71 h 78"/>
                <a:gd name="T60" fmla="*/ 50 w 75"/>
                <a:gd name="T61" fmla="*/ 71 h 78"/>
                <a:gd name="T62" fmla="*/ 65 w 75"/>
                <a:gd name="T63" fmla="*/ 71 h 78"/>
                <a:gd name="T64" fmla="*/ 65 w 75"/>
                <a:gd name="T65" fmla="*/ 68 h 78"/>
                <a:gd name="T66" fmla="*/ 68 w 75"/>
                <a:gd name="T67" fmla="*/ 64 h 78"/>
                <a:gd name="T68" fmla="*/ 68 w 75"/>
                <a:gd name="T69" fmla="*/ 32 h 78"/>
                <a:gd name="T70" fmla="*/ 43 w 75"/>
                <a:gd name="T71" fmla="*/ 32 h 78"/>
                <a:gd name="T72" fmla="*/ 43 w 75"/>
                <a:gd name="T73" fmla="*/ 25 h 78"/>
                <a:gd name="T74" fmla="*/ 75 w 75"/>
                <a:gd name="T75" fmla="*/ 25 h 78"/>
                <a:gd name="T76" fmla="*/ 75 w 75"/>
                <a:gd name="T77" fmla="*/ 14 h 78"/>
                <a:gd name="T78" fmla="*/ 40 w 75"/>
                <a:gd name="T79" fmla="*/ 14 h 78"/>
                <a:gd name="T80" fmla="*/ 40 w 75"/>
                <a:gd name="T81" fmla="*/ 14 h 78"/>
                <a:gd name="T82" fmla="*/ 47 w 75"/>
                <a:gd name="T83" fmla="*/ 10 h 78"/>
                <a:gd name="T84" fmla="*/ 47 w 75"/>
                <a:gd name="T85" fmla="*/ 10 h 78"/>
                <a:gd name="T86" fmla="*/ 47 w 75"/>
                <a:gd name="T87" fmla="*/ 10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8"/>
                <a:gd name="T134" fmla="*/ 75 w 75"/>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8">
                  <a:moveTo>
                    <a:pt x="47" y="10"/>
                  </a:moveTo>
                  <a:lnTo>
                    <a:pt x="47" y="10"/>
                  </a:lnTo>
                  <a:lnTo>
                    <a:pt x="43" y="7"/>
                  </a:lnTo>
                  <a:lnTo>
                    <a:pt x="43" y="0"/>
                  </a:lnTo>
                  <a:lnTo>
                    <a:pt x="36" y="3"/>
                  </a:lnTo>
                  <a:lnTo>
                    <a:pt x="29" y="3"/>
                  </a:lnTo>
                  <a:lnTo>
                    <a:pt x="33" y="14"/>
                  </a:lnTo>
                  <a:lnTo>
                    <a:pt x="0" y="14"/>
                  </a:lnTo>
                  <a:lnTo>
                    <a:pt x="0" y="25"/>
                  </a:lnTo>
                  <a:lnTo>
                    <a:pt x="33" y="25"/>
                  </a:lnTo>
                  <a:lnTo>
                    <a:pt x="33" y="32"/>
                  </a:lnTo>
                  <a:lnTo>
                    <a:pt x="11" y="32"/>
                  </a:lnTo>
                  <a:lnTo>
                    <a:pt x="11" y="71"/>
                  </a:lnTo>
                  <a:lnTo>
                    <a:pt x="22" y="71"/>
                  </a:lnTo>
                  <a:lnTo>
                    <a:pt x="22" y="43"/>
                  </a:lnTo>
                  <a:lnTo>
                    <a:pt x="33" y="43"/>
                  </a:lnTo>
                  <a:lnTo>
                    <a:pt x="33" y="78"/>
                  </a:lnTo>
                  <a:lnTo>
                    <a:pt x="43" y="78"/>
                  </a:lnTo>
                  <a:lnTo>
                    <a:pt x="43" y="43"/>
                  </a:lnTo>
                  <a:lnTo>
                    <a:pt x="57" y="43"/>
                  </a:lnTo>
                  <a:lnTo>
                    <a:pt x="57" y="60"/>
                  </a:lnTo>
                  <a:lnTo>
                    <a:pt x="54" y="60"/>
                  </a:lnTo>
                  <a:lnTo>
                    <a:pt x="47" y="60"/>
                  </a:lnTo>
                  <a:lnTo>
                    <a:pt x="50" y="71"/>
                  </a:lnTo>
                  <a:lnTo>
                    <a:pt x="65" y="71"/>
                  </a:lnTo>
                  <a:lnTo>
                    <a:pt x="65" y="68"/>
                  </a:lnTo>
                  <a:lnTo>
                    <a:pt x="68" y="64"/>
                  </a:lnTo>
                  <a:lnTo>
                    <a:pt x="68" y="32"/>
                  </a:lnTo>
                  <a:lnTo>
                    <a:pt x="43" y="32"/>
                  </a:lnTo>
                  <a:lnTo>
                    <a:pt x="43" y="25"/>
                  </a:lnTo>
                  <a:lnTo>
                    <a:pt x="75" y="25"/>
                  </a:lnTo>
                  <a:lnTo>
                    <a:pt x="75" y="14"/>
                  </a:lnTo>
                  <a:lnTo>
                    <a:pt x="40" y="14"/>
                  </a:lnTo>
                  <a:lnTo>
                    <a:pt x="4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0" name="Freeform 86"/>
            <p:cNvSpPr>
              <a:spLocks/>
            </p:cNvSpPr>
            <p:nvPr/>
          </p:nvSpPr>
          <p:spPr bwMode="auto">
            <a:xfrm>
              <a:off x="3401" y="920"/>
              <a:ext cx="75" cy="78"/>
            </a:xfrm>
            <a:custGeom>
              <a:avLst/>
              <a:gdLst>
                <a:gd name="T0" fmla="*/ 39 w 75"/>
                <a:gd name="T1" fmla="*/ 10 h 78"/>
                <a:gd name="T2" fmla="*/ 11 w 75"/>
                <a:gd name="T3" fmla="*/ 10 h 78"/>
                <a:gd name="T4" fmla="*/ 11 w 75"/>
                <a:gd name="T5" fmla="*/ 35 h 78"/>
                <a:gd name="T6" fmla="*/ 11 w 75"/>
                <a:gd name="T7" fmla="*/ 35 h 78"/>
                <a:gd name="T8" fmla="*/ 7 w 75"/>
                <a:gd name="T9" fmla="*/ 57 h 78"/>
                <a:gd name="T10" fmla="*/ 0 w 75"/>
                <a:gd name="T11" fmla="*/ 71 h 78"/>
                <a:gd name="T12" fmla="*/ 0 w 75"/>
                <a:gd name="T13" fmla="*/ 71 h 78"/>
                <a:gd name="T14" fmla="*/ 11 w 75"/>
                <a:gd name="T15" fmla="*/ 78 h 78"/>
                <a:gd name="T16" fmla="*/ 11 w 75"/>
                <a:gd name="T17" fmla="*/ 78 h 78"/>
                <a:gd name="T18" fmla="*/ 18 w 75"/>
                <a:gd name="T19" fmla="*/ 60 h 78"/>
                <a:gd name="T20" fmla="*/ 21 w 75"/>
                <a:gd name="T21" fmla="*/ 42 h 78"/>
                <a:gd name="T22" fmla="*/ 21 w 75"/>
                <a:gd name="T23" fmla="*/ 21 h 78"/>
                <a:gd name="T24" fmla="*/ 75 w 75"/>
                <a:gd name="T25" fmla="*/ 21 h 78"/>
                <a:gd name="T26" fmla="*/ 75 w 75"/>
                <a:gd name="T27" fmla="*/ 10 h 78"/>
                <a:gd name="T28" fmla="*/ 43 w 75"/>
                <a:gd name="T29" fmla="*/ 10 h 78"/>
                <a:gd name="T30" fmla="*/ 50 w 75"/>
                <a:gd name="T31" fmla="*/ 10 h 78"/>
                <a:gd name="T32" fmla="*/ 50 w 75"/>
                <a:gd name="T33" fmla="*/ 10 h 78"/>
                <a:gd name="T34" fmla="*/ 46 w 75"/>
                <a:gd name="T35" fmla="*/ 0 h 78"/>
                <a:gd name="T36" fmla="*/ 32 w 75"/>
                <a:gd name="T37" fmla="*/ 0 h 78"/>
                <a:gd name="T38" fmla="*/ 32 w 75"/>
                <a:gd name="T39" fmla="*/ 0 h 78"/>
                <a:gd name="T40" fmla="*/ 39 w 75"/>
                <a:gd name="T41" fmla="*/ 10 h 78"/>
                <a:gd name="T42" fmla="*/ 39 w 75"/>
                <a:gd name="T43" fmla="*/ 10 h 78"/>
                <a:gd name="T44" fmla="*/ 39 w 75"/>
                <a:gd name="T45" fmla="*/ 10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5"/>
                <a:gd name="T70" fmla="*/ 0 h 78"/>
                <a:gd name="T71" fmla="*/ 75 w 75"/>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5" h="78">
                  <a:moveTo>
                    <a:pt x="39" y="10"/>
                  </a:moveTo>
                  <a:lnTo>
                    <a:pt x="11" y="10"/>
                  </a:lnTo>
                  <a:lnTo>
                    <a:pt x="11" y="35"/>
                  </a:lnTo>
                  <a:lnTo>
                    <a:pt x="7" y="57"/>
                  </a:lnTo>
                  <a:lnTo>
                    <a:pt x="0" y="71"/>
                  </a:lnTo>
                  <a:lnTo>
                    <a:pt x="11" y="78"/>
                  </a:lnTo>
                  <a:lnTo>
                    <a:pt x="18" y="60"/>
                  </a:lnTo>
                  <a:lnTo>
                    <a:pt x="21" y="42"/>
                  </a:lnTo>
                  <a:lnTo>
                    <a:pt x="21" y="21"/>
                  </a:lnTo>
                  <a:lnTo>
                    <a:pt x="75" y="21"/>
                  </a:lnTo>
                  <a:lnTo>
                    <a:pt x="75" y="10"/>
                  </a:lnTo>
                  <a:lnTo>
                    <a:pt x="43" y="10"/>
                  </a:lnTo>
                  <a:lnTo>
                    <a:pt x="50" y="10"/>
                  </a:lnTo>
                  <a:lnTo>
                    <a:pt x="46" y="0"/>
                  </a:lnTo>
                  <a:lnTo>
                    <a:pt x="32" y="0"/>
                  </a:lnTo>
                  <a:lnTo>
                    <a:pt x="3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1" name="Freeform 87"/>
            <p:cNvSpPr>
              <a:spLocks noEditPoints="1"/>
            </p:cNvSpPr>
            <p:nvPr/>
          </p:nvSpPr>
          <p:spPr bwMode="auto">
            <a:xfrm>
              <a:off x="3486" y="923"/>
              <a:ext cx="79" cy="75"/>
            </a:xfrm>
            <a:custGeom>
              <a:avLst/>
              <a:gdLst>
                <a:gd name="T0" fmla="*/ 11 w 79"/>
                <a:gd name="T1" fmla="*/ 0 h 75"/>
                <a:gd name="T2" fmla="*/ 11 w 79"/>
                <a:gd name="T3" fmla="*/ 11 h 75"/>
                <a:gd name="T4" fmla="*/ 65 w 79"/>
                <a:gd name="T5" fmla="*/ 11 h 75"/>
                <a:gd name="T6" fmla="*/ 65 w 79"/>
                <a:gd name="T7" fmla="*/ 0 h 75"/>
                <a:gd name="T8" fmla="*/ 11 w 79"/>
                <a:gd name="T9" fmla="*/ 0 h 75"/>
                <a:gd name="T10" fmla="*/ 11 w 79"/>
                <a:gd name="T11" fmla="*/ 0 h 75"/>
                <a:gd name="T12" fmla="*/ 25 w 79"/>
                <a:gd name="T13" fmla="*/ 36 h 75"/>
                <a:gd name="T14" fmla="*/ 25 w 79"/>
                <a:gd name="T15" fmla="*/ 36 h 75"/>
                <a:gd name="T16" fmla="*/ 25 w 79"/>
                <a:gd name="T17" fmla="*/ 47 h 75"/>
                <a:gd name="T18" fmla="*/ 18 w 79"/>
                <a:gd name="T19" fmla="*/ 54 h 75"/>
                <a:gd name="T20" fmla="*/ 11 w 79"/>
                <a:gd name="T21" fmla="*/ 61 h 75"/>
                <a:gd name="T22" fmla="*/ 0 w 79"/>
                <a:gd name="T23" fmla="*/ 64 h 75"/>
                <a:gd name="T24" fmla="*/ 0 w 79"/>
                <a:gd name="T25" fmla="*/ 64 h 75"/>
                <a:gd name="T26" fmla="*/ 8 w 79"/>
                <a:gd name="T27" fmla="*/ 75 h 75"/>
                <a:gd name="T28" fmla="*/ 8 w 79"/>
                <a:gd name="T29" fmla="*/ 75 h 75"/>
                <a:gd name="T30" fmla="*/ 22 w 79"/>
                <a:gd name="T31" fmla="*/ 68 h 75"/>
                <a:gd name="T32" fmla="*/ 29 w 79"/>
                <a:gd name="T33" fmla="*/ 57 h 75"/>
                <a:gd name="T34" fmla="*/ 29 w 79"/>
                <a:gd name="T35" fmla="*/ 57 h 75"/>
                <a:gd name="T36" fmla="*/ 33 w 79"/>
                <a:gd name="T37" fmla="*/ 47 h 75"/>
                <a:gd name="T38" fmla="*/ 36 w 79"/>
                <a:gd name="T39" fmla="*/ 32 h 75"/>
                <a:gd name="T40" fmla="*/ 43 w 79"/>
                <a:gd name="T41" fmla="*/ 32 h 75"/>
                <a:gd name="T42" fmla="*/ 43 w 79"/>
                <a:gd name="T43" fmla="*/ 61 h 75"/>
                <a:gd name="T44" fmla="*/ 43 w 79"/>
                <a:gd name="T45" fmla="*/ 61 h 75"/>
                <a:gd name="T46" fmla="*/ 43 w 79"/>
                <a:gd name="T47" fmla="*/ 68 h 75"/>
                <a:gd name="T48" fmla="*/ 54 w 79"/>
                <a:gd name="T49" fmla="*/ 72 h 75"/>
                <a:gd name="T50" fmla="*/ 65 w 79"/>
                <a:gd name="T51" fmla="*/ 72 h 75"/>
                <a:gd name="T52" fmla="*/ 65 w 79"/>
                <a:gd name="T53" fmla="*/ 72 h 75"/>
                <a:gd name="T54" fmla="*/ 72 w 79"/>
                <a:gd name="T55" fmla="*/ 72 h 75"/>
                <a:gd name="T56" fmla="*/ 75 w 79"/>
                <a:gd name="T57" fmla="*/ 68 h 75"/>
                <a:gd name="T58" fmla="*/ 79 w 79"/>
                <a:gd name="T59" fmla="*/ 54 h 75"/>
                <a:gd name="T60" fmla="*/ 79 w 79"/>
                <a:gd name="T61" fmla="*/ 54 h 75"/>
                <a:gd name="T62" fmla="*/ 68 w 79"/>
                <a:gd name="T63" fmla="*/ 50 h 75"/>
                <a:gd name="T64" fmla="*/ 68 w 79"/>
                <a:gd name="T65" fmla="*/ 50 h 75"/>
                <a:gd name="T66" fmla="*/ 65 w 79"/>
                <a:gd name="T67" fmla="*/ 61 h 75"/>
                <a:gd name="T68" fmla="*/ 61 w 79"/>
                <a:gd name="T69" fmla="*/ 61 h 75"/>
                <a:gd name="T70" fmla="*/ 58 w 79"/>
                <a:gd name="T71" fmla="*/ 61 h 75"/>
                <a:gd name="T72" fmla="*/ 58 w 79"/>
                <a:gd name="T73" fmla="*/ 61 h 75"/>
                <a:gd name="T74" fmla="*/ 54 w 79"/>
                <a:gd name="T75" fmla="*/ 61 h 75"/>
                <a:gd name="T76" fmla="*/ 54 w 79"/>
                <a:gd name="T77" fmla="*/ 57 h 75"/>
                <a:gd name="T78" fmla="*/ 54 w 79"/>
                <a:gd name="T79" fmla="*/ 32 h 75"/>
                <a:gd name="T80" fmla="*/ 75 w 79"/>
                <a:gd name="T81" fmla="*/ 32 h 75"/>
                <a:gd name="T82" fmla="*/ 75 w 79"/>
                <a:gd name="T83" fmla="*/ 22 h 75"/>
                <a:gd name="T84" fmla="*/ 4 w 79"/>
                <a:gd name="T85" fmla="*/ 22 h 75"/>
                <a:gd name="T86" fmla="*/ 4 w 79"/>
                <a:gd name="T87" fmla="*/ 32 h 75"/>
                <a:gd name="T88" fmla="*/ 25 w 79"/>
                <a:gd name="T89" fmla="*/ 32 h 75"/>
                <a:gd name="T90" fmla="*/ 25 w 79"/>
                <a:gd name="T91" fmla="*/ 32 h 75"/>
                <a:gd name="T92" fmla="*/ 25 w 79"/>
                <a:gd name="T93" fmla="*/ 36 h 75"/>
                <a:gd name="T94" fmla="*/ 25 w 79"/>
                <a:gd name="T95" fmla="*/ 36 h 75"/>
                <a:gd name="T96" fmla="*/ 25 w 79"/>
                <a:gd name="T97" fmla="*/ 36 h 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9"/>
                <a:gd name="T148" fmla="*/ 0 h 75"/>
                <a:gd name="T149" fmla="*/ 79 w 79"/>
                <a:gd name="T150" fmla="*/ 75 h 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9" h="75">
                  <a:moveTo>
                    <a:pt x="11" y="0"/>
                  </a:moveTo>
                  <a:lnTo>
                    <a:pt x="11" y="11"/>
                  </a:lnTo>
                  <a:lnTo>
                    <a:pt x="65" y="11"/>
                  </a:lnTo>
                  <a:lnTo>
                    <a:pt x="65" y="0"/>
                  </a:lnTo>
                  <a:lnTo>
                    <a:pt x="11" y="0"/>
                  </a:lnTo>
                  <a:close/>
                  <a:moveTo>
                    <a:pt x="25" y="36"/>
                  </a:moveTo>
                  <a:lnTo>
                    <a:pt x="25" y="36"/>
                  </a:lnTo>
                  <a:lnTo>
                    <a:pt x="25" y="47"/>
                  </a:lnTo>
                  <a:lnTo>
                    <a:pt x="18" y="54"/>
                  </a:lnTo>
                  <a:lnTo>
                    <a:pt x="11" y="61"/>
                  </a:lnTo>
                  <a:lnTo>
                    <a:pt x="0" y="64"/>
                  </a:lnTo>
                  <a:lnTo>
                    <a:pt x="8" y="75"/>
                  </a:lnTo>
                  <a:lnTo>
                    <a:pt x="22" y="68"/>
                  </a:lnTo>
                  <a:lnTo>
                    <a:pt x="29" y="57"/>
                  </a:lnTo>
                  <a:lnTo>
                    <a:pt x="33" y="47"/>
                  </a:lnTo>
                  <a:lnTo>
                    <a:pt x="36" y="32"/>
                  </a:lnTo>
                  <a:lnTo>
                    <a:pt x="43" y="32"/>
                  </a:lnTo>
                  <a:lnTo>
                    <a:pt x="43" y="61"/>
                  </a:lnTo>
                  <a:lnTo>
                    <a:pt x="43" y="68"/>
                  </a:lnTo>
                  <a:lnTo>
                    <a:pt x="54" y="72"/>
                  </a:lnTo>
                  <a:lnTo>
                    <a:pt x="65" y="72"/>
                  </a:lnTo>
                  <a:lnTo>
                    <a:pt x="72" y="72"/>
                  </a:lnTo>
                  <a:lnTo>
                    <a:pt x="75" y="68"/>
                  </a:lnTo>
                  <a:lnTo>
                    <a:pt x="79" y="54"/>
                  </a:lnTo>
                  <a:lnTo>
                    <a:pt x="68" y="50"/>
                  </a:lnTo>
                  <a:lnTo>
                    <a:pt x="65" y="61"/>
                  </a:lnTo>
                  <a:lnTo>
                    <a:pt x="61" y="61"/>
                  </a:lnTo>
                  <a:lnTo>
                    <a:pt x="58" y="61"/>
                  </a:lnTo>
                  <a:lnTo>
                    <a:pt x="54" y="61"/>
                  </a:lnTo>
                  <a:lnTo>
                    <a:pt x="54" y="57"/>
                  </a:lnTo>
                  <a:lnTo>
                    <a:pt x="54" y="32"/>
                  </a:lnTo>
                  <a:lnTo>
                    <a:pt x="75" y="32"/>
                  </a:lnTo>
                  <a:lnTo>
                    <a:pt x="75" y="22"/>
                  </a:lnTo>
                  <a:lnTo>
                    <a:pt x="4" y="22"/>
                  </a:lnTo>
                  <a:lnTo>
                    <a:pt x="4" y="32"/>
                  </a:lnTo>
                  <a:lnTo>
                    <a:pt x="25" y="32"/>
                  </a:lnTo>
                  <a:lnTo>
                    <a:pt x="2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2" name="Freeform 88"/>
            <p:cNvSpPr>
              <a:spLocks/>
            </p:cNvSpPr>
            <p:nvPr/>
          </p:nvSpPr>
          <p:spPr bwMode="auto">
            <a:xfrm>
              <a:off x="3576" y="920"/>
              <a:ext cx="74" cy="78"/>
            </a:xfrm>
            <a:custGeom>
              <a:avLst/>
              <a:gdLst>
                <a:gd name="T0" fmla="*/ 42 w 74"/>
                <a:gd name="T1" fmla="*/ 10 h 78"/>
                <a:gd name="T2" fmla="*/ 42 w 74"/>
                <a:gd name="T3" fmla="*/ 10 h 78"/>
                <a:gd name="T4" fmla="*/ 42 w 74"/>
                <a:gd name="T5" fmla="*/ 7 h 78"/>
                <a:gd name="T6" fmla="*/ 42 w 74"/>
                <a:gd name="T7" fmla="*/ 7 h 78"/>
                <a:gd name="T8" fmla="*/ 39 w 74"/>
                <a:gd name="T9" fmla="*/ 0 h 78"/>
                <a:gd name="T10" fmla="*/ 39 w 74"/>
                <a:gd name="T11" fmla="*/ 0 h 78"/>
                <a:gd name="T12" fmla="*/ 35 w 74"/>
                <a:gd name="T13" fmla="*/ 0 h 78"/>
                <a:gd name="T14" fmla="*/ 35 w 74"/>
                <a:gd name="T15" fmla="*/ 0 h 78"/>
                <a:gd name="T16" fmla="*/ 28 w 74"/>
                <a:gd name="T17" fmla="*/ 0 h 78"/>
                <a:gd name="T18" fmla="*/ 28 w 74"/>
                <a:gd name="T19" fmla="*/ 0 h 78"/>
                <a:gd name="T20" fmla="*/ 32 w 74"/>
                <a:gd name="T21" fmla="*/ 10 h 78"/>
                <a:gd name="T22" fmla="*/ 0 w 74"/>
                <a:gd name="T23" fmla="*/ 10 h 78"/>
                <a:gd name="T24" fmla="*/ 0 w 74"/>
                <a:gd name="T25" fmla="*/ 21 h 78"/>
                <a:gd name="T26" fmla="*/ 32 w 74"/>
                <a:gd name="T27" fmla="*/ 21 h 78"/>
                <a:gd name="T28" fmla="*/ 32 w 74"/>
                <a:gd name="T29" fmla="*/ 32 h 78"/>
                <a:gd name="T30" fmla="*/ 7 w 74"/>
                <a:gd name="T31" fmla="*/ 32 h 78"/>
                <a:gd name="T32" fmla="*/ 7 w 74"/>
                <a:gd name="T33" fmla="*/ 67 h 78"/>
                <a:gd name="T34" fmla="*/ 17 w 74"/>
                <a:gd name="T35" fmla="*/ 67 h 78"/>
                <a:gd name="T36" fmla="*/ 17 w 74"/>
                <a:gd name="T37" fmla="*/ 39 h 78"/>
                <a:gd name="T38" fmla="*/ 32 w 74"/>
                <a:gd name="T39" fmla="*/ 39 h 78"/>
                <a:gd name="T40" fmla="*/ 32 w 74"/>
                <a:gd name="T41" fmla="*/ 75 h 78"/>
                <a:gd name="T42" fmla="*/ 42 w 74"/>
                <a:gd name="T43" fmla="*/ 78 h 78"/>
                <a:gd name="T44" fmla="*/ 42 w 74"/>
                <a:gd name="T45" fmla="*/ 39 h 78"/>
                <a:gd name="T46" fmla="*/ 53 w 74"/>
                <a:gd name="T47" fmla="*/ 39 h 78"/>
                <a:gd name="T48" fmla="*/ 53 w 74"/>
                <a:gd name="T49" fmla="*/ 57 h 78"/>
                <a:gd name="T50" fmla="*/ 53 w 74"/>
                <a:gd name="T51" fmla="*/ 57 h 78"/>
                <a:gd name="T52" fmla="*/ 49 w 74"/>
                <a:gd name="T53" fmla="*/ 60 h 78"/>
                <a:gd name="T54" fmla="*/ 42 w 74"/>
                <a:gd name="T55" fmla="*/ 60 h 78"/>
                <a:gd name="T56" fmla="*/ 42 w 74"/>
                <a:gd name="T57" fmla="*/ 60 h 78"/>
                <a:gd name="T58" fmla="*/ 46 w 74"/>
                <a:gd name="T59" fmla="*/ 71 h 78"/>
                <a:gd name="T60" fmla="*/ 46 w 74"/>
                <a:gd name="T61" fmla="*/ 71 h 78"/>
                <a:gd name="T62" fmla="*/ 60 w 74"/>
                <a:gd name="T63" fmla="*/ 67 h 78"/>
                <a:gd name="T64" fmla="*/ 64 w 74"/>
                <a:gd name="T65" fmla="*/ 64 h 78"/>
                <a:gd name="T66" fmla="*/ 64 w 74"/>
                <a:gd name="T67" fmla="*/ 60 h 78"/>
                <a:gd name="T68" fmla="*/ 64 w 74"/>
                <a:gd name="T69" fmla="*/ 32 h 78"/>
                <a:gd name="T70" fmla="*/ 42 w 74"/>
                <a:gd name="T71" fmla="*/ 32 h 78"/>
                <a:gd name="T72" fmla="*/ 42 w 74"/>
                <a:gd name="T73" fmla="*/ 21 h 78"/>
                <a:gd name="T74" fmla="*/ 74 w 74"/>
                <a:gd name="T75" fmla="*/ 21 h 78"/>
                <a:gd name="T76" fmla="*/ 74 w 74"/>
                <a:gd name="T77" fmla="*/ 10 h 78"/>
                <a:gd name="T78" fmla="*/ 35 w 74"/>
                <a:gd name="T79" fmla="*/ 10 h 78"/>
                <a:gd name="T80" fmla="*/ 35 w 74"/>
                <a:gd name="T81" fmla="*/ 10 h 78"/>
                <a:gd name="T82" fmla="*/ 42 w 74"/>
                <a:gd name="T83" fmla="*/ 10 h 78"/>
                <a:gd name="T84" fmla="*/ 42 w 74"/>
                <a:gd name="T85" fmla="*/ 10 h 78"/>
                <a:gd name="T86" fmla="*/ 42 w 74"/>
                <a:gd name="T87" fmla="*/ 10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4"/>
                <a:gd name="T133" fmla="*/ 0 h 78"/>
                <a:gd name="T134" fmla="*/ 74 w 74"/>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4" h="78">
                  <a:moveTo>
                    <a:pt x="42" y="10"/>
                  </a:moveTo>
                  <a:lnTo>
                    <a:pt x="42" y="10"/>
                  </a:lnTo>
                  <a:lnTo>
                    <a:pt x="42" y="7"/>
                  </a:lnTo>
                  <a:lnTo>
                    <a:pt x="39" y="0"/>
                  </a:lnTo>
                  <a:lnTo>
                    <a:pt x="35" y="0"/>
                  </a:lnTo>
                  <a:lnTo>
                    <a:pt x="28" y="0"/>
                  </a:lnTo>
                  <a:lnTo>
                    <a:pt x="32" y="10"/>
                  </a:lnTo>
                  <a:lnTo>
                    <a:pt x="0" y="10"/>
                  </a:lnTo>
                  <a:lnTo>
                    <a:pt x="0" y="21"/>
                  </a:lnTo>
                  <a:lnTo>
                    <a:pt x="32" y="21"/>
                  </a:lnTo>
                  <a:lnTo>
                    <a:pt x="32" y="32"/>
                  </a:lnTo>
                  <a:lnTo>
                    <a:pt x="7" y="32"/>
                  </a:lnTo>
                  <a:lnTo>
                    <a:pt x="7" y="67"/>
                  </a:lnTo>
                  <a:lnTo>
                    <a:pt x="17" y="67"/>
                  </a:lnTo>
                  <a:lnTo>
                    <a:pt x="17" y="39"/>
                  </a:lnTo>
                  <a:lnTo>
                    <a:pt x="32" y="39"/>
                  </a:lnTo>
                  <a:lnTo>
                    <a:pt x="32" y="75"/>
                  </a:lnTo>
                  <a:lnTo>
                    <a:pt x="42" y="78"/>
                  </a:lnTo>
                  <a:lnTo>
                    <a:pt x="42" y="39"/>
                  </a:lnTo>
                  <a:lnTo>
                    <a:pt x="53" y="39"/>
                  </a:lnTo>
                  <a:lnTo>
                    <a:pt x="53" y="57"/>
                  </a:lnTo>
                  <a:lnTo>
                    <a:pt x="49" y="60"/>
                  </a:lnTo>
                  <a:lnTo>
                    <a:pt x="42" y="60"/>
                  </a:lnTo>
                  <a:lnTo>
                    <a:pt x="46" y="71"/>
                  </a:lnTo>
                  <a:lnTo>
                    <a:pt x="60" y="67"/>
                  </a:lnTo>
                  <a:lnTo>
                    <a:pt x="64" y="64"/>
                  </a:lnTo>
                  <a:lnTo>
                    <a:pt x="64" y="60"/>
                  </a:lnTo>
                  <a:lnTo>
                    <a:pt x="64" y="32"/>
                  </a:lnTo>
                  <a:lnTo>
                    <a:pt x="42" y="32"/>
                  </a:lnTo>
                  <a:lnTo>
                    <a:pt x="42" y="21"/>
                  </a:lnTo>
                  <a:lnTo>
                    <a:pt x="74" y="21"/>
                  </a:lnTo>
                  <a:lnTo>
                    <a:pt x="74" y="10"/>
                  </a:lnTo>
                  <a:lnTo>
                    <a:pt x="35" y="10"/>
                  </a:lnTo>
                  <a:lnTo>
                    <a:pt x="42"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3" name="Freeform 89"/>
            <p:cNvSpPr>
              <a:spLocks/>
            </p:cNvSpPr>
            <p:nvPr/>
          </p:nvSpPr>
          <p:spPr bwMode="auto">
            <a:xfrm>
              <a:off x="3982" y="1786"/>
              <a:ext cx="78" cy="78"/>
            </a:xfrm>
            <a:custGeom>
              <a:avLst/>
              <a:gdLst>
                <a:gd name="T0" fmla="*/ 39 w 78"/>
                <a:gd name="T1" fmla="*/ 14 h 78"/>
                <a:gd name="T2" fmla="*/ 11 w 78"/>
                <a:gd name="T3" fmla="*/ 14 h 78"/>
                <a:gd name="T4" fmla="*/ 11 w 78"/>
                <a:gd name="T5" fmla="*/ 39 h 78"/>
                <a:gd name="T6" fmla="*/ 11 w 78"/>
                <a:gd name="T7" fmla="*/ 39 h 78"/>
                <a:gd name="T8" fmla="*/ 11 w 78"/>
                <a:gd name="T9" fmla="*/ 61 h 78"/>
                <a:gd name="T10" fmla="*/ 0 w 78"/>
                <a:gd name="T11" fmla="*/ 75 h 78"/>
                <a:gd name="T12" fmla="*/ 0 w 78"/>
                <a:gd name="T13" fmla="*/ 75 h 78"/>
                <a:gd name="T14" fmla="*/ 11 w 78"/>
                <a:gd name="T15" fmla="*/ 78 h 78"/>
                <a:gd name="T16" fmla="*/ 11 w 78"/>
                <a:gd name="T17" fmla="*/ 78 h 78"/>
                <a:gd name="T18" fmla="*/ 21 w 78"/>
                <a:gd name="T19" fmla="*/ 64 h 78"/>
                <a:gd name="T20" fmla="*/ 21 w 78"/>
                <a:gd name="T21" fmla="*/ 43 h 78"/>
                <a:gd name="T22" fmla="*/ 21 w 78"/>
                <a:gd name="T23" fmla="*/ 25 h 78"/>
                <a:gd name="T24" fmla="*/ 78 w 78"/>
                <a:gd name="T25" fmla="*/ 25 h 78"/>
                <a:gd name="T26" fmla="*/ 78 w 78"/>
                <a:gd name="T27" fmla="*/ 14 h 78"/>
                <a:gd name="T28" fmla="*/ 46 w 78"/>
                <a:gd name="T29" fmla="*/ 14 h 78"/>
                <a:gd name="T30" fmla="*/ 53 w 78"/>
                <a:gd name="T31" fmla="*/ 11 h 78"/>
                <a:gd name="T32" fmla="*/ 53 w 78"/>
                <a:gd name="T33" fmla="*/ 11 h 78"/>
                <a:gd name="T34" fmla="*/ 50 w 78"/>
                <a:gd name="T35" fmla="*/ 0 h 78"/>
                <a:gd name="T36" fmla="*/ 36 w 78"/>
                <a:gd name="T37" fmla="*/ 3 h 78"/>
                <a:gd name="T38" fmla="*/ 36 w 78"/>
                <a:gd name="T39" fmla="*/ 3 h 78"/>
                <a:gd name="T40" fmla="*/ 39 w 78"/>
                <a:gd name="T41" fmla="*/ 14 h 78"/>
                <a:gd name="T42" fmla="*/ 39 w 78"/>
                <a:gd name="T43" fmla="*/ 14 h 78"/>
                <a:gd name="T44" fmla="*/ 39 w 78"/>
                <a:gd name="T45" fmla="*/ 14 h 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78"/>
                <a:gd name="T70" fmla="*/ 0 h 78"/>
                <a:gd name="T71" fmla="*/ 78 w 78"/>
                <a:gd name="T72" fmla="*/ 78 h 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78" h="78">
                  <a:moveTo>
                    <a:pt x="39" y="14"/>
                  </a:moveTo>
                  <a:lnTo>
                    <a:pt x="11" y="14"/>
                  </a:lnTo>
                  <a:lnTo>
                    <a:pt x="11" y="39"/>
                  </a:lnTo>
                  <a:lnTo>
                    <a:pt x="11" y="61"/>
                  </a:lnTo>
                  <a:lnTo>
                    <a:pt x="0" y="75"/>
                  </a:lnTo>
                  <a:lnTo>
                    <a:pt x="11" y="78"/>
                  </a:lnTo>
                  <a:lnTo>
                    <a:pt x="21" y="64"/>
                  </a:lnTo>
                  <a:lnTo>
                    <a:pt x="21" y="43"/>
                  </a:lnTo>
                  <a:lnTo>
                    <a:pt x="21" y="25"/>
                  </a:lnTo>
                  <a:lnTo>
                    <a:pt x="78" y="25"/>
                  </a:lnTo>
                  <a:lnTo>
                    <a:pt x="78" y="14"/>
                  </a:lnTo>
                  <a:lnTo>
                    <a:pt x="46" y="14"/>
                  </a:lnTo>
                  <a:lnTo>
                    <a:pt x="53" y="11"/>
                  </a:lnTo>
                  <a:lnTo>
                    <a:pt x="50" y="0"/>
                  </a:lnTo>
                  <a:lnTo>
                    <a:pt x="36" y="3"/>
                  </a:lnTo>
                  <a:lnTo>
                    <a:pt x="39"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4" name="Freeform 90"/>
            <p:cNvSpPr>
              <a:spLocks noEditPoints="1"/>
            </p:cNvSpPr>
            <p:nvPr/>
          </p:nvSpPr>
          <p:spPr bwMode="auto">
            <a:xfrm>
              <a:off x="4071" y="1786"/>
              <a:ext cx="75" cy="78"/>
            </a:xfrm>
            <a:custGeom>
              <a:avLst/>
              <a:gdLst>
                <a:gd name="T0" fmla="*/ 14 w 75"/>
                <a:gd name="T1" fmla="*/ 28 h 78"/>
                <a:gd name="T2" fmla="*/ 61 w 75"/>
                <a:gd name="T3" fmla="*/ 18 h 78"/>
                <a:gd name="T4" fmla="*/ 71 w 75"/>
                <a:gd name="T5" fmla="*/ 28 h 78"/>
                <a:gd name="T6" fmla="*/ 46 w 75"/>
                <a:gd name="T7" fmla="*/ 11 h 78"/>
                <a:gd name="T8" fmla="*/ 43 w 75"/>
                <a:gd name="T9" fmla="*/ 0 h 78"/>
                <a:gd name="T10" fmla="*/ 43 w 75"/>
                <a:gd name="T11" fmla="*/ 0 h 78"/>
                <a:gd name="T12" fmla="*/ 32 w 75"/>
                <a:gd name="T13" fmla="*/ 0 h 78"/>
                <a:gd name="T14" fmla="*/ 32 w 75"/>
                <a:gd name="T15" fmla="*/ 11 h 78"/>
                <a:gd name="T16" fmla="*/ 4 w 75"/>
                <a:gd name="T17" fmla="*/ 28 h 78"/>
                <a:gd name="T18" fmla="*/ 0 w 75"/>
                <a:gd name="T19" fmla="*/ 43 h 78"/>
                <a:gd name="T20" fmla="*/ 21 w 75"/>
                <a:gd name="T21" fmla="*/ 43 h 78"/>
                <a:gd name="T22" fmla="*/ 14 w 75"/>
                <a:gd name="T23" fmla="*/ 53 h 78"/>
                <a:gd name="T24" fmla="*/ 32 w 75"/>
                <a:gd name="T25" fmla="*/ 61 h 78"/>
                <a:gd name="T26" fmla="*/ 18 w 75"/>
                <a:gd name="T27" fmla="*/ 68 h 78"/>
                <a:gd name="T28" fmla="*/ 4 w 75"/>
                <a:gd name="T29" fmla="*/ 68 h 78"/>
                <a:gd name="T30" fmla="*/ 11 w 75"/>
                <a:gd name="T31" fmla="*/ 78 h 78"/>
                <a:gd name="T32" fmla="*/ 43 w 75"/>
                <a:gd name="T33" fmla="*/ 68 h 78"/>
                <a:gd name="T34" fmla="*/ 57 w 75"/>
                <a:gd name="T35" fmla="*/ 71 h 78"/>
                <a:gd name="T36" fmla="*/ 64 w 75"/>
                <a:gd name="T37" fmla="*/ 78 h 78"/>
                <a:gd name="T38" fmla="*/ 68 w 75"/>
                <a:gd name="T39" fmla="*/ 75 h 78"/>
                <a:gd name="T40" fmla="*/ 75 w 75"/>
                <a:gd name="T41" fmla="*/ 68 h 78"/>
                <a:gd name="T42" fmla="*/ 54 w 75"/>
                <a:gd name="T43" fmla="*/ 61 h 78"/>
                <a:gd name="T44" fmla="*/ 75 w 75"/>
                <a:gd name="T45" fmla="*/ 43 h 78"/>
                <a:gd name="T46" fmla="*/ 39 w 75"/>
                <a:gd name="T47" fmla="*/ 36 h 78"/>
                <a:gd name="T48" fmla="*/ 43 w 75"/>
                <a:gd name="T49" fmla="*/ 28 h 78"/>
                <a:gd name="T50" fmla="*/ 43 w 75"/>
                <a:gd name="T51" fmla="*/ 28 h 78"/>
                <a:gd name="T52" fmla="*/ 43 w 75"/>
                <a:gd name="T53" fmla="*/ 25 h 78"/>
                <a:gd name="T54" fmla="*/ 32 w 75"/>
                <a:gd name="T55" fmla="*/ 21 h 78"/>
                <a:gd name="T56" fmla="*/ 29 w 75"/>
                <a:gd name="T57" fmla="*/ 21 h 78"/>
                <a:gd name="T58" fmla="*/ 25 w 75"/>
                <a:gd name="T59" fmla="*/ 36 h 78"/>
                <a:gd name="T60" fmla="*/ 0 w 75"/>
                <a:gd name="T61" fmla="*/ 36 h 78"/>
                <a:gd name="T62" fmla="*/ 0 w 75"/>
                <a:gd name="T63" fmla="*/ 43 h 78"/>
                <a:gd name="T64" fmla="*/ 39 w 75"/>
                <a:gd name="T65" fmla="*/ 53 h 78"/>
                <a:gd name="T66" fmla="*/ 32 w 75"/>
                <a:gd name="T67" fmla="*/ 43 h 78"/>
                <a:gd name="T68" fmla="*/ 46 w 75"/>
                <a:gd name="T69" fmla="*/ 43 h 78"/>
                <a:gd name="T70" fmla="*/ 39 w 75"/>
                <a:gd name="T71" fmla="*/ 53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5"/>
                <a:gd name="T109" fmla="*/ 0 h 78"/>
                <a:gd name="T110" fmla="*/ 75 w 75"/>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5" h="78">
                  <a:moveTo>
                    <a:pt x="4" y="28"/>
                  </a:moveTo>
                  <a:lnTo>
                    <a:pt x="14" y="28"/>
                  </a:lnTo>
                  <a:lnTo>
                    <a:pt x="14" y="18"/>
                  </a:lnTo>
                  <a:lnTo>
                    <a:pt x="61" y="18"/>
                  </a:lnTo>
                  <a:lnTo>
                    <a:pt x="61" y="28"/>
                  </a:lnTo>
                  <a:lnTo>
                    <a:pt x="71" y="28"/>
                  </a:lnTo>
                  <a:lnTo>
                    <a:pt x="71" y="11"/>
                  </a:lnTo>
                  <a:lnTo>
                    <a:pt x="46" y="11"/>
                  </a:lnTo>
                  <a:lnTo>
                    <a:pt x="43" y="0"/>
                  </a:lnTo>
                  <a:lnTo>
                    <a:pt x="32" y="0"/>
                  </a:lnTo>
                  <a:lnTo>
                    <a:pt x="32" y="11"/>
                  </a:lnTo>
                  <a:lnTo>
                    <a:pt x="4" y="11"/>
                  </a:lnTo>
                  <a:lnTo>
                    <a:pt x="4" y="28"/>
                  </a:lnTo>
                  <a:close/>
                  <a:moveTo>
                    <a:pt x="0" y="43"/>
                  </a:moveTo>
                  <a:lnTo>
                    <a:pt x="21" y="43"/>
                  </a:lnTo>
                  <a:lnTo>
                    <a:pt x="14" y="53"/>
                  </a:lnTo>
                  <a:lnTo>
                    <a:pt x="32" y="61"/>
                  </a:lnTo>
                  <a:lnTo>
                    <a:pt x="18" y="68"/>
                  </a:lnTo>
                  <a:lnTo>
                    <a:pt x="4" y="68"/>
                  </a:lnTo>
                  <a:lnTo>
                    <a:pt x="11" y="78"/>
                  </a:lnTo>
                  <a:lnTo>
                    <a:pt x="29" y="75"/>
                  </a:lnTo>
                  <a:lnTo>
                    <a:pt x="43" y="68"/>
                  </a:lnTo>
                  <a:lnTo>
                    <a:pt x="57" y="71"/>
                  </a:lnTo>
                  <a:lnTo>
                    <a:pt x="64" y="78"/>
                  </a:lnTo>
                  <a:lnTo>
                    <a:pt x="68" y="75"/>
                  </a:lnTo>
                  <a:lnTo>
                    <a:pt x="75" y="68"/>
                  </a:lnTo>
                  <a:lnTo>
                    <a:pt x="54" y="61"/>
                  </a:lnTo>
                  <a:lnTo>
                    <a:pt x="61" y="43"/>
                  </a:lnTo>
                  <a:lnTo>
                    <a:pt x="75" y="43"/>
                  </a:lnTo>
                  <a:lnTo>
                    <a:pt x="75" y="36"/>
                  </a:lnTo>
                  <a:lnTo>
                    <a:pt x="39" y="36"/>
                  </a:lnTo>
                  <a:lnTo>
                    <a:pt x="43" y="28"/>
                  </a:lnTo>
                  <a:lnTo>
                    <a:pt x="43" y="25"/>
                  </a:lnTo>
                  <a:lnTo>
                    <a:pt x="32" y="21"/>
                  </a:lnTo>
                  <a:lnTo>
                    <a:pt x="29" y="21"/>
                  </a:lnTo>
                  <a:lnTo>
                    <a:pt x="25" y="36"/>
                  </a:lnTo>
                  <a:lnTo>
                    <a:pt x="0" y="36"/>
                  </a:lnTo>
                  <a:lnTo>
                    <a:pt x="0" y="43"/>
                  </a:lnTo>
                  <a:close/>
                  <a:moveTo>
                    <a:pt x="39" y="53"/>
                  </a:moveTo>
                  <a:lnTo>
                    <a:pt x="39" y="53"/>
                  </a:lnTo>
                  <a:lnTo>
                    <a:pt x="29" y="50"/>
                  </a:lnTo>
                  <a:lnTo>
                    <a:pt x="32" y="43"/>
                  </a:lnTo>
                  <a:lnTo>
                    <a:pt x="46" y="43"/>
                  </a:lnTo>
                  <a:lnTo>
                    <a:pt x="39"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5" name="Freeform 91"/>
            <p:cNvSpPr>
              <a:spLocks/>
            </p:cNvSpPr>
            <p:nvPr/>
          </p:nvSpPr>
          <p:spPr bwMode="auto">
            <a:xfrm>
              <a:off x="4157" y="1786"/>
              <a:ext cx="75" cy="78"/>
            </a:xfrm>
            <a:custGeom>
              <a:avLst/>
              <a:gdLst>
                <a:gd name="T0" fmla="*/ 46 w 75"/>
                <a:gd name="T1" fmla="*/ 11 h 78"/>
                <a:gd name="T2" fmla="*/ 46 w 75"/>
                <a:gd name="T3" fmla="*/ 11 h 78"/>
                <a:gd name="T4" fmla="*/ 42 w 75"/>
                <a:gd name="T5" fmla="*/ 7 h 78"/>
                <a:gd name="T6" fmla="*/ 42 w 75"/>
                <a:gd name="T7" fmla="*/ 7 h 78"/>
                <a:gd name="T8" fmla="*/ 42 w 75"/>
                <a:gd name="T9" fmla="*/ 0 h 78"/>
                <a:gd name="T10" fmla="*/ 42 w 75"/>
                <a:gd name="T11" fmla="*/ 0 h 78"/>
                <a:gd name="T12" fmla="*/ 35 w 75"/>
                <a:gd name="T13" fmla="*/ 3 h 78"/>
                <a:gd name="T14" fmla="*/ 35 w 75"/>
                <a:gd name="T15" fmla="*/ 3 h 78"/>
                <a:gd name="T16" fmla="*/ 28 w 75"/>
                <a:gd name="T17" fmla="*/ 3 h 78"/>
                <a:gd name="T18" fmla="*/ 28 w 75"/>
                <a:gd name="T19" fmla="*/ 3 h 78"/>
                <a:gd name="T20" fmla="*/ 32 w 75"/>
                <a:gd name="T21" fmla="*/ 14 h 78"/>
                <a:gd name="T22" fmla="*/ 0 w 75"/>
                <a:gd name="T23" fmla="*/ 14 h 78"/>
                <a:gd name="T24" fmla="*/ 0 w 75"/>
                <a:gd name="T25" fmla="*/ 25 h 78"/>
                <a:gd name="T26" fmla="*/ 32 w 75"/>
                <a:gd name="T27" fmla="*/ 25 h 78"/>
                <a:gd name="T28" fmla="*/ 32 w 75"/>
                <a:gd name="T29" fmla="*/ 32 h 78"/>
                <a:gd name="T30" fmla="*/ 10 w 75"/>
                <a:gd name="T31" fmla="*/ 32 h 78"/>
                <a:gd name="T32" fmla="*/ 10 w 75"/>
                <a:gd name="T33" fmla="*/ 71 h 78"/>
                <a:gd name="T34" fmla="*/ 21 w 75"/>
                <a:gd name="T35" fmla="*/ 71 h 78"/>
                <a:gd name="T36" fmla="*/ 21 w 75"/>
                <a:gd name="T37" fmla="*/ 43 h 78"/>
                <a:gd name="T38" fmla="*/ 32 w 75"/>
                <a:gd name="T39" fmla="*/ 43 h 78"/>
                <a:gd name="T40" fmla="*/ 32 w 75"/>
                <a:gd name="T41" fmla="*/ 78 h 78"/>
                <a:gd name="T42" fmla="*/ 42 w 75"/>
                <a:gd name="T43" fmla="*/ 78 h 78"/>
                <a:gd name="T44" fmla="*/ 42 w 75"/>
                <a:gd name="T45" fmla="*/ 43 h 78"/>
                <a:gd name="T46" fmla="*/ 57 w 75"/>
                <a:gd name="T47" fmla="*/ 43 h 78"/>
                <a:gd name="T48" fmla="*/ 57 w 75"/>
                <a:gd name="T49" fmla="*/ 57 h 78"/>
                <a:gd name="T50" fmla="*/ 57 w 75"/>
                <a:gd name="T51" fmla="*/ 57 h 78"/>
                <a:gd name="T52" fmla="*/ 53 w 75"/>
                <a:gd name="T53" fmla="*/ 61 h 78"/>
                <a:gd name="T54" fmla="*/ 46 w 75"/>
                <a:gd name="T55" fmla="*/ 61 h 78"/>
                <a:gd name="T56" fmla="*/ 46 w 75"/>
                <a:gd name="T57" fmla="*/ 61 h 78"/>
                <a:gd name="T58" fmla="*/ 50 w 75"/>
                <a:gd name="T59" fmla="*/ 71 h 78"/>
                <a:gd name="T60" fmla="*/ 50 w 75"/>
                <a:gd name="T61" fmla="*/ 71 h 78"/>
                <a:gd name="T62" fmla="*/ 60 w 75"/>
                <a:gd name="T63" fmla="*/ 71 h 78"/>
                <a:gd name="T64" fmla="*/ 64 w 75"/>
                <a:gd name="T65" fmla="*/ 68 h 78"/>
                <a:gd name="T66" fmla="*/ 67 w 75"/>
                <a:gd name="T67" fmla="*/ 64 h 78"/>
                <a:gd name="T68" fmla="*/ 67 w 75"/>
                <a:gd name="T69" fmla="*/ 32 h 78"/>
                <a:gd name="T70" fmla="*/ 42 w 75"/>
                <a:gd name="T71" fmla="*/ 32 h 78"/>
                <a:gd name="T72" fmla="*/ 42 w 75"/>
                <a:gd name="T73" fmla="*/ 25 h 78"/>
                <a:gd name="T74" fmla="*/ 75 w 75"/>
                <a:gd name="T75" fmla="*/ 25 h 78"/>
                <a:gd name="T76" fmla="*/ 75 w 75"/>
                <a:gd name="T77" fmla="*/ 14 h 78"/>
                <a:gd name="T78" fmla="*/ 35 w 75"/>
                <a:gd name="T79" fmla="*/ 14 h 78"/>
                <a:gd name="T80" fmla="*/ 35 w 75"/>
                <a:gd name="T81" fmla="*/ 14 h 78"/>
                <a:gd name="T82" fmla="*/ 46 w 75"/>
                <a:gd name="T83" fmla="*/ 11 h 78"/>
                <a:gd name="T84" fmla="*/ 46 w 75"/>
                <a:gd name="T85" fmla="*/ 11 h 78"/>
                <a:gd name="T86" fmla="*/ 46 w 75"/>
                <a:gd name="T87" fmla="*/ 11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8"/>
                <a:gd name="T134" fmla="*/ 75 w 75"/>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8">
                  <a:moveTo>
                    <a:pt x="46" y="11"/>
                  </a:moveTo>
                  <a:lnTo>
                    <a:pt x="46" y="11"/>
                  </a:lnTo>
                  <a:lnTo>
                    <a:pt x="42" y="7"/>
                  </a:lnTo>
                  <a:lnTo>
                    <a:pt x="42" y="0"/>
                  </a:lnTo>
                  <a:lnTo>
                    <a:pt x="35" y="3"/>
                  </a:lnTo>
                  <a:lnTo>
                    <a:pt x="28" y="3"/>
                  </a:lnTo>
                  <a:lnTo>
                    <a:pt x="32" y="14"/>
                  </a:lnTo>
                  <a:lnTo>
                    <a:pt x="0" y="14"/>
                  </a:lnTo>
                  <a:lnTo>
                    <a:pt x="0" y="25"/>
                  </a:lnTo>
                  <a:lnTo>
                    <a:pt x="32" y="25"/>
                  </a:lnTo>
                  <a:lnTo>
                    <a:pt x="32" y="32"/>
                  </a:lnTo>
                  <a:lnTo>
                    <a:pt x="10" y="32"/>
                  </a:lnTo>
                  <a:lnTo>
                    <a:pt x="10" y="71"/>
                  </a:lnTo>
                  <a:lnTo>
                    <a:pt x="21" y="71"/>
                  </a:lnTo>
                  <a:lnTo>
                    <a:pt x="21" y="43"/>
                  </a:lnTo>
                  <a:lnTo>
                    <a:pt x="32" y="43"/>
                  </a:lnTo>
                  <a:lnTo>
                    <a:pt x="32" y="78"/>
                  </a:lnTo>
                  <a:lnTo>
                    <a:pt x="42" y="78"/>
                  </a:lnTo>
                  <a:lnTo>
                    <a:pt x="42" y="43"/>
                  </a:lnTo>
                  <a:lnTo>
                    <a:pt x="57" y="43"/>
                  </a:lnTo>
                  <a:lnTo>
                    <a:pt x="57" y="57"/>
                  </a:lnTo>
                  <a:lnTo>
                    <a:pt x="53" y="61"/>
                  </a:lnTo>
                  <a:lnTo>
                    <a:pt x="46" y="61"/>
                  </a:lnTo>
                  <a:lnTo>
                    <a:pt x="50" y="71"/>
                  </a:lnTo>
                  <a:lnTo>
                    <a:pt x="60" y="71"/>
                  </a:lnTo>
                  <a:lnTo>
                    <a:pt x="64" y="68"/>
                  </a:lnTo>
                  <a:lnTo>
                    <a:pt x="67" y="64"/>
                  </a:lnTo>
                  <a:lnTo>
                    <a:pt x="67" y="32"/>
                  </a:lnTo>
                  <a:lnTo>
                    <a:pt x="42" y="32"/>
                  </a:lnTo>
                  <a:lnTo>
                    <a:pt x="42" y="25"/>
                  </a:lnTo>
                  <a:lnTo>
                    <a:pt x="75" y="25"/>
                  </a:lnTo>
                  <a:lnTo>
                    <a:pt x="75" y="14"/>
                  </a:lnTo>
                  <a:lnTo>
                    <a:pt x="35" y="14"/>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6" name="Freeform 92"/>
            <p:cNvSpPr>
              <a:spLocks noEditPoints="1"/>
            </p:cNvSpPr>
            <p:nvPr/>
          </p:nvSpPr>
          <p:spPr bwMode="auto">
            <a:xfrm>
              <a:off x="3337" y="1722"/>
              <a:ext cx="78" cy="78"/>
            </a:xfrm>
            <a:custGeom>
              <a:avLst/>
              <a:gdLst>
                <a:gd name="T0" fmla="*/ 25 w 78"/>
                <a:gd name="T1" fmla="*/ 21 h 78"/>
                <a:gd name="T2" fmla="*/ 21 w 78"/>
                <a:gd name="T3" fmla="*/ 28 h 78"/>
                <a:gd name="T4" fmla="*/ 28 w 78"/>
                <a:gd name="T5" fmla="*/ 35 h 78"/>
                <a:gd name="T6" fmla="*/ 43 w 78"/>
                <a:gd name="T7" fmla="*/ 32 h 78"/>
                <a:gd name="T8" fmla="*/ 21 w 78"/>
                <a:gd name="T9" fmla="*/ 39 h 78"/>
                <a:gd name="T10" fmla="*/ 46 w 78"/>
                <a:gd name="T11" fmla="*/ 35 h 78"/>
                <a:gd name="T12" fmla="*/ 50 w 78"/>
                <a:gd name="T13" fmla="*/ 39 h 78"/>
                <a:gd name="T14" fmla="*/ 21 w 78"/>
                <a:gd name="T15" fmla="*/ 53 h 78"/>
                <a:gd name="T16" fmla="*/ 50 w 78"/>
                <a:gd name="T17" fmla="*/ 50 h 78"/>
                <a:gd name="T18" fmla="*/ 50 w 78"/>
                <a:gd name="T19" fmla="*/ 53 h 78"/>
                <a:gd name="T20" fmla="*/ 39 w 78"/>
                <a:gd name="T21" fmla="*/ 57 h 78"/>
                <a:gd name="T22" fmla="*/ 39 w 78"/>
                <a:gd name="T23" fmla="*/ 67 h 78"/>
                <a:gd name="T24" fmla="*/ 21 w 78"/>
                <a:gd name="T25" fmla="*/ 60 h 78"/>
                <a:gd name="T26" fmla="*/ 21 w 78"/>
                <a:gd name="T27" fmla="*/ 53 h 78"/>
                <a:gd name="T28" fmla="*/ 0 w 78"/>
                <a:gd name="T29" fmla="*/ 35 h 78"/>
                <a:gd name="T30" fmla="*/ 10 w 78"/>
                <a:gd name="T31" fmla="*/ 60 h 78"/>
                <a:gd name="T32" fmla="*/ 0 w 78"/>
                <a:gd name="T33" fmla="*/ 67 h 78"/>
                <a:gd name="T34" fmla="*/ 7 w 78"/>
                <a:gd name="T35" fmla="*/ 75 h 78"/>
                <a:gd name="T36" fmla="*/ 14 w 78"/>
                <a:gd name="T37" fmla="*/ 67 h 78"/>
                <a:gd name="T38" fmla="*/ 18 w 78"/>
                <a:gd name="T39" fmla="*/ 71 h 78"/>
                <a:gd name="T40" fmla="*/ 46 w 78"/>
                <a:gd name="T41" fmla="*/ 78 h 78"/>
                <a:gd name="T42" fmla="*/ 57 w 78"/>
                <a:gd name="T43" fmla="*/ 78 h 78"/>
                <a:gd name="T44" fmla="*/ 75 w 78"/>
                <a:gd name="T45" fmla="*/ 75 h 78"/>
                <a:gd name="T46" fmla="*/ 78 w 78"/>
                <a:gd name="T47" fmla="*/ 67 h 78"/>
                <a:gd name="T48" fmla="*/ 60 w 78"/>
                <a:gd name="T49" fmla="*/ 67 h 78"/>
                <a:gd name="T50" fmla="*/ 46 w 78"/>
                <a:gd name="T51" fmla="*/ 67 h 78"/>
                <a:gd name="T52" fmla="*/ 53 w 78"/>
                <a:gd name="T53" fmla="*/ 64 h 78"/>
                <a:gd name="T54" fmla="*/ 60 w 78"/>
                <a:gd name="T55" fmla="*/ 50 h 78"/>
                <a:gd name="T56" fmla="*/ 67 w 78"/>
                <a:gd name="T57" fmla="*/ 60 h 78"/>
                <a:gd name="T58" fmla="*/ 78 w 78"/>
                <a:gd name="T59" fmla="*/ 53 h 78"/>
                <a:gd name="T60" fmla="*/ 75 w 78"/>
                <a:gd name="T61" fmla="*/ 50 h 78"/>
                <a:gd name="T62" fmla="*/ 75 w 78"/>
                <a:gd name="T63" fmla="*/ 28 h 78"/>
                <a:gd name="T64" fmla="*/ 67 w 78"/>
                <a:gd name="T65" fmla="*/ 25 h 78"/>
                <a:gd name="T66" fmla="*/ 57 w 78"/>
                <a:gd name="T67" fmla="*/ 32 h 78"/>
                <a:gd name="T68" fmla="*/ 50 w 78"/>
                <a:gd name="T69" fmla="*/ 25 h 78"/>
                <a:gd name="T70" fmla="*/ 75 w 78"/>
                <a:gd name="T71" fmla="*/ 14 h 78"/>
                <a:gd name="T72" fmla="*/ 67 w 78"/>
                <a:gd name="T73" fmla="*/ 7 h 78"/>
                <a:gd name="T74" fmla="*/ 67 w 78"/>
                <a:gd name="T75" fmla="*/ 3 h 78"/>
                <a:gd name="T76" fmla="*/ 53 w 78"/>
                <a:gd name="T77" fmla="*/ 14 h 78"/>
                <a:gd name="T78" fmla="*/ 46 w 78"/>
                <a:gd name="T79" fmla="*/ 10 h 78"/>
                <a:gd name="T80" fmla="*/ 32 w 78"/>
                <a:gd name="T81" fmla="*/ 3 h 78"/>
                <a:gd name="T82" fmla="*/ 35 w 78"/>
                <a:gd name="T83" fmla="*/ 14 h 78"/>
                <a:gd name="T84" fmla="*/ 21 w 78"/>
                <a:gd name="T85" fmla="*/ 21 h 78"/>
                <a:gd name="T86" fmla="*/ 7 w 78"/>
                <a:gd name="T87" fmla="*/ 7 h 78"/>
                <a:gd name="T88" fmla="*/ 10 w 78"/>
                <a:gd name="T89" fmla="*/ 25 h 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78"/>
                <a:gd name="T136" fmla="*/ 0 h 78"/>
                <a:gd name="T137" fmla="*/ 78 w 78"/>
                <a:gd name="T138" fmla="*/ 78 h 7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78" h="78">
                  <a:moveTo>
                    <a:pt x="35" y="14"/>
                  </a:moveTo>
                  <a:lnTo>
                    <a:pt x="25" y="14"/>
                  </a:lnTo>
                  <a:lnTo>
                    <a:pt x="25" y="21"/>
                  </a:lnTo>
                  <a:lnTo>
                    <a:pt x="39" y="21"/>
                  </a:lnTo>
                  <a:lnTo>
                    <a:pt x="21" y="28"/>
                  </a:lnTo>
                  <a:lnTo>
                    <a:pt x="28" y="35"/>
                  </a:lnTo>
                  <a:lnTo>
                    <a:pt x="43" y="28"/>
                  </a:lnTo>
                  <a:lnTo>
                    <a:pt x="43" y="32"/>
                  </a:lnTo>
                  <a:lnTo>
                    <a:pt x="35" y="35"/>
                  </a:lnTo>
                  <a:lnTo>
                    <a:pt x="21" y="39"/>
                  </a:lnTo>
                  <a:lnTo>
                    <a:pt x="28" y="46"/>
                  </a:lnTo>
                  <a:lnTo>
                    <a:pt x="46" y="35"/>
                  </a:lnTo>
                  <a:lnTo>
                    <a:pt x="50" y="39"/>
                  </a:lnTo>
                  <a:lnTo>
                    <a:pt x="35" y="50"/>
                  </a:lnTo>
                  <a:lnTo>
                    <a:pt x="21" y="53"/>
                  </a:lnTo>
                  <a:lnTo>
                    <a:pt x="28" y="60"/>
                  </a:lnTo>
                  <a:lnTo>
                    <a:pt x="50" y="50"/>
                  </a:lnTo>
                  <a:lnTo>
                    <a:pt x="50" y="53"/>
                  </a:lnTo>
                  <a:lnTo>
                    <a:pt x="46" y="57"/>
                  </a:lnTo>
                  <a:lnTo>
                    <a:pt x="39" y="57"/>
                  </a:lnTo>
                  <a:lnTo>
                    <a:pt x="43" y="67"/>
                  </a:lnTo>
                  <a:lnTo>
                    <a:pt x="39" y="67"/>
                  </a:lnTo>
                  <a:lnTo>
                    <a:pt x="28" y="67"/>
                  </a:lnTo>
                  <a:lnTo>
                    <a:pt x="21" y="60"/>
                  </a:lnTo>
                  <a:lnTo>
                    <a:pt x="21" y="53"/>
                  </a:lnTo>
                  <a:lnTo>
                    <a:pt x="21" y="28"/>
                  </a:lnTo>
                  <a:lnTo>
                    <a:pt x="0" y="28"/>
                  </a:lnTo>
                  <a:lnTo>
                    <a:pt x="0" y="35"/>
                  </a:lnTo>
                  <a:lnTo>
                    <a:pt x="10" y="35"/>
                  </a:lnTo>
                  <a:lnTo>
                    <a:pt x="10" y="60"/>
                  </a:lnTo>
                  <a:lnTo>
                    <a:pt x="0" y="67"/>
                  </a:lnTo>
                  <a:lnTo>
                    <a:pt x="7" y="75"/>
                  </a:lnTo>
                  <a:lnTo>
                    <a:pt x="10" y="71"/>
                  </a:lnTo>
                  <a:lnTo>
                    <a:pt x="14" y="67"/>
                  </a:lnTo>
                  <a:lnTo>
                    <a:pt x="18" y="71"/>
                  </a:lnTo>
                  <a:lnTo>
                    <a:pt x="28" y="75"/>
                  </a:lnTo>
                  <a:lnTo>
                    <a:pt x="39" y="78"/>
                  </a:lnTo>
                  <a:lnTo>
                    <a:pt x="46" y="78"/>
                  </a:lnTo>
                  <a:lnTo>
                    <a:pt x="57" y="78"/>
                  </a:lnTo>
                  <a:lnTo>
                    <a:pt x="75" y="78"/>
                  </a:lnTo>
                  <a:lnTo>
                    <a:pt x="75" y="75"/>
                  </a:lnTo>
                  <a:lnTo>
                    <a:pt x="78" y="67"/>
                  </a:lnTo>
                  <a:lnTo>
                    <a:pt x="75" y="67"/>
                  </a:lnTo>
                  <a:lnTo>
                    <a:pt x="60" y="67"/>
                  </a:lnTo>
                  <a:lnTo>
                    <a:pt x="43" y="67"/>
                  </a:lnTo>
                  <a:lnTo>
                    <a:pt x="46" y="67"/>
                  </a:lnTo>
                  <a:lnTo>
                    <a:pt x="53" y="64"/>
                  </a:lnTo>
                  <a:lnTo>
                    <a:pt x="57" y="57"/>
                  </a:lnTo>
                  <a:lnTo>
                    <a:pt x="60" y="50"/>
                  </a:lnTo>
                  <a:lnTo>
                    <a:pt x="67" y="60"/>
                  </a:lnTo>
                  <a:lnTo>
                    <a:pt x="75" y="57"/>
                  </a:lnTo>
                  <a:lnTo>
                    <a:pt x="78" y="53"/>
                  </a:lnTo>
                  <a:lnTo>
                    <a:pt x="75" y="50"/>
                  </a:lnTo>
                  <a:lnTo>
                    <a:pt x="60" y="39"/>
                  </a:lnTo>
                  <a:lnTo>
                    <a:pt x="75" y="28"/>
                  </a:lnTo>
                  <a:lnTo>
                    <a:pt x="67" y="25"/>
                  </a:lnTo>
                  <a:lnTo>
                    <a:pt x="64" y="25"/>
                  </a:lnTo>
                  <a:lnTo>
                    <a:pt x="57" y="32"/>
                  </a:lnTo>
                  <a:lnTo>
                    <a:pt x="50" y="25"/>
                  </a:lnTo>
                  <a:lnTo>
                    <a:pt x="53" y="21"/>
                  </a:lnTo>
                  <a:lnTo>
                    <a:pt x="75" y="21"/>
                  </a:lnTo>
                  <a:lnTo>
                    <a:pt x="75" y="14"/>
                  </a:lnTo>
                  <a:lnTo>
                    <a:pt x="60" y="14"/>
                  </a:lnTo>
                  <a:lnTo>
                    <a:pt x="67" y="7"/>
                  </a:lnTo>
                  <a:lnTo>
                    <a:pt x="67" y="3"/>
                  </a:lnTo>
                  <a:lnTo>
                    <a:pt x="57" y="0"/>
                  </a:lnTo>
                  <a:lnTo>
                    <a:pt x="53" y="14"/>
                  </a:lnTo>
                  <a:lnTo>
                    <a:pt x="39" y="14"/>
                  </a:lnTo>
                  <a:lnTo>
                    <a:pt x="46" y="10"/>
                  </a:lnTo>
                  <a:lnTo>
                    <a:pt x="43" y="0"/>
                  </a:lnTo>
                  <a:lnTo>
                    <a:pt x="32" y="3"/>
                  </a:lnTo>
                  <a:lnTo>
                    <a:pt x="35" y="14"/>
                  </a:lnTo>
                  <a:close/>
                  <a:moveTo>
                    <a:pt x="10" y="25"/>
                  </a:moveTo>
                  <a:lnTo>
                    <a:pt x="21" y="21"/>
                  </a:lnTo>
                  <a:lnTo>
                    <a:pt x="18" y="3"/>
                  </a:lnTo>
                  <a:lnTo>
                    <a:pt x="7" y="7"/>
                  </a:lnTo>
                  <a:lnTo>
                    <a:pt x="10"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7" name="Freeform 93"/>
            <p:cNvSpPr>
              <a:spLocks noEditPoints="1"/>
            </p:cNvSpPr>
            <p:nvPr/>
          </p:nvSpPr>
          <p:spPr bwMode="auto">
            <a:xfrm>
              <a:off x="3426" y="1722"/>
              <a:ext cx="71" cy="78"/>
            </a:xfrm>
            <a:custGeom>
              <a:avLst/>
              <a:gdLst>
                <a:gd name="T0" fmla="*/ 43 w 71"/>
                <a:gd name="T1" fmla="*/ 7 h 78"/>
                <a:gd name="T2" fmla="*/ 43 w 71"/>
                <a:gd name="T3" fmla="*/ 7 h 78"/>
                <a:gd name="T4" fmla="*/ 43 w 71"/>
                <a:gd name="T5" fmla="*/ 0 h 78"/>
                <a:gd name="T6" fmla="*/ 43 w 71"/>
                <a:gd name="T7" fmla="*/ 0 h 78"/>
                <a:gd name="T8" fmla="*/ 28 w 71"/>
                <a:gd name="T9" fmla="*/ 0 h 78"/>
                <a:gd name="T10" fmla="*/ 28 w 71"/>
                <a:gd name="T11" fmla="*/ 0 h 78"/>
                <a:gd name="T12" fmla="*/ 28 w 71"/>
                <a:gd name="T13" fmla="*/ 3 h 78"/>
                <a:gd name="T14" fmla="*/ 28 w 71"/>
                <a:gd name="T15" fmla="*/ 3 h 78"/>
                <a:gd name="T16" fmla="*/ 28 w 71"/>
                <a:gd name="T17" fmla="*/ 10 h 78"/>
                <a:gd name="T18" fmla="*/ 3 w 71"/>
                <a:gd name="T19" fmla="*/ 10 h 78"/>
                <a:gd name="T20" fmla="*/ 3 w 71"/>
                <a:gd name="T21" fmla="*/ 28 h 78"/>
                <a:gd name="T22" fmla="*/ 14 w 71"/>
                <a:gd name="T23" fmla="*/ 28 h 78"/>
                <a:gd name="T24" fmla="*/ 14 w 71"/>
                <a:gd name="T25" fmla="*/ 18 h 78"/>
                <a:gd name="T26" fmla="*/ 57 w 71"/>
                <a:gd name="T27" fmla="*/ 18 h 78"/>
                <a:gd name="T28" fmla="*/ 57 w 71"/>
                <a:gd name="T29" fmla="*/ 28 h 78"/>
                <a:gd name="T30" fmla="*/ 71 w 71"/>
                <a:gd name="T31" fmla="*/ 28 h 78"/>
                <a:gd name="T32" fmla="*/ 71 w 71"/>
                <a:gd name="T33" fmla="*/ 10 h 78"/>
                <a:gd name="T34" fmla="*/ 43 w 71"/>
                <a:gd name="T35" fmla="*/ 10 h 78"/>
                <a:gd name="T36" fmla="*/ 43 w 71"/>
                <a:gd name="T37" fmla="*/ 10 h 78"/>
                <a:gd name="T38" fmla="*/ 43 w 71"/>
                <a:gd name="T39" fmla="*/ 7 h 78"/>
                <a:gd name="T40" fmla="*/ 43 w 71"/>
                <a:gd name="T41" fmla="*/ 7 h 78"/>
                <a:gd name="T42" fmla="*/ 43 w 71"/>
                <a:gd name="T43" fmla="*/ 7 h 78"/>
                <a:gd name="T44" fmla="*/ 32 w 71"/>
                <a:gd name="T45" fmla="*/ 43 h 78"/>
                <a:gd name="T46" fmla="*/ 32 w 71"/>
                <a:gd name="T47" fmla="*/ 64 h 78"/>
                <a:gd name="T48" fmla="*/ 32 w 71"/>
                <a:gd name="T49" fmla="*/ 64 h 78"/>
                <a:gd name="T50" fmla="*/ 28 w 71"/>
                <a:gd name="T51" fmla="*/ 67 h 78"/>
                <a:gd name="T52" fmla="*/ 21 w 71"/>
                <a:gd name="T53" fmla="*/ 67 h 78"/>
                <a:gd name="T54" fmla="*/ 21 w 71"/>
                <a:gd name="T55" fmla="*/ 67 h 78"/>
                <a:gd name="T56" fmla="*/ 25 w 71"/>
                <a:gd name="T57" fmla="*/ 78 h 78"/>
                <a:gd name="T58" fmla="*/ 25 w 71"/>
                <a:gd name="T59" fmla="*/ 78 h 78"/>
                <a:gd name="T60" fmla="*/ 39 w 71"/>
                <a:gd name="T61" fmla="*/ 75 h 78"/>
                <a:gd name="T62" fmla="*/ 43 w 71"/>
                <a:gd name="T63" fmla="*/ 71 h 78"/>
                <a:gd name="T64" fmla="*/ 43 w 71"/>
                <a:gd name="T65" fmla="*/ 67 h 78"/>
                <a:gd name="T66" fmla="*/ 43 w 71"/>
                <a:gd name="T67" fmla="*/ 43 h 78"/>
                <a:gd name="T68" fmla="*/ 71 w 71"/>
                <a:gd name="T69" fmla="*/ 43 h 78"/>
                <a:gd name="T70" fmla="*/ 71 w 71"/>
                <a:gd name="T71" fmla="*/ 32 h 78"/>
                <a:gd name="T72" fmla="*/ 0 w 71"/>
                <a:gd name="T73" fmla="*/ 32 h 78"/>
                <a:gd name="T74" fmla="*/ 0 w 71"/>
                <a:gd name="T75" fmla="*/ 43 h 78"/>
                <a:gd name="T76" fmla="*/ 32 w 71"/>
                <a:gd name="T77" fmla="*/ 43 h 78"/>
                <a:gd name="T78" fmla="*/ 32 w 71"/>
                <a:gd name="T79" fmla="*/ 43 h 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1"/>
                <a:gd name="T121" fmla="*/ 0 h 78"/>
                <a:gd name="T122" fmla="*/ 71 w 71"/>
                <a:gd name="T123" fmla="*/ 78 h 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1" h="78">
                  <a:moveTo>
                    <a:pt x="43" y="7"/>
                  </a:moveTo>
                  <a:lnTo>
                    <a:pt x="43" y="7"/>
                  </a:lnTo>
                  <a:lnTo>
                    <a:pt x="43" y="0"/>
                  </a:lnTo>
                  <a:lnTo>
                    <a:pt x="28" y="0"/>
                  </a:lnTo>
                  <a:lnTo>
                    <a:pt x="28" y="3"/>
                  </a:lnTo>
                  <a:lnTo>
                    <a:pt x="28" y="10"/>
                  </a:lnTo>
                  <a:lnTo>
                    <a:pt x="3" y="10"/>
                  </a:lnTo>
                  <a:lnTo>
                    <a:pt x="3" y="28"/>
                  </a:lnTo>
                  <a:lnTo>
                    <a:pt x="14" y="28"/>
                  </a:lnTo>
                  <a:lnTo>
                    <a:pt x="14" y="18"/>
                  </a:lnTo>
                  <a:lnTo>
                    <a:pt x="57" y="18"/>
                  </a:lnTo>
                  <a:lnTo>
                    <a:pt x="57" y="28"/>
                  </a:lnTo>
                  <a:lnTo>
                    <a:pt x="71" y="28"/>
                  </a:lnTo>
                  <a:lnTo>
                    <a:pt x="71" y="10"/>
                  </a:lnTo>
                  <a:lnTo>
                    <a:pt x="43" y="10"/>
                  </a:lnTo>
                  <a:lnTo>
                    <a:pt x="43" y="7"/>
                  </a:lnTo>
                  <a:close/>
                  <a:moveTo>
                    <a:pt x="32" y="43"/>
                  </a:moveTo>
                  <a:lnTo>
                    <a:pt x="32" y="64"/>
                  </a:lnTo>
                  <a:lnTo>
                    <a:pt x="28" y="67"/>
                  </a:lnTo>
                  <a:lnTo>
                    <a:pt x="21" y="67"/>
                  </a:lnTo>
                  <a:lnTo>
                    <a:pt x="25" y="78"/>
                  </a:lnTo>
                  <a:lnTo>
                    <a:pt x="39" y="75"/>
                  </a:lnTo>
                  <a:lnTo>
                    <a:pt x="43" y="71"/>
                  </a:lnTo>
                  <a:lnTo>
                    <a:pt x="43" y="67"/>
                  </a:lnTo>
                  <a:lnTo>
                    <a:pt x="43" y="43"/>
                  </a:lnTo>
                  <a:lnTo>
                    <a:pt x="71" y="43"/>
                  </a:lnTo>
                  <a:lnTo>
                    <a:pt x="71" y="32"/>
                  </a:lnTo>
                  <a:lnTo>
                    <a:pt x="0" y="32"/>
                  </a:lnTo>
                  <a:lnTo>
                    <a:pt x="0" y="43"/>
                  </a:lnTo>
                  <a:lnTo>
                    <a:pt x="3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8" name="Freeform 94"/>
            <p:cNvSpPr>
              <a:spLocks/>
            </p:cNvSpPr>
            <p:nvPr/>
          </p:nvSpPr>
          <p:spPr bwMode="auto">
            <a:xfrm>
              <a:off x="3511" y="1722"/>
              <a:ext cx="75" cy="78"/>
            </a:xfrm>
            <a:custGeom>
              <a:avLst/>
              <a:gdLst>
                <a:gd name="T0" fmla="*/ 43 w 75"/>
                <a:gd name="T1" fmla="*/ 10 h 78"/>
                <a:gd name="T2" fmla="*/ 43 w 75"/>
                <a:gd name="T3" fmla="*/ 10 h 78"/>
                <a:gd name="T4" fmla="*/ 43 w 75"/>
                <a:gd name="T5" fmla="*/ 7 h 78"/>
                <a:gd name="T6" fmla="*/ 43 w 75"/>
                <a:gd name="T7" fmla="*/ 7 h 78"/>
                <a:gd name="T8" fmla="*/ 43 w 75"/>
                <a:gd name="T9" fmla="*/ 0 h 78"/>
                <a:gd name="T10" fmla="*/ 43 w 75"/>
                <a:gd name="T11" fmla="*/ 0 h 78"/>
                <a:gd name="T12" fmla="*/ 36 w 75"/>
                <a:gd name="T13" fmla="*/ 0 h 78"/>
                <a:gd name="T14" fmla="*/ 36 w 75"/>
                <a:gd name="T15" fmla="*/ 0 h 78"/>
                <a:gd name="T16" fmla="*/ 29 w 75"/>
                <a:gd name="T17" fmla="*/ 3 h 78"/>
                <a:gd name="T18" fmla="*/ 29 w 75"/>
                <a:gd name="T19" fmla="*/ 3 h 78"/>
                <a:gd name="T20" fmla="*/ 33 w 75"/>
                <a:gd name="T21" fmla="*/ 14 h 78"/>
                <a:gd name="T22" fmla="*/ 0 w 75"/>
                <a:gd name="T23" fmla="*/ 14 h 78"/>
                <a:gd name="T24" fmla="*/ 0 w 75"/>
                <a:gd name="T25" fmla="*/ 21 h 78"/>
                <a:gd name="T26" fmla="*/ 33 w 75"/>
                <a:gd name="T27" fmla="*/ 21 h 78"/>
                <a:gd name="T28" fmla="*/ 33 w 75"/>
                <a:gd name="T29" fmla="*/ 32 h 78"/>
                <a:gd name="T30" fmla="*/ 8 w 75"/>
                <a:gd name="T31" fmla="*/ 32 h 78"/>
                <a:gd name="T32" fmla="*/ 8 w 75"/>
                <a:gd name="T33" fmla="*/ 67 h 78"/>
                <a:gd name="T34" fmla="*/ 22 w 75"/>
                <a:gd name="T35" fmla="*/ 67 h 78"/>
                <a:gd name="T36" fmla="*/ 22 w 75"/>
                <a:gd name="T37" fmla="*/ 39 h 78"/>
                <a:gd name="T38" fmla="*/ 33 w 75"/>
                <a:gd name="T39" fmla="*/ 39 h 78"/>
                <a:gd name="T40" fmla="*/ 33 w 75"/>
                <a:gd name="T41" fmla="*/ 78 h 78"/>
                <a:gd name="T42" fmla="*/ 43 w 75"/>
                <a:gd name="T43" fmla="*/ 78 h 78"/>
                <a:gd name="T44" fmla="*/ 43 w 75"/>
                <a:gd name="T45" fmla="*/ 39 h 78"/>
                <a:gd name="T46" fmla="*/ 54 w 75"/>
                <a:gd name="T47" fmla="*/ 39 h 78"/>
                <a:gd name="T48" fmla="*/ 54 w 75"/>
                <a:gd name="T49" fmla="*/ 57 h 78"/>
                <a:gd name="T50" fmla="*/ 54 w 75"/>
                <a:gd name="T51" fmla="*/ 57 h 78"/>
                <a:gd name="T52" fmla="*/ 54 w 75"/>
                <a:gd name="T53" fmla="*/ 60 h 78"/>
                <a:gd name="T54" fmla="*/ 47 w 75"/>
                <a:gd name="T55" fmla="*/ 60 h 78"/>
                <a:gd name="T56" fmla="*/ 47 w 75"/>
                <a:gd name="T57" fmla="*/ 60 h 78"/>
                <a:gd name="T58" fmla="*/ 47 w 75"/>
                <a:gd name="T59" fmla="*/ 71 h 78"/>
                <a:gd name="T60" fmla="*/ 47 w 75"/>
                <a:gd name="T61" fmla="*/ 71 h 78"/>
                <a:gd name="T62" fmla="*/ 61 w 75"/>
                <a:gd name="T63" fmla="*/ 67 h 78"/>
                <a:gd name="T64" fmla="*/ 65 w 75"/>
                <a:gd name="T65" fmla="*/ 67 h 78"/>
                <a:gd name="T66" fmla="*/ 65 w 75"/>
                <a:gd name="T67" fmla="*/ 64 h 78"/>
                <a:gd name="T68" fmla="*/ 65 w 75"/>
                <a:gd name="T69" fmla="*/ 32 h 78"/>
                <a:gd name="T70" fmla="*/ 43 w 75"/>
                <a:gd name="T71" fmla="*/ 32 h 78"/>
                <a:gd name="T72" fmla="*/ 43 w 75"/>
                <a:gd name="T73" fmla="*/ 21 h 78"/>
                <a:gd name="T74" fmla="*/ 75 w 75"/>
                <a:gd name="T75" fmla="*/ 21 h 78"/>
                <a:gd name="T76" fmla="*/ 75 w 75"/>
                <a:gd name="T77" fmla="*/ 14 h 78"/>
                <a:gd name="T78" fmla="*/ 36 w 75"/>
                <a:gd name="T79" fmla="*/ 14 h 78"/>
                <a:gd name="T80" fmla="*/ 36 w 75"/>
                <a:gd name="T81" fmla="*/ 14 h 78"/>
                <a:gd name="T82" fmla="*/ 43 w 75"/>
                <a:gd name="T83" fmla="*/ 10 h 78"/>
                <a:gd name="T84" fmla="*/ 43 w 75"/>
                <a:gd name="T85" fmla="*/ 10 h 78"/>
                <a:gd name="T86" fmla="*/ 43 w 75"/>
                <a:gd name="T87" fmla="*/ 10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8"/>
                <a:gd name="T134" fmla="*/ 75 w 75"/>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8">
                  <a:moveTo>
                    <a:pt x="43" y="10"/>
                  </a:moveTo>
                  <a:lnTo>
                    <a:pt x="43" y="10"/>
                  </a:lnTo>
                  <a:lnTo>
                    <a:pt x="43" y="7"/>
                  </a:lnTo>
                  <a:lnTo>
                    <a:pt x="43" y="0"/>
                  </a:lnTo>
                  <a:lnTo>
                    <a:pt x="36" y="0"/>
                  </a:lnTo>
                  <a:lnTo>
                    <a:pt x="29" y="3"/>
                  </a:lnTo>
                  <a:lnTo>
                    <a:pt x="33" y="14"/>
                  </a:lnTo>
                  <a:lnTo>
                    <a:pt x="0" y="14"/>
                  </a:lnTo>
                  <a:lnTo>
                    <a:pt x="0" y="21"/>
                  </a:lnTo>
                  <a:lnTo>
                    <a:pt x="33" y="21"/>
                  </a:lnTo>
                  <a:lnTo>
                    <a:pt x="33" y="32"/>
                  </a:lnTo>
                  <a:lnTo>
                    <a:pt x="8" y="32"/>
                  </a:lnTo>
                  <a:lnTo>
                    <a:pt x="8" y="67"/>
                  </a:lnTo>
                  <a:lnTo>
                    <a:pt x="22" y="67"/>
                  </a:lnTo>
                  <a:lnTo>
                    <a:pt x="22" y="39"/>
                  </a:lnTo>
                  <a:lnTo>
                    <a:pt x="33" y="39"/>
                  </a:lnTo>
                  <a:lnTo>
                    <a:pt x="33" y="78"/>
                  </a:lnTo>
                  <a:lnTo>
                    <a:pt x="43" y="78"/>
                  </a:lnTo>
                  <a:lnTo>
                    <a:pt x="43" y="39"/>
                  </a:lnTo>
                  <a:lnTo>
                    <a:pt x="54" y="39"/>
                  </a:lnTo>
                  <a:lnTo>
                    <a:pt x="54" y="57"/>
                  </a:lnTo>
                  <a:lnTo>
                    <a:pt x="54" y="60"/>
                  </a:lnTo>
                  <a:lnTo>
                    <a:pt x="47" y="60"/>
                  </a:lnTo>
                  <a:lnTo>
                    <a:pt x="47" y="71"/>
                  </a:lnTo>
                  <a:lnTo>
                    <a:pt x="61" y="67"/>
                  </a:lnTo>
                  <a:lnTo>
                    <a:pt x="65" y="67"/>
                  </a:lnTo>
                  <a:lnTo>
                    <a:pt x="65" y="64"/>
                  </a:lnTo>
                  <a:lnTo>
                    <a:pt x="65" y="32"/>
                  </a:lnTo>
                  <a:lnTo>
                    <a:pt x="43" y="32"/>
                  </a:lnTo>
                  <a:lnTo>
                    <a:pt x="43" y="21"/>
                  </a:lnTo>
                  <a:lnTo>
                    <a:pt x="75" y="21"/>
                  </a:lnTo>
                  <a:lnTo>
                    <a:pt x="75" y="14"/>
                  </a:lnTo>
                  <a:lnTo>
                    <a:pt x="36" y="14"/>
                  </a:lnTo>
                  <a:lnTo>
                    <a:pt x="4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99" name="Freeform 95"/>
            <p:cNvSpPr>
              <a:spLocks noEditPoints="1"/>
            </p:cNvSpPr>
            <p:nvPr/>
          </p:nvSpPr>
          <p:spPr bwMode="auto">
            <a:xfrm>
              <a:off x="3176" y="1989"/>
              <a:ext cx="79" cy="79"/>
            </a:xfrm>
            <a:custGeom>
              <a:avLst/>
              <a:gdLst>
                <a:gd name="T0" fmla="*/ 43 w 79"/>
                <a:gd name="T1" fmla="*/ 4 h 79"/>
                <a:gd name="T2" fmla="*/ 43 w 79"/>
                <a:gd name="T3" fmla="*/ 4 h 79"/>
                <a:gd name="T4" fmla="*/ 32 w 79"/>
                <a:gd name="T5" fmla="*/ 0 h 79"/>
                <a:gd name="T6" fmla="*/ 25 w 79"/>
                <a:gd name="T7" fmla="*/ 22 h 79"/>
                <a:gd name="T8" fmla="*/ 22 w 79"/>
                <a:gd name="T9" fmla="*/ 18 h 79"/>
                <a:gd name="T10" fmla="*/ 0 w 79"/>
                <a:gd name="T11" fmla="*/ 32 h 79"/>
                <a:gd name="T12" fmla="*/ 7 w 79"/>
                <a:gd name="T13" fmla="*/ 43 h 79"/>
                <a:gd name="T14" fmla="*/ 7 w 79"/>
                <a:gd name="T15" fmla="*/ 39 h 79"/>
                <a:gd name="T16" fmla="*/ 29 w 79"/>
                <a:gd name="T17" fmla="*/ 25 h 79"/>
                <a:gd name="T18" fmla="*/ 25 w 79"/>
                <a:gd name="T19" fmla="*/ 22 h 79"/>
                <a:gd name="T20" fmla="*/ 32 w 79"/>
                <a:gd name="T21" fmla="*/ 25 h 79"/>
                <a:gd name="T22" fmla="*/ 40 w 79"/>
                <a:gd name="T23" fmla="*/ 14 h 79"/>
                <a:gd name="T24" fmla="*/ 43 w 79"/>
                <a:gd name="T25" fmla="*/ 14 h 79"/>
                <a:gd name="T26" fmla="*/ 22 w 79"/>
                <a:gd name="T27" fmla="*/ 32 h 79"/>
                <a:gd name="T28" fmla="*/ 22 w 79"/>
                <a:gd name="T29" fmla="*/ 32 h 79"/>
                <a:gd name="T30" fmla="*/ 25 w 79"/>
                <a:gd name="T31" fmla="*/ 36 h 79"/>
                <a:gd name="T32" fmla="*/ 11 w 79"/>
                <a:gd name="T33" fmla="*/ 64 h 79"/>
                <a:gd name="T34" fmla="*/ 22 w 79"/>
                <a:gd name="T35" fmla="*/ 64 h 79"/>
                <a:gd name="T36" fmla="*/ 4 w 79"/>
                <a:gd name="T37" fmla="*/ 68 h 79"/>
                <a:gd name="T38" fmla="*/ 7 w 79"/>
                <a:gd name="T39" fmla="*/ 79 h 79"/>
                <a:gd name="T40" fmla="*/ 36 w 79"/>
                <a:gd name="T41" fmla="*/ 68 h 79"/>
                <a:gd name="T42" fmla="*/ 61 w 79"/>
                <a:gd name="T43" fmla="*/ 79 h 79"/>
                <a:gd name="T44" fmla="*/ 64 w 79"/>
                <a:gd name="T45" fmla="*/ 79 h 79"/>
                <a:gd name="T46" fmla="*/ 72 w 79"/>
                <a:gd name="T47" fmla="*/ 68 h 79"/>
                <a:gd name="T48" fmla="*/ 57 w 79"/>
                <a:gd name="T49" fmla="*/ 64 h 79"/>
                <a:gd name="T50" fmla="*/ 64 w 79"/>
                <a:gd name="T51" fmla="*/ 39 h 79"/>
                <a:gd name="T52" fmla="*/ 72 w 79"/>
                <a:gd name="T53" fmla="*/ 43 h 79"/>
                <a:gd name="T54" fmla="*/ 79 w 79"/>
                <a:gd name="T55" fmla="*/ 32 h 79"/>
                <a:gd name="T56" fmla="*/ 79 w 79"/>
                <a:gd name="T57" fmla="*/ 29 h 79"/>
                <a:gd name="T58" fmla="*/ 61 w 79"/>
                <a:gd name="T59" fmla="*/ 25 h 79"/>
                <a:gd name="T60" fmla="*/ 54 w 79"/>
                <a:gd name="T61" fmla="*/ 14 h 79"/>
                <a:gd name="T62" fmla="*/ 61 w 79"/>
                <a:gd name="T63" fmla="*/ 14 h 79"/>
                <a:gd name="T64" fmla="*/ 61 w 79"/>
                <a:gd name="T65" fmla="*/ 22 h 79"/>
                <a:gd name="T66" fmla="*/ 72 w 79"/>
                <a:gd name="T67" fmla="*/ 25 h 79"/>
                <a:gd name="T68" fmla="*/ 43 w 79"/>
                <a:gd name="T69" fmla="*/ 7 h 79"/>
                <a:gd name="T70" fmla="*/ 43 w 79"/>
                <a:gd name="T71" fmla="*/ 7 h 79"/>
                <a:gd name="T72" fmla="*/ 43 w 79"/>
                <a:gd name="T73" fmla="*/ 4 h 79"/>
                <a:gd name="T74" fmla="*/ 22 w 79"/>
                <a:gd name="T75" fmla="*/ 14 h 79"/>
                <a:gd name="T76" fmla="*/ 15 w 79"/>
                <a:gd name="T77" fmla="*/ 0 h 79"/>
                <a:gd name="T78" fmla="*/ 4 w 79"/>
                <a:gd name="T79" fmla="*/ 7 h 79"/>
                <a:gd name="T80" fmla="*/ 4 w 79"/>
                <a:gd name="T81" fmla="*/ 11 h 79"/>
                <a:gd name="T82" fmla="*/ 15 w 79"/>
                <a:gd name="T83" fmla="*/ 18 h 79"/>
                <a:gd name="T84" fmla="*/ 22 w 79"/>
                <a:gd name="T85" fmla="*/ 14 h 79"/>
                <a:gd name="T86" fmla="*/ 22 w 79"/>
                <a:gd name="T87" fmla="*/ 14 h 79"/>
                <a:gd name="T88" fmla="*/ 50 w 79"/>
                <a:gd name="T89" fmla="*/ 25 h 79"/>
                <a:gd name="T90" fmla="*/ 61 w 79"/>
                <a:gd name="T91" fmla="*/ 36 h 79"/>
                <a:gd name="T92" fmla="*/ 36 w 79"/>
                <a:gd name="T93" fmla="*/ 36 h 79"/>
                <a:gd name="T94" fmla="*/ 50 w 79"/>
                <a:gd name="T95" fmla="*/ 25 h 79"/>
                <a:gd name="T96" fmla="*/ 50 w 79"/>
                <a:gd name="T97" fmla="*/ 25 h 79"/>
                <a:gd name="T98" fmla="*/ 43 w 79"/>
                <a:gd name="T99" fmla="*/ 57 h 79"/>
                <a:gd name="T100" fmla="*/ 43 w 79"/>
                <a:gd name="T101" fmla="*/ 54 h 79"/>
                <a:gd name="T102" fmla="*/ 43 w 79"/>
                <a:gd name="T103" fmla="*/ 50 h 79"/>
                <a:gd name="T104" fmla="*/ 32 w 79"/>
                <a:gd name="T105" fmla="*/ 50 h 79"/>
                <a:gd name="T106" fmla="*/ 22 w 79"/>
                <a:gd name="T107" fmla="*/ 64 h 79"/>
                <a:gd name="T108" fmla="*/ 54 w 79"/>
                <a:gd name="T109" fmla="*/ 46 h 79"/>
                <a:gd name="T110" fmla="*/ 54 w 79"/>
                <a:gd name="T111" fmla="*/ 61 h 79"/>
                <a:gd name="T112" fmla="*/ 43 w 79"/>
                <a:gd name="T113" fmla="*/ 57 h 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9"/>
                <a:gd name="T172" fmla="*/ 0 h 79"/>
                <a:gd name="T173" fmla="*/ 79 w 79"/>
                <a:gd name="T174" fmla="*/ 79 h 79"/>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9" h="79">
                  <a:moveTo>
                    <a:pt x="43" y="4"/>
                  </a:moveTo>
                  <a:lnTo>
                    <a:pt x="43" y="4"/>
                  </a:lnTo>
                  <a:lnTo>
                    <a:pt x="32" y="0"/>
                  </a:lnTo>
                  <a:lnTo>
                    <a:pt x="29" y="11"/>
                  </a:lnTo>
                  <a:lnTo>
                    <a:pt x="25" y="22"/>
                  </a:lnTo>
                  <a:lnTo>
                    <a:pt x="22" y="18"/>
                  </a:lnTo>
                  <a:lnTo>
                    <a:pt x="0" y="32"/>
                  </a:lnTo>
                  <a:lnTo>
                    <a:pt x="7" y="43"/>
                  </a:lnTo>
                  <a:lnTo>
                    <a:pt x="7" y="39"/>
                  </a:lnTo>
                  <a:lnTo>
                    <a:pt x="29" y="25"/>
                  </a:lnTo>
                  <a:lnTo>
                    <a:pt x="25" y="22"/>
                  </a:lnTo>
                  <a:lnTo>
                    <a:pt x="32" y="25"/>
                  </a:lnTo>
                  <a:lnTo>
                    <a:pt x="40" y="14"/>
                  </a:lnTo>
                  <a:lnTo>
                    <a:pt x="43" y="14"/>
                  </a:lnTo>
                  <a:lnTo>
                    <a:pt x="36" y="25"/>
                  </a:lnTo>
                  <a:lnTo>
                    <a:pt x="22" y="32"/>
                  </a:lnTo>
                  <a:lnTo>
                    <a:pt x="25" y="36"/>
                  </a:lnTo>
                  <a:lnTo>
                    <a:pt x="11" y="36"/>
                  </a:lnTo>
                  <a:lnTo>
                    <a:pt x="11" y="64"/>
                  </a:lnTo>
                  <a:lnTo>
                    <a:pt x="22" y="64"/>
                  </a:lnTo>
                  <a:lnTo>
                    <a:pt x="4" y="68"/>
                  </a:lnTo>
                  <a:lnTo>
                    <a:pt x="7" y="79"/>
                  </a:lnTo>
                  <a:lnTo>
                    <a:pt x="25" y="75"/>
                  </a:lnTo>
                  <a:lnTo>
                    <a:pt x="36" y="68"/>
                  </a:lnTo>
                  <a:lnTo>
                    <a:pt x="61" y="79"/>
                  </a:lnTo>
                  <a:lnTo>
                    <a:pt x="64" y="79"/>
                  </a:lnTo>
                  <a:lnTo>
                    <a:pt x="72" y="68"/>
                  </a:lnTo>
                  <a:lnTo>
                    <a:pt x="57" y="64"/>
                  </a:lnTo>
                  <a:lnTo>
                    <a:pt x="64" y="64"/>
                  </a:lnTo>
                  <a:lnTo>
                    <a:pt x="64" y="39"/>
                  </a:lnTo>
                  <a:lnTo>
                    <a:pt x="72" y="43"/>
                  </a:lnTo>
                  <a:lnTo>
                    <a:pt x="79" y="32"/>
                  </a:lnTo>
                  <a:lnTo>
                    <a:pt x="79" y="29"/>
                  </a:lnTo>
                  <a:lnTo>
                    <a:pt x="61" y="25"/>
                  </a:lnTo>
                  <a:lnTo>
                    <a:pt x="57" y="22"/>
                  </a:lnTo>
                  <a:lnTo>
                    <a:pt x="54" y="14"/>
                  </a:lnTo>
                  <a:lnTo>
                    <a:pt x="61" y="14"/>
                  </a:lnTo>
                  <a:lnTo>
                    <a:pt x="61" y="22"/>
                  </a:lnTo>
                  <a:lnTo>
                    <a:pt x="72" y="25"/>
                  </a:lnTo>
                  <a:lnTo>
                    <a:pt x="75" y="7"/>
                  </a:lnTo>
                  <a:lnTo>
                    <a:pt x="43" y="7"/>
                  </a:lnTo>
                  <a:lnTo>
                    <a:pt x="43" y="4"/>
                  </a:lnTo>
                  <a:close/>
                  <a:moveTo>
                    <a:pt x="22" y="14"/>
                  </a:moveTo>
                  <a:lnTo>
                    <a:pt x="22" y="14"/>
                  </a:lnTo>
                  <a:lnTo>
                    <a:pt x="15" y="0"/>
                  </a:lnTo>
                  <a:lnTo>
                    <a:pt x="4" y="7"/>
                  </a:lnTo>
                  <a:lnTo>
                    <a:pt x="4" y="11"/>
                  </a:lnTo>
                  <a:lnTo>
                    <a:pt x="15" y="18"/>
                  </a:lnTo>
                  <a:lnTo>
                    <a:pt x="22" y="14"/>
                  </a:lnTo>
                  <a:close/>
                  <a:moveTo>
                    <a:pt x="50" y="25"/>
                  </a:moveTo>
                  <a:lnTo>
                    <a:pt x="50" y="25"/>
                  </a:lnTo>
                  <a:lnTo>
                    <a:pt x="54" y="32"/>
                  </a:lnTo>
                  <a:lnTo>
                    <a:pt x="61" y="36"/>
                  </a:lnTo>
                  <a:lnTo>
                    <a:pt x="36" y="36"/>
                  </a:lnTo>
                  <a:lnTo>
                    <a:pt x="43" y="32"/>
                  </a:lnTo>
                  <a:lnTo>
                    <a:pt x="50" y="25"/>
                  </a:lnTo>
                  <a:close/>
                  <a:moveTo>
                    <a:pt x="43" y="57"/>
                  </a:moveTo>
                  <a:lnTo>
                    <a:pt x="43" y="57"/>
                  </a:lnTo>
                  <a:lnTo>
                    <a:pt x="43" y="54"/>
                  </a:lnTo>
                  <a:lnTo>
                    <a:pt x="43" y="50"/>
                  </a:lnTo>
                  <a:lnTo>
                    <a:pt x="32" y="50"/>
                  </a:lnTo>
                  <a:lnTo>
                    <a:pt x="29" y="57"/>
                  </a:lnTo>
                  <a:lnTo>
                    <a:pt x="22" y="64"/>
                  </a:lnTo>
                  <a:lnTo>
                    <a:pt x="22" y="46"/>
                  </a:lnTo>
                  <a:lnTo>
                    <a:pt x="54" y="46"/>
                  </a:lnTo>
                  <a:lnTo>
                    <a:pt x="54" y="61"/>
                  </a:lnTo>
                  <a:lnTo>
                    <a:pt x="43"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0" name="Freeform 96"/>
            <p:cNvSpPr>
              <a:spLocks noEditPoints="1"/>
            </p:cNvSpPr>
            <p:nvPr/>
          </p:nvSpPr>
          <p:spPr bwMode="auto">
            <a:xfrm>
              <a:off x="3265" y="1993"/>
              <a:ext cx="68" cy="71"/>
            </a:xfrm>
            <a:custGeom>
              <a:avLst/>
              <a:gdLst>
                <a:gd name="T0" fmla="*/ 11 w 68"/>
                <a:gd name="T1" fmla="*/ 71 h 71"/>
                <a:gd name="T2" fmla="*/ 11 w 68"/>
                <a:gd name="T3" fmla="*/ 50 h 71"/>
                <a:gd name="T4" fmla="*/ 11 w 68"/>
                <a:gd name="T5" fmla="*/ 50 h 71"/>
                <a:gd name="T6" fmla="*/ 15 w 68"/>
                <a:gd name="T7" fmla="*/ 60 h 71"/>
                <a:gd name="T8" fmla="*/ 15 w 68"/>
                <a:gd name="T9" fmla="*/ 60 h 71"/>
                <a:gd name="T10" fmla="*/ 22 w 68"/>
                <a:gd name="T11" fmla="*/ 57 h 71"/>
                <a:gd name="T12" fmla="*/ 25 w 68"/>
                <a:gd name="T13" fmla="*/ 53 h 71"/>
                <a:gd name="T14" fmla="*/ 29 w 68"/>
                <a:gd name="T15" fmla="*/ 50 h 71"/>
                <a:gd name="T16" fmla="*/ 29 w 68"/>
                <a:gd name="T17" fmla="*/ 42 h 71"/>
                <a:gd name="T18" fmla="*/ 29 w 68"/>
                <a:gd name="T19" fmla="*/ 42 h 71"/>
                <a:gd name="T20" fmla="*/ 29 w 68"/>
                <a:gd name="T21" fmla="*/ 35 h 71"/>
                <a:gd name="T22" fmla="*/ 25 w 68"/>
                <a:gd name="T23" fmla="*/ 28 h 71"/>
                <a:gd name="T24" fmla="*/ 25 w 68"/>
                <a:gd name="T25" fmla="*/ 28 h 71"/>
                <a:gd name="T26" fmla="*/ 25 w 68"/>
                <a:gd name="T27" fmla="*/ 18 h 71"/>
                <a:gd name="T28" fmla="*/ 25 w 68"/>
                <a:gd name="T29" fmla="*/ 18 h 71"/>
                <a:gd name="T30" fmla="*/ 29 w 68"/>
                <a:gd name="T31" fmla="*/ 0 h 71"/>
                <a:gd name="T32" fmla="*/ 0 w 68"/>
                <a:gd name="T33" fmla="*/ 0 h 71"/>
                <a:gd name="T34" fmla="*/ 0 w 68"/>
                <a:gd name="T35" fmla="*/ 71 h 71"/>
                <a:gd name="T36" fmla="*/ 11 w 68"/>
                <a:gd name="T37" fmla="*/ 71 h 71"/>
                <a:gd name="T38" fmla="*/ 11 w 68"/>
                <a:gd name="T39" fmla="*/ 71 h 71"/>
                <a:gd name="T40" fmla="*/ 43 w 68"/>
                <a:gd name="T41" fmla="*/ 71 h 71"/>
                <a:gd name="T42" fmla="*/ 43 w 68"/>
                <a:gd name="T43" fmla="*/ 64 h 71"/>
                <a:gd name="T44" fmla="*/ 57 w 68"/>
                <a:gd name="T45" fmla="*/ 64 h 71"/>
                <a:gd name="T46" fmla="*/ 57 w 68"/>
                <a:gd name="T47" fmla="*/ 71 h 71"/>
                <a:gd name="T48" fmla="*/ 68 w 68"/>
                <a:gd name="T49" fmla="*/ 71 h 71"/>
                <a:gd name="T50" fmla="*/ 68 w 68"/>
                <a:gd name="T51" fmla="*/ 0 h 71"/>
                <a:gd name="T52" fmla="*/ 33 w 68"/>
                <a:gd name="T53" fmla="*/ 0 h 71"/>
                <a:gd name="T54" fmla="*/ 33 w 68"/>
                <a:gd name="T55" fmla="*/ 71 h 71"/>
                <a:gd name="T56" fmla="*/ 43 w 68"/>
                <a:gd name="T57" fmla="*/ 71 h 71"/>
                <a:gd name="T58" fmla="*/ 43 w 68"/>
                <a:gd name="T59" fmla="*/ 71 h 71"/>
                <a:gd name="T60" fmla="*/ 15 w 68"/>
                <a:gd name="T61" fmla="*/ 28 h 71"/>
                <a:gd name="T62" fmla="*/ 15 w 68"/>
                <a:gd name="T63" fmla="*/ 28 h 71"/>
                <a:gd name="T64" fmla="*/ 18 w 68"/>
                <a:gd name="T65" fmla="*/ 39 h 71"/>
                <a:gd name="T66" fmla="*/ 18 w 68"/>
                <a:gd name="T67" fmla="*/ 39 h 71"/>
                <a:gd name="T68" fmla="*/ 18 w 68"/>
                <a:gd name="T69" fmla="*/ 46 h 71"/>
                <a:gd name="T70" fmla="*/ 11 w 68"/>
                <a:gd name="T71" fmla="*/ 46 h 71"/>
                <a:gd name="T72" fmla="*/ 11 w 68"/>
                <a:gd name="T73" fmla="*/ 10 h 71"/>
                <a:gd name="T74" fmla="*/ 18 w 68"/>
                <a:gd name="T75" fmla="*/ 10 h 71"/>
                <a:gd name="T76" fmla="*/ 18 w 68"/>
                <a:gd name="T77" fmla="*/ 10 h 71"/>
                <a:gd name="T78" fmla="*/ 15 w 68"/>
                <a:gd name="T79" fmla="*/ 28 h 71"/>
                <a:gd name="T80" fmla="*/ 15 w 68"/>
                <a:gd name="T81" fmla="*/ 28 h 71"/>
                <a:gd name="T82" fmla="*/ 15 w 68"/>
                <a:gd name="T83" fmla="*/ 28 h 71"/>
                <a:gd name="T84" fmla="*/ 43 w 68"/>
                <a:gd name="T85" fmla="*/ 28 h 71"/>
                <a:gd name="T86" fmla="*/ 43 w 68"/>
                <a:gd name="T87" fmla="*/ 10 h 71"/>
                <a:gd name="T88" fmla="*/ 57 w 68"/>
                <a:gd name="T89" fmla="*/ 10 h 71"/>
                <a:gd name="T90" fmla="*/ 57 w 68"/>
                <a:gd name="T91" fmla="*/ 28 h 71"/>
                <a:gd name="T92" fmla="*/ 43 w 68"/>
                <a:gd name="T93" fmla="*/ 28 h 71"/>
                <a:gd name="T94" fmla="*/ 43 w 68"/>
                <a:gd name="T95" fmla="*/ 28 h 71"/>
                <a:gd name="T96" fmla="*/ 57 w 68"/>
                <a:gd name="T97" fmla="*/ 35 h 71"/>
                <a:gd name="T98" fmla="*/ 57 w 68"/>
                <a:gd name="T99" fmla="*/ 53 h 71"/>
                <a:gd name="T100" fmla="*/ 43 w 68"/>
                <a:gd name="T101" fmla="*/ 53 h 71"/>
                <a:gd name="T102" fmla="*/ 43 w 68"/>
                <a:gd name="T103" fmla="*/ 35 h 71"/>
                <a:gd name="T104" fmla="*/ 57 w 68"/>
                <a:gd name="T105" fmla="*/ 35 h 71"/>
                <a:gd name="T106" fmla="*/ 57 w 68"/>
                <a:gd name="T107" fmla="*/ 35 h 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8"/>
                <a:gd name="T163" fmla="*/ 0 h 71"/>
                <a:gd name="T164" fmla="*/ 68 w 68"/>
                <a:gd name="T165" fmla="*/ 71 h 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8" h="71">
                  <a:moveTo>
                    <a:pt x="11" y="71"/>
                  </a:moveTo>
                  <a:lnTo>
                    <a:pt x="11" y="50"/>
                  </a:lnTo>
                  <a:lnTo>
                    <a:pt x="15" y="60"/>
                  </a:lnTo>
                  <a:lnTo>
                    <a:pt x="22" y="57"/>
                  </a:lnTo>
                  <a:lnTo>
                    <a:pt x="25" y="53"/>
                  </a:lnTo>
                  <a:lnTo>
                    <a:pt x="29" y="50"/>
                  </a:lnTo>
                  <a:lnTo>
                    <a:pt x="29" y="42"/>
                  </a:lnTo>
                  <a:lnTo>
                    <a:pt x="29" y="35"/>
                  </a:lnTo>
                  <a:lnTo>
                    <a:pt x="25" y="28"/>
                  </a:lnTo>
                  <a:lnTo>
                    <a:pt x="25" y="18"/>
                  </a:lnTo>
                  <a:lnTo>
                    <a:pt x="29" y="0"/>
                  </a:lnTo>
                  <a:lnTo>
                    <a:pt x="0" y="0"/>
                  </a:lnTo>
                  <a:lnTo>
                    <a:pt x="0" y="71"/>
                  </a:lnTo>
                  <a:lnTo>
                    <a:pt x="11" y="71"/>
                  </a:lnTo>
                  <a:close/>
                  <a:moveTo>
                    <a:pt x="43" y="71"/>
                  </a:moveTo>
                  <a:lnTo>
                    <a:pt x="43" y="64"/>
                  </a:lnTo>
                  <a:lnTo>
                    <a:pt x="57" y="64"/>
                  </a:lnTo>
                  <a:lnTo>
                    <a:pt x="57" y="71"/>
                  </a:lnTo>
                  <a:lnTo>
                    <a:pt x="68" y="71"/>
                  </a:lnTo>
                  <a:lnTo>
                    <a:pt x="68" y="0"/>
                  </a:lnTo>
                  <a:lnTo>
                    <a:pt x="33" y="0"/>
                  </a:lnTo>
                  <a:lnTo>
                    <a:pt x="33" y="71"/>
                  </a:lnTo>
                  <a:lnTo>
                    <a:pt x="43" y="71"/>
                  </a:lnTo>
                  <a:close/>
                  <a:moveTo>
                    <a:pt x="15" y="28"/>
                  </a:moveTo>
                  <a:lnTo>
                    <a:pt x="15" y="28"/>
                  </a:lnTo>
                  <a:lnTo>
                    <a:pt x="18" y="39"/>
                  </a:lnTo>
                  <a:lnTo>
                    <a:pt x="18" y="46"/>
                  </a:lnTo>
                  <a:lnTo>
                    <a:pt x="11" y="46"/>
                  </a:lnTo>
                  <a:lnTo>
                    <a:pt x="11" y="10"/>
                  </a:lnTo>
                  <a:lnTo>
                    <a:pt x="18" y="10"/>
                  </a:lnTo>
                  <a:lnTo>
                    <a:pt x="15" y="28"/>
                  </a:lnTo>
                  <a:close/>
                  <a:moveTo>
                    <a:pt x="43" y="28"/>
                  </a:moveTo>
                  <a:lnTo>
                    <a:pt x="43" y="10"/>
                  </a:lnTo>
                  <a:lnTo>
                    <a:pt x="57" y="10"/>
                  </a:lnTo>
                  <a:lnTo>
                    <a:pt x="57" y="28"/>
                  </a:lnTo>
                  <a:lnTo>
                    <a:pt x="43" y="28"/>
                  </a:lnTo>
                  <a:close/>
                  <a:moveTo>
                    <a:pt x="57" y="35"/>
                  </a:moveTo>
                  <a:lnTo>
                    <a:pt x="57" y="53"/>
                  </a:lnTo>
                  <a:lnTo>
                    <a:pt x="43" y="53"/>
                  </a:lnTo>
                  <a:lnTo>
                    <a:pt x="43" y="35"/>
                  </a:lnTo>
                  <a:lnTo>
                    <a:pt x="5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1" name="Freeform 97"/>
            <p:cNvSpPr>
              <a:spLocks/>
            </p:cNvSpPr>
            <p:nvPr/>
          </p:nvSpPr>
          <p:spPr bwMode="auto">
            <a:xfrm>
              <a:off x="3347" y="1989"/>
              <a:ext cx="75" cy="79"/>
            </a:xfrm>
            <a:custGeom>
              <a:avLst/>
              <a:gdLst>
                <a:gd name="T0" fmla="*/ 47 w 75"/>
                <a:gd name="T1" fmla="*/ 11 h 79"/>
                <a:gd name="T2" fmla="*/ 47 w 75"/>
                <a:gd name="T3" fmla="*/ 11 h 79"/>
                <a:gd name="T4" fmla="*/ 47 w 75"/>
                <a:gd name="T5" fmla="*/ 7 h 79"/>
                <a:gd name="T6" fmla="*/ 47 w 75"/>
                <a:gd name="T7" fmla="*/ 7 h 79"/>
                <a:gd name="T8" fmla="*/ 43 w 75"/>
                <a:gd name="T9" fmla="*/ 0 h 79"/>
                <a:gd name="T10" fmla="*/ 43 w 75"/>
                <a:gd name="T11" fmla="*/ 0 h 79"/>
                <a:gd name="T12" fmla="*/ 36 w 75"/>
                <a:gd name="T13" fmla="*/ 0 h 79"/>
                <a:gd name="T14" fmla="*/ 36 w 75"/>
                <a:gd name="T15" fmla="*/ 0 h 79"/>
                <a:gd name="T16" fmla="*/ 29 w 75"/>
                <a:gd name="T17" fmla="*/ 4 h 79"/>
                <a:gd name="T18" fmla="*/ 29 w 75"/>
                <a:gd name="T19" fmla="*/ 4 h 79"/>
                <a:gd name="T20" fmla="*/ 33 w 75"/>
                <a:gd name="T21" fmla="*/ 14 h 79"/>
                <a:gd name="T22" fmla="*/ 0 w 75"/>
                <a:gd name="T23" fmla="*/ 14 h 79"/>
                <a:gd name="T24" fmla="*/ 0 w 75"/>
                <a:gd name="T25" fmla="*/ 22 h 79"/>
                <a:gd name="T26" fmla="*/ 33 w 75"/>
                <a:gd name="T27" fmla="*/ 22 h 79"/>
                <a:gd name="T28" fmla="*/ 33 w 75"/>
                <a:gd name="T29" fmla="*/ 32 h 79"/>
                <a:gd name="T30" fmla="*/ 11 w 75"/>
                <a:gd name="T31" fmla="*/ 32 h 79"/>
                <a:gd name="T32" fmla="*/ 11 w 75"/>
                <a:gd name="T33" fmla="*/ 68 h 79"/>
                <a:gd name="T34" fmla="*/ 22 w 75"/>
                <a:gd name="T35" fmla="*/ 68 h 79"/>
                <a:gd name="T36" fmla="*/ 22 w 75"/>
                <a:gd name="T37" fmla="*/ 39 h 79"/>
                <a:gd name="T38" fmla="*/ 33 w 75"/>
                <a:gd name="T39" fmla="*/ 39 h 79"/>
                <a:gd name="T40" fmla="*/ 33 w 75"/>
                <a:gd name="T41" fmla="*/ 79 h 79"/>
                <a:gd name="T42" fmla="*/ 43 w 75"/>
                <a:gd name="T43" fmla="*/ 79 h 79"/>
                <a:gd name="T44" fmla="*/ 43 w 75"/>
                <a:gd name="T45" fmla="*/ 39 h 79"/>
                <a:gd name="T46" fmla="*/ 57 w 75"/>
                <a:gd name="T47" fmla="*/ 39 h 79"/>
                <a:gd name="T48" fmla="*/ 57 w 75"/>
                <a:gd name="T49" fmla="*/ 57 h 79"/>
                <a:gd name="T50" fmla="*/ 57 w 75"/>
                <a:gd name="T51" fmla="*/ 57 h 79"/>
                <a:gd name="T52" fmla="*/ 54 w 75"/>
                <a:gd name="T53" fmla="*/ 61 h 79"/>
                <a:gd name="T54" fmla="*/ 47 w 75"/>
                <a:gd name="T55" fmla="*/ 61 h 79"/>
                <a:gd name="T56" fmla="*/ 47 w 75"/>
                <a:gd name="T57" fmla="*/ 61 h 79"/>
                <a:gd name="T58" fmla="*/ 50 w 75"/>
                <a:gd name="T59" fmla="*/ 71 h 79"/>
                <a:gd name="T60" fmla="*/ 50 w 75"/>
                <a:gd name="T61" fmla="*/ 71 h 79"/>
                <a:gd name="T62" fmla="*/ 65 w 75"/>
                <a:gd name="T63" fmla="*/ 68 h 79"/>
                <a:gd name="T64" fmla="*/ 65 w 75"/>
                <a:gd name="T65" fmla="*/ 68 h 79"/>
                <a:gd name="T66" fmla="*/ 68 w 75"/>
                <a:gd name="T67" fmla="*/ 64 h 79"/>
                <a:gd name="T68" fmla="*/ 68 w 75"/>
                <a:gd name="T69" fmla="*/ 32 h 79"/>
                <a:gd name="T70" fmla="*/ 43 w 75"/>
                <a:gd name="T71" fmla="*/ 32 h 79"/>
                <a:gd name="T72" fmla="*/ 43 w 75"/>
                <a:gd name="T73" fmla="*/ 22 h 79"/>
                <a:gd name="T74" fmla="*/ 75 w 75"/>
                <a:gd name="T75" fmla="*/ 22 h 79"/>
                <a:gd name="T76" fmla="*/ 75 w 75"/>
                <a:gd name="T77" fmla="*/ 14 h 79"/>
                <a:gd name="T78" fmla="*/ 40 w 75"/>
                <a:gd name="T79" fmla="*/ 14 h 79"/>
                <a:gd name="T80" fmla="*/ 40 w 75"/>
                <a:gd name="T81" fmla="*/ 14 h 79"/>
                <a:gd name="T82" fmla="*/ 47 w 75"/>
                <a:gd name="T83" fmla="*/ 11 h 79"/>
                <a:gd name="T84" fmla="*/ 47 w 75"/>
                <a:gd name="T85" fmla="*/ 11 h 79"/>
                <a:gd name="T86" fmla="*/ 47 w 75"/>
                <a:gd name="T87" fmla="*/ 11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9"/>
                <a:gd name="T134" fmla="*/ 75 w 75"/>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9">
                  <a:moveTo>
                    <a:pt x="47" y="11"/>
                  </a:moveTo>
                  <a:lnTo>
                    <a:pt x="47" y="11"/>
                  </a:lnTo>
                  <a:lnTo>
                    <a:pt x="47" y="7"/>
                  </a:lnTo>
                  <a:lnTo>
                    <a:pt x="43" y="0"/>
                  </a:lnTo>
                  <a:lnTo>
                    <a:pt x="36" y="0"/>
                  </a:lnTo>
                  <a:lnTo>
                    <a:pt x="29" y="4"/>
                  </a:lnTo>
                  <a:lnTo>
                    <a:pt x="33" y="14"/>
                  </a:lnTo>
                  <a:lnTo>
                    <a:pt x="0" y="14"/>
                  </a:lnTo>
                  <a:lnTo>
                    <a:pt x="0" y="22"/>
                  </a:lnTo>
                  <a:lnTo>
                    <a:pt x="33" y="22"/>
                  </a:lnTo>
                  <a:lnTo>
                    <a:pt x="33" y="32"/>
                  </a:lnTo>
                  <a:lnTo>
                    <a:pt x="11" y="32"/>
                  </a:lnTo>
                  <a:lnTo>
                    <a:pt x="11" y="68"/>
                  </a:lnTo>
                  <a:lnTo>
                    <a:pt x="22" y="68"/>
                  </a:lnTo>
                  <a:lnTo>
                    <a:pt x="22" y="39"/>
                  </a:lnTo>
                  <a:lnTo>
                    <a:pt x="33" y="39"/>
                  </a:lnTo>
                  <a:lnTo>
                    <a:pt x="33" y="79"/>
                  </a:lnTo>
                  <a:lnTo>
                    <a:pt x="43" y="79"/>
                  </a:lnTo>
                  <a:lnTo>
                    <a:pt x="43" y="39"/>
                  </a:lnTo>
                  <a:lnTo>
                    <a:pt x="57" y="39"/>
                  </a:lnTo>
                  <a:lnTo>
                    <a:pt x="57" y="57"/>
                  </a:lnTo>
                  <a:lnTo>
                    <a:pt x="54" y="61"/>
                  </a:lnTo>
                  <a:lnTo>
                    <a:pt x="47" y="61"/>
                  </a:lnTo>
                  <a:lnTo>
                    <a:pt x="50" y="71"/>
                  </a:lnTo>
                  <a:lnTo>
                    <a:pt x="65" y="68"/>
                  </a:lnTo>
                  <a:lnTo>
                    <a:pt x="68" y="64"/>
                  </a:lnTo>
                  <a:lnTo>
                    <a:pt x="68" y="32"/>
                  </a:lnTo>
                  <a:lnTo>
                    <a:pt x="43" y="32"/>
                  </a:lnTo>
                  <a:lnTo>
                    <a:pt x="43" y="22"/>
                  </a:lnTo>
                  <a:lnTo>
                    <a:pt x="75" y="22"/>
                  </a:lnTo>
                  <a:lnTo>
                    <a:pt x="75" y="14"/>
                  </a:lnTo>
                  <a:lnTo>
                    <a:pt x="40" y="14"/>
                  </a:lnTo>
                  <a:lnTo>
                    <a:pt x="4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2" name="Freeform 98"/>
            <p:cNvSpPr>
              <a:spLocks noEditPoints="1"/>
            </p:cNvSpPr>
            <p:nvPr/>
          </p:nvSpPr>
          <p:spPr bwMode="auto">
            <a:xfrm>
              <a:off x="3187" y="2182"/>
              <a:ext cx="61" cy="78"/>
            </a:xfrm>
            <a:custGeom>
              <a:avLst/>
              <a:gdLst>
                <a:gd name="T0" fmla="*/ 0 w 61"/>
                <a:gd name="T1" fmla="*/ 14 h 78"/>
                <a:gd name="T2" fmla="*/ 0 w 61"/>
                <a:gd name="T3" fmla="*/ 78 h 78"/>
                <a:gd name="T4" fmla="*/ 11 w 61"/>
                <a:gd name="T5" fmla="*/ 78 h 78"/>
                <a:gd name="T6" fmla="*/ 11 w 61"/>
                <a:gd name="T7" fmla="*/ 53 h 78"/>
                <a:gd name="T8" fmla="*/ 11 w 61"/>
                <a:gd name="T9" fmla="*/ 53 h 78"/>
                <a:gd name="T10" fmla="*/ 18 w 61"/>
                <a:gd name="T11" fmla="*/ 60 h 78"/>
                <a:gd name="T12" fmla="*/ 18 w 61"/>
                <a:gd name="T13" fmla="*/ 60 h 78"/>
                <a:gd name="T14" fmla="*/ 32 w 61"/>
                <a:gd name="T15" fmla="*/ 42 h 78"/>
                <a:gd name="T16" fmla="*/ 32 w 61"/>
                <a:gd name="T17" fmla="*/ 42 h 78"/>
                <a:gd name="T18" fmla="*/ 43 w 61"/>
                <a:gd name="T19" fmla="*/ 57 h 78"/>
                <a:gd name="T20" fmla="*/ 43 w 61"/>
                <a:gd name="T21" fmla="*/ 57 h 78"/>
                <a:gd name="T22" fmla="*/ 50 w 61"/>
                <a:gd name="T23" fmla="*/ 50 h 78"/>
                <a:gd name="T24" fmla="*/ 50 w 61"/>
                <a:gd name="T25" fmla="*/ 64 h 78"/>
                <a:gd name="T26" fmla="*/ 50 w 61"/>
                <a:gd name="T27" fmla="*/ 64 h 78"/>
                <a:gd name="T28" fmla="*/ 50 w 61"/>
                <a:gd name="T29" fmla="*/ 67 h 78"/>
                <a:gd name="T30" fmla="*/ 46 w 61"/>
                <a:gd name="T31" fmla="*/ 67 h 78"/>
                <a:gd name="T32" fmla="*/ 43 w 61"/>
                <a:gd name="T33" fmla="*/ 67 h 78"/>
                <a:gd name="T34" fmla="*/ 43 w 61"/>
                <a:gd name="T35" fmla="*/ 67 h 78"/>
                <a:gd name="T36" fmla="*/ 43 w 61"/>
                <a:gd name="T37" fmla="*/ 78 h 78"/>
                <a:gd name="T38" fmla="*/ 43 w 61"/>
                <a:gd name="T39" fmla="*/ 78 h 78"/>
                <a:gd name="T40" fmla="*/ 57 w 61"/>
                <a:gd name="T41" fmla="*/ 74 h 78"/>
                <a:gd name="T42" fmla="*/ 61 w 61"/>
                <a:gd name="T43" fmla="*/ 74 h 78"/>
                <a:gd name="T44" fmla="*/ 61 w 61"/>
                <a:gd name="T45" fmla="*/ 71 h 78"/>
                <a:gd name="T46" fmla="*/ 61 w 61"/>
                <a:gd name="T47" fmla="*/ 14 h 78"/>
                <a:gd name="T48" fmla="*/ 36 w 61"/>
                <a:gd name="T49" fmla="*/ 14 h 78"/>
                <a:gd name="T50" fmla="*/ 36 w 61"/>
                <a:gd name="T51" fmla="*/ 7 h 78"/>
                <a:gd name="T52" fmla="*/ 36 w 61"/>
                <a:gd name="T53" fmla="*/ 7 h 78"/>
                <a:gd name="T54" fmla="*/ 36 w 61"/>
                <a:gd name="T55" fmla="*/ 3 h 78"/>
                <a:gd name="T56" fmla="*/ 36 w 61"/>
                <a:gd name="T57" fmla="*/ 3 h 78"/>
                <a:gd name="T58" fmla="*/ 36 w 61"/>
                <a:gd name="T59" fmla="*/ 3 h 78"/>
                <a:gd name="T60" fmla="*/ 36 w 61"/>
                <a:gd name="T61" fmla="*/ 3 h 78"/>
                <a:gd name="T62" fmla="*/ 29 w 61"/>
                <a:gd name="T63" fmla="*/ 0 h 78"/>
                <a:gd name="T64" fmla="*/ 25 w 61"/>
                <a:gd name="T65" fmla="*/ 0 h 78"/>
                <a:gd name="T66" fmla="*/ 25 w 61"/>
                <a:gd name="T67" fmla="*/ 14 h 78"/>
                <a:gd name="T68" fmla="*/ 0 w 61"/>
                <a:gd name="T69" fmla="*/ 14 h 78"/>
                <a:gd name="T70" fmla="*/ 0 w 61"/>
                <a:gd name="T71" fmla="*/ 14 h 78"/>
                <a:gd name="T72" fmla="*/ 36 w 61"/>
                <a:gd name="T73" fmla="*/ 35 h 78"/>
                <a:gd name="T74" fmla="*/ 36 w 61"/>
                <a:gd name="T75" fmla="*/ 35 h 78"/>
                <a:gd name="T76" fmla="*/ 36 w 61"/>
                <a:gd name="T77" fmla="*/ 32 h 78"/>
                <a:gd name="T78" fmla="*/ 36 w 61"/>
                <a:gd name="T79" fmla="*/ 32 h 78"/>
                <a:gd name="T80" fmla="*/ 36 w 61"/>
                <a:gd name="T81" fmla="*/ 25 h 78"/>
                <a:gd name="T82" fmla="*/ 50 w 61"/>
                <a:gd name="T83" fmla="*/ 25 h 78"/>
                <a:gd name="T84" fmla="*/ 50 w 61"/>
                <a:gd name="T85" fmla="*/ 50 h 78"/>
                <a:gd name="T86" fmla="*/ 50 w 61"/>
                <a:gd name="T87" fmla="*/ 50 h 78"/>
                <a:gd name="T88" fmla="*/ 36 w 61"/>
                <a:gd name="T89" fmla="*/ 35 h 78"/>
                <a:gd name="T90" fmla="*/ 36 w 61"/>
                <a:gd name="T91" fmla="*/ 35 h 78"/>
                <a:gd name="T92" fmla="*/ 36 w 61"/>
                <a:gd name="T93" fmla="*/ 35 h 78"/>
                <a:gd name="T94" fmla="*/ 11 w 61"/>
                <a:gd name="T95" fmla="*/ 50 h 78"/>
                <a:gd name="T96" fmla="*/ 11 w 61"/>
                <a:gd name="T97" fmla="*/ 25 h 78"/>
                <a:gd name="T98" fmla="*/ 25 w 61"/>
                <a:gd name="T99" fmla="*/ 25 h 78"/>
                <a:gd name="T100" fmla="*/ 25 w 61"/>
                <a:gd name="T101" fmla="*/ 25 h 78"/>
                <a:gd name="T102" fmla="*/ 21 w 61"/>
                <a:gd name="T103" fmla="*/ 39 h 78"/>
                <a:gd name="T104" fmla="*/ 11 w 61"/>
                <a:gd name="T105" fmla="*/ 50 h 78"/>
                <a:gd name="T106" fmla="*/ 11 w 61"/>
                <a:gd name="T107" fmla="*/ 50 h 78"/>
                <a:gd name="T108" fmla="*/ 11 w 61"/>
                <a:gd name="T109" fmla="*/ 50 h 7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1"/>
                <a:gd name="T166" fmla="*/ 0 h 78"/>
                <a:gd name="T167" fmla="*/ 61 w 61"/>
                <a:gd name="T168" fmla="*/ 78 h 7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1" h="78">
                  <a:moveTo>
                    <a:pt x="0" y="14"/>
                  </a:moveTo>
                  <a:lnTo>
                    <a:pt x="0" y="78"/>
                  </a:lnTo>
                  <a:lnTo>
                    <a:pt x="11" y="78"/>
                  </a:lnTo>
                  <a:lnTo>
                    <a:pt x="11" y="53"/>
                  </a:lnTo>
                  <a:lnTo>
                    <a:pt x="18" y="60"/>
                  </a:lnTo>
                  <a:lnTo>
                    <a:pt x="32" y="42"/>
                  </a:lnTo>
                  <a:lnTo>
                    <a:pt x="43" y="57"/>
                  </a:lnTo>
                  <a:lnTo>
                    <a:pt x="50" y="50"/>
                  </a:lnTo>
                  <a:lnTo>
                    <a:pt x="50" y="64"/>
                  </a:lnTo>
                  <a:lnTo>
                    <a:pt x="50" y="67"/>
                  </a:lnTo>
                  <a:lnTo>
                    <a:pt x="46" y="67"/>
                  </a:lnTo>
                  <a:lnTo>
                    <a:pt x="43" y="67"/>
                  </a:lnTo>
                  <a:lnTo>
                    <a:pt x="43" y="78"/>
                  </a:lnTo>
                  <a:lnTo>
                    <a:pt x="57" y="74"/>
                  </a:lnTo>
                  <a:lnTo>
                    <a:pt x="61" y="74"/>
                  </a:lnTo>
                  <a:lnTo>
                    <a:pt x="61" y="71"/>
                  </a:lnTo>
                  <a:lnTo>
                    <a:pt x="61" y="14"/>
                  </a:lnTo>
                  <a:lnTo>
                    <a:pt x="36" y="14"/>
                  </a:lnTo>
                  <a:lnTo>
                    <a:pt x="36" y="7"/>
                  </a:lnTo>
                  <a:lnTo>
                    <a:pt x="36" y="3"/>
                  </a:lnTo>
                  <a:lnTo>
                    <a:pt x="29" y="0"/>
                  </a:lnTo>
                  <a:lnTo>
                    <a:pt x="25" y="0"/>
                  </a:lnTo>
                  <a:lnTo>
                    <a:pt x="25" y="14"/>
                  </a:lnTo>
                  <a:lnTo>
                    <a:pt x="0" y="14"/>
                  </a:lnTo>
                  <a:close/>
                  <a:moveTo>
                    <a:pt x="36" y="35"/>
                  </a:moveTo>
                  <a:lnTo>
                    <a:pt x="36" y="35"/>
                  </a:lnTo>
                  <a:lnTo>
                    <a:pt x="36" y="32"/>
                  </a:lnTo>
                  <a:lnTo>
                    <a:pt x="36" y="25"/>
                  </a:lnTo>
                  <a:lnTo>
                    <a:pt x="50" y="25"/>
                  </a:lnTo>
                  <a:lnTo>
                    <a:pt x="50" y="50"/>
                  </a:lnTo>
                  <a:lnTo>
                    <a:pt x="36" y="35"/>
                  </a:lnTo>
                  <a:close/>
                  <a:moveTo>
                    <a:pt x="11" y="50"/>
                  </a:moveTo>
                  <a:lnTo>
                    <a:pt x="11" y="25"/>
                  </a:lnTo>
                  <a:lnTo>
                    <a:pt x="25" y="25"/>
                  </a:lnTo>
                  <a:lnTo>
                    <a:pt x="21" y="39"/>
                  </a:lnTo>
                  <a:lnTo>
                    <a:pt x="11"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3" name="Freeform 99"/>
            <p:cNvSpPr>
              <a:spLocks noEditPoints="1"/>
            </p:cNvSpPr>
            <p:nvPr/>
          </p:nvSpPr>
          <p:spPr bwMode="auto">
            <a:xfrm>
              <a:off x="3265" y="2185"/>
              <a:ext cx="75" cy="75"/>
            </a:xfrm>
            <a:custGeom>
              <a:avLst/>
              <a:gdLst>
                <a:gd name="T0" fmla="*/ 18 w 75"/>
                <a:gd name="T1" fmla="*/ 18 h 75"/>
                <a:gd name="T2" fmla="*/ 29 w 75"/>
                <a:gd name="T3" fmla="*/ 11 h 75"/>
                <a:gd name="T4" fmla="*/ 29 w 75"/>
                <a:gd name="T5" fmla="*/ 11 h 75"/>
                <a:gd name="T6" fmla="*/ 25 w 75"/>
                <a:gd name="T7" fmla="*/ 11 h 75"/>
                <a:gd name="T8" fmla="*/ 25 w 75"/>
                <a:gd name="T9" fmla="*/ 11 h 75"/>
                <a:gd name="T10" fmla="*/ 15 w 75"/>
                <a:gd name="T11" fmla="*/ 0 h 75"/>
                <a:gd name="T12" fmla="*/ 8 w 75"/>
                <a:gd name="T13" fmla="*/ 7 h 75"/>
                <a:gd name="T14" fmla="*/ 8 w 75"/>
                <a:gd name="T15" fmla="*/ 7 h 75"/>
                <a:gd name="T16" fmla="*/ 18 w 75"/>
                <a:gd name="T17" fmla="*/ 18 h 75"/>
                <a:gd name="T18" fmla="*/ 18 w 75"/>
                <a:gd name="T19" fmla="*/ 18 h 75"/>
                <a:gd name="T20" fmla="*/ 18 w 75"/>
                <a:gd name="T21" fmla="*/ 18 h 75"/>
                <a:gd name="T22" fmla="*/ 15 w 75"/>
                <a:gd name="T23" fmla="*/ 36 h 75"/>
                <a:gd name="T24" fmla="*/ 22 w 75"/>
                <a:gd name="T25" fmla="*/ 25 h 75"/>
                <a:gd name="T26" fmla="*/ 22 w 75"/>
                <a:gd name="T27" fmla="*/ 25 h 75"/>
                <a:gd name="T28" fmla="*/ 4 w 75"/>
                <a:gd name="T29" fmla="*/ 18 h 75"/>
                <a:gd name="T30" fmla="*/ 0 w 75"/>
                <a:gd name="T31" fmla="*/ 29 h 75"/>
                <a:gd name="T32" fmla="*/ 0 w 75"/>
                <a:gd name="T33" fmla="*/ 29 h 75"/>
                <a:gd name="T34" fmla="*/ 15 w 75"/>
                <a:gd name="T35" fmla="*/ 36 h 75"/>
                <a:gd name="T36" fmla="*/ 15 w 75"/>
                <a:gd name="T37" fmla="*/ 36 h 75"/>
                <a:gd name="T38" fmla="*/ 15 w 75"/>
                <a:gd name="T39" fmla="*/ 36 h 75"/>
                <a:gd name="T40" fmla="*/ 15 w 75"/>
                <a:gd name="T41" fmla="*/ 64 h 75"/>
                <a:gd name="T42" fmla="*/ 15 w 75"/>
                <a:gd name="T43" fmla="*/ 64 h 75"/>
                <a:gd name="T44" fmla="*/ 22 w 75"/>
                <a:gd name="T45" fmla="*/ 47 h 75"/>
                <a:gd name="T46" fmla="*/ 22 w 75"/>
                <a:gd name="T47" fmla="*/ 47 h 75"/>
                <a:gd name="T48" fmla="*/ 15 w 75"/>
                <a:gd name="T49" fmla="*/ 39 h 75"/>
                <a:gd name="T50" fmla="*/ 15 w 75"/>
                <a:gd name="T51" fmla="*/ 39 h 75"/>
                <a:gd name="T52" fmla="*/ 0 w 75"/>
                <a:gd name="T53" fmla="*/ 68 h 75"/>
                <a:gd name="T54" fmla="*/ 0 w 75"/>
                <a:gd name="T55" fmla="*/ 68 h 75"/>
                <a:gd name="T56" fmla="*/ 11 w 75"/>
                <a:gd name="T57" fmla="*/ 75 h 75"/>
                <a:gd name="T58" fmla="*/ 11 w 75"/>
                <a:gd name="T59" fmla="*/ 75 h 75"/>
                <a:gd name="T60" fmla="*/ 15 w 75"/>
                <a:gd name="T61" fmla="*/ 64 h 75"/>
                <a:gd name="T62" fmla="*/ 15 w 75"/>
                <a:gd name="T63" fmla="*/ 64 h 75"/>
                <a:gd name="T64" fmla="*/ 15 w 75"/>
                <a:gd name="T65" fmla="*/ 64 h 75"/>
                <a:gd name="T66" fmla="*/ 29 w 75"/>
                <a:gd name="T67" fmla="*/ 14 h 75"/>
                <a:gd name="T68" fmla="*/ 43 w 75"/>
                <a:gd name="T69" fmla="*/ 14 h 75"/>
                <a:gd name="T70" fmla="*/ 43 w 75"/>
                <a:gd name="T71" fmla="*/ 61 h 75"/>
                <a:gd name="T72" fmla="*/ 22 w 75"/>
                <a:gd name="T73" fmla="*/ 61 h 75"/>
                <a:gd name="T74" fmla="*/ 22 w 75"/>
                <a:gd name="T75" fmla="*/ 68 h 75"/>
                <a:gd name="T76" fmla="*/ 75 w 75"/>
                <a:gd name="T77" fmla="*/ 68 h 75"/>
                <a:gd name="T78" fmla="*/ 75 w 75"/>
                <a:gd name="T79" fmla="*/ 61 h 75"/>
                <a:gd name="T80" fmla="*/ 54 w 75"/>
                <a:gd name="T81" fmla="*/ 61 h 75"/>
                <a:gd name="T82" fmla="*/ 54 w 75"/>
                <a:gd name="T83" fmla="*/ 14 h 75"/>
                <a:gd name="T84" fmla="*/ 72 w 75"/>
                <a:gd name="T85" fmla="*/ 18 h 75"/>
                <a:gd name="T86" fmla="*/ 72 w 75"/>
                <a:gd name="T87" fmla="*/ 7 h 75"/>
                <a:gd name="T88" fmla="*/ 29 w 75"/>
                <a:gd name="T89" fmla="*/ 7 h 75"/>
                <a:gd name="T90" fmla="*/ 29 w 75"/>
                <a:gd name="T91" fmla="*/ 14 h 75"/>
                <a:gd name="T92" fmla="*/ 29 w 75"/>
                <a:gd name="T93" fmla="*/ 14 h 75"/>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5"/>
                <a:gd name="T142" fmla="*/ 0 h 75"/>
                <a:gd name="T143" fmla="*/ 75 w 75"/>
                <a:gd name="T144" fmla="*/ 75 h 75"/>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5" h="75">
                  <a:moveTo>
                    <a:pt x="18" y="18"/>
                  </a:moveTo>
                  <a:lnTo>
                    <a:pt x="29" y="11"/>
                  </a:lnTo>
                  <a:lnTo>
                    <a:pt x="25" y="11"/>
                  </a:lnTo>
                  <a:lnTo>
                    <a:pt x="15" y="0"/>
                  </a:lnTo>
                  <a:lnTo>
                    <a:pt x="8" y="7"/>
                  </a:lnTo>
                  <a:lnTo>
                    <a:pt x="18" y="18"/>
                  </a:lnTo>
                  <a:close/>
                  <a:moveTo>
                    <a:pt x="15" y="36"/>
                  </a:moveTo>
                  <a:lnTo>
                    <a:pt x="22" y="25"/>
                  </a:lnTo>
                  <a:lnTo>
                    <a:pt x="4" y="18"/>
                  </a:lnTo>
                  <a:lnTo>
                    <a:pt x="0" y="29"/>
                  </a:lnTo>
                  <a:lnTo>
                    <a:pt x="15" y="36"/>
                  </a:lnTo>
                  <a:close/>
                  <a:moveTo>
                    <a:pt x="15" y="64"/>
                  </a:moveTo>
                  <a:lnTo>
                    <a:pt x="15" y="64"/>
                  </a:lnTo>
                  <a:lnTo>
                    <a:pt x="22" y="47"/>
                  </a:lnTo>
                  <a:lnTo>
                    <a:pt x="15" y="39"/>
                  </a:lnTo>
                  <a:lnTo>
                    <a:pt x="0" y="68"/>
                  </a:lnTo>
                  <a:lnTo>
                    <a:pt x="11" y="75"/>
                  </a:lnTo>
                  <a:lnTo>
                    <a:pt x="15" y="64"/>
                  </a:lnTo>
                  <a:close/>
                  <a:moveTo>
                    <a:pt x="29" y="14"/>
                  </a:moveTo>
                  <a:lnTo>
                    <a:pt x="43" y="14"/>
                  </a:lnTo>
                  <a:lnTo>
                    <a:pt x="43" y="61"/>
                  </a:lnTo>
                  <a:lnTo>
                    <a:pt x="22" y="61"/>
                  </a:lnTo>
                  <a:lnTo>
                    <a:pt x="22" y="68"/>
                  </a:lnTo>
                  <a:lnTo>
                    <a:pt x="75" y="68"/>
                  </a:lnTo>
                  <a:lnTo>
                    <a:pt x="75" y="61"/>
                  </a:lnTo>
                  <a:lnTo>
                    <a:pt x="54" y="61"/>
                  </a:lnTo>
                  <a:lnTo>
                    <a:pt x="54" y="14"/>
                  </a:lnTo>
                  <a:lnTo>
                    <a:pt x="72" y="18"/>
                  </a:lnTo>
                  <a:lnTo>
                    <a:pt x="72" y="7"/>
                  </a:lnTo>
                  <a:lnTo>
                    <a:pt x="29" y="7"/>
                  </a:lnTo>
                  <a:lnTo>
                    <a:pt x="29"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4" name="Freeform 100"/>
            <p:cNvSpPr>
              <a:spLocks/>
            </p:cNvSpPr>
            <p:nvPr/>
          </p:nvSpPr>
          <p:spPr bwMode="auto">
            <a:xfrm>
              <a:off x="3351" y="2182"/>
              <a:ext cx="75" cy="78"/>
            </a:xfrm>
            <a:custGeom>
              <a:avLst/>
              <a:gdLst>
                <a:gd name="T0" fmla="*/ 46 w 75"/>
                <a:gd name="T1" fmla="*/ 10 h 78"/>
                <a:gd name="T2" fmla="*/ 46 w 75"/>
                <a:gd name="T3" fmla="*/ 10 h 78"/>
                <a:gd name="T4" fmla="*/ 43 w 75"/>
                <a:gd name="T5" fmla="*/ 7 h 78"/>
                <a:gd name="T6" fmla="*/ 43 w 75"/>
                <a:gd name="T7" fmla="*/ 7 h 78"/>
                <a:gd name="T8" fmla="*/ 43 w 75"/>
                <a:gd name="T9" fmla="*/ 0 h 78"/>
                <a:gd name="T10" fmla="*/ 43 w 75"/>
                <a:gd name="T11" fmla="*/ 0 h 78"/>
                <a:gd name="T12" fmla="*/ 36 w 75"/>
                <a:gd name="T13" fmla="*/ 3 h 78"/>
                <a:gd name="T14" fmla="*/ 36 w 75"/>
                <a:gd name="T15" fmla="*/ 3 h 78"/>
                <a:gd name="T16" fmla="*/ 29 w 75"/>
                <a:gd name="T17" fmla="*/ 3 h 78"/>
                <a:gd name="T18" fmla="*/ 29 w 75"/>
                <a:gd name="T19" fmla="*/ 3 h 78"/>
                <a:gd name="T20" fmla="*/ 32 w 75"/>
                <a:gd name="T21" fmla="*/ 14 h 78"/>
                <a:gd name="T22" fmla="*/ 0 w 75"/>
                <a:gd name="T23" fmla="*/ 14 h 78"/>
                <a:gd name="T24" fmla="*/ 0 w 75"/>
                <a:gd name="T25" fmla="*/ 25 h 78"/>
                <a:gd name="T26" fmla="*/ 32 w 75"/>
                <a:gd name="T27" fmla="*/ 25 h 78"/>
                <a:gd name="T28" fmla="*/ 32 w 75"/>
                <a:gd name="T29" fmla="*/ 32 h 78"/>
                <a:gd name="T30" fmla="*/ 11 w 75"/>
                <a:gd name="T31" fmla="*/ 32 h 78"/>
                <a:gd name="T32" fmla="*/ 11 w 75"/>
                <a:gd name="T33" fmla="*/ 71 h 78"/>
                <a:gd name="T34" fmla="*/ 21 w 75"/>
                <a:gd name="T35" fmla="*/ 71 h 78"/>
                <a:gd name="T36" fmla="*/ 21 w 75"/>
                <a:gd name="T37" fmla="*/ 42 h 78"/>
                <a:gd name="T38" fmla="*/ 32 w 75"/>
                <a:gd name="T39" fmla="*/ 42 h 78"/>
                <a:gd name="T40" fmla="*/ 32 w 75"/>
                <a:gd name="T41" fmla="*/ 78 h 78"/>
                <a:gd name="T42" fmla="*/ 43 w 75"/>
                <a:gd name="T43" fmla="*/ 78 h 78"/>
                <a:gd name="T44" fmla="*/ 43 w 75"/>
                <a:gd name="T45" fmla="*/ 42 h 78"/>
                <a:gd name="T46" fmla="*/ 53 w 75"/>
                <a:gd name="T47" fmla="*/ 42 h 78"/>
                <a:gd name="T48" fmla="*/ 53 w 75"/>
                <a:gd name="T49" fmla="*/ 57 h 78"/>
                <a:gd name="T50" fmla="*/ 53 w 75"/>
                <a:gd name="T51" fmla="*/ 57 h 78"/>
                <a:gd name="T52" fmla="*/ 53 w 75"/>
                <a:gd name="T53" fmla="*/ 60 h 78"/>
                <a:gd name="T54" fmla="*/ 46 w 75"/>
                <a:gd name="T55" fmla="*/ 60 h 78"/>
                <a:gd name="T56" fmla="*/ 46 w 75"/>
                <a:gd name="T57" fmla="*/ 60 h 78"/>
                <a:gd name="T58" fmla="*/ 50 w 75"/>
                <a:gd name="T59" fmla="*/ 71 h 78"/>
                <a:gd name="T60" fmla="*/ 50 w 75"/>
                <a:gd name="T61" fmla="*/ 71 h 78"/>
                <a:gd name="T62" fmla="*/ 61 w 75"/>
                <a:gd name="T63" fmla="*/ 71 h 78"/>
                <a:gd name="T64" fmla="*/ 64 w 75"/>
                <a:gd name="T65" fmla="*/ 67 h 78"/>
                <a:gd name="T66" fmla="*/ 68 w 75"/>
                <a:gd name="T67" fmla="*/ 64 h 78"/>
                <a:gd name="T68" fmla="*/ 68 w 75"/>
                <a:gd name="T69" fmla="*/ 32 h 78"/>
                <a:gd name="T70" fmla="*/ 43 w 75"/>
                <a:gd name="T71" fmla="*/ 32 h 78"/>
                <a:gd name="T72" fmla="*/ 43 w 75"/>
                <a:gd name="T73" fmla="*/ 25 h 78"/>
                <a:gd name="T74" fmla="*/ 75 w 75"/>
                <a:gd name="T75" fmla="*/ 25 h 78"/>
                <a:gd name="T76" fmla="*/ 75 w 75"/>
                <a:gd name="T77" fmla="*/ 14 h 78"/>
                <a:gd name="T78" fmla="*/ 36 w 75"/>
                <a:gd name="T79" fmla="*/ 14 h 78"/>
                <a:gd name="T80" fmla="*/ 36 w 75"/>
                <a:gd name="T81" fmla="*/ 14 h 78"/>
                <a:gd name="T82" fmla="*/ 46 w 75"/>
                <a:gd name="T83" fmla="*/ 10 h 78"/>
                <a:gd name="T84" fmla="*/ 46 w 75"/>
                <a:gd name="T85" fmla="*/ 10 h 78"/>
                <a:gd name="T86" fmla="*/ 46 w 75"/>
                <a:gd name="T87" fmla="*/ 10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8"/>
                <a:gd name="T134" fmla="*/ 75 w 75"/>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8">
                  <a:moveTo>
                    <a:pt x="46" y="10"/>
                  </a:moveTo>
                  <a:lnTo>
                    <a:pt x="46" y="10"/>
                  </a:lnTo>
                  <a:lnTo>
                    <a:pt x="43" y="7"/>
                  </a:lnTo>
                  <a:lnTo>
                    <a:pt x="43" y="0"/>
                  </a:lnTo>
                  <a:lnTo>
                    <a:pt x="36" y="3"/>
                  </a:lnTo>
                  <a:lnTo>
                    <a:pt x="29" y="3"/>
                  </a:lnTo>
                  <a:lnTo>
                    <a:pt x="32" y="14"/>
                  </a:lnTo>
                  <a:lnTo>
                    <a:pt x="0" y="14"/>
                  </a:lnTo>
                  <a:lnTo>
                    <a:pt x="0" y="25"/>
                  </a:lnTo>
                  <a:lnTo>
                    <a:pt x="32" y="25"/>
                  </a:lnTo>
                  <a:lnTo>
                    <a:pt x="32" y="32"/>
                  </a:lnTo>
                  <a:lnTo>
                    <a:pt x="11" y="32"/>
                  </a:lnTo>
                  <a:lnTo>
                    <a:pt x="11" y="71"/>
                  </a:lnTo>
                  <a:lnTo>
                    <a:pt x="21" y="71"/>
                  </a:lnTo>
                  <a:lnTo>
                    <a:pt x="21" y="42"/>
                  </a:lnTo>
                  <a:lnTo>
                    <a:pt x="32" y="42"/>
                  </a:lnTo>
                  <a:lnTo>
                    <a:pt x="32" y="78"/>
                  </a:lnTo>
                  <a:lnTo>
                    <a:pt x="43" y="78"/>
                  </a:lnTo>
                  <a:lnTo>
                    <a:pt x="43" y="42"/>
                  </a:lnTo>
                  <a:lnTo>
                    <a:pt x="53" y="42"/>
                  </a:lnTo>
                  <a:lnTo>
                    <a:pt x="53" y="57"/>
                  </a:lnTo>
                  <a:lnTo>
                    <a:pt x="53" y="60"/>
                  </a:lnTo>
                  <a:lnTo>
                    <a:pt x="46" y="60"/>
                  </a:lnTo>
                  <a:lnTo>
                    <a:pt x="50" y="71"/>
                  </a:lnTo>
                  <a:lnTo>
                    <a:pt x="61" y="71"/>
                  </a:lnTo>
                  <a:lnTo>
                    <a:pt x="64" y="67"/>
                  </a:lnTo>
                  <a:lnTo>
                    <a:pt x="68" y="64"/>
                  </a:lnTo>
                  <a:lnTo>
                    <a:pt x="68" y="32"/>
                  </a:lnTo>
                  <a:lnTo>
                    <a:pt x="43" y="32"/>
                  </a:lnTo>
                  <a:lnTo>
                    <a:pt x="43" y="25"/>
                  </a:lnTo>
                  <a:lnTo>
                    <a:pt x="75" y="25"/>
                  </a:lnTo>
                  <a:lnTo>
                    <a:pt x="75" y="14"/>
                  </a:lnTo>
                  <a:lnTo>
                    <a:pt x="36" y="14"/>
                  </a:lnTo>
                  <a:lnTo>
                    <a:pt x="46"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5" name="Freeform 101"/>
            <p:cNvSpPr>
              <a:spLocks noEditPoints="1"/>
            </p:cNvSpPr>
            <p:nvPr/>
          </p:nvSpPr>
          <p:spPr bwMode="auto">
            <a:xfrm>
              <a:off x="3454" y="2499"/>
              <a:ext cx="75" cy="78"/>
            </a:xfrm>
            <a:custGeom>
              <a:avLst/>
              <a:gdLst>
                <a:gd name="T0" fmla="*/ 25 w 75"/>
                <a:gd name="T1" fmla="*/ 60 h 78"/>
                <a:gd name="T2" fmla="*/ 15 w 75"/>
                <a:gd name="T3" fmla="*/ 71 h 78"/>
                <a:gd name="T4" fmla="*/ 29 w 75"/>
                <a:gd name="T5" fmla="*/ 78 h 78"/>
                <a:gd name="T6" fmla="*/ 40 w 75"/>
                <a:gd name="T7" fmla="*/ 50 h 78"/>
                <a:gd name="T8" fmla="*/ 61 w 75"/>
                <a:gd name="T9" fmla="*/ 53 h 78"/>
                <a:gd name="T10" fmla="*/ 72 w 75"/>
                <a:gd name="T11" fmla="*/ 25 h 78"/>
                <a:gd name="T12" fmla="*/ 54 w 75"/>
                <a:gd name="T13" fmla="*/ 18 h 78"/>
                <a:gd name="T14" fmla="*/ 75 w 75"/>
                <a:gd name="T15" fmla="*/ 7 h 78"/>
                <a:gd name="T16" fmla="*/ 54 w 75"/>
                <a:gd name="T17" fmla="*/ 3 h 78"/>
                <a:gd name="T18" fmla="*/ 54 w 75"/>
                <a:gd name="T19" fmla="*/ 0 h 78"/>
                <a:gd name="T20" fmla="*/ 54 w 75"/>
                <a:gd name="T21" fmla="*/ 0 h 78"/>
                <a:gd name="T22" fmla="*/ 50 w 75"/>
                <a:gd name="T23" fmla="*/ 0 h 78"/>
                <a:gd name="T24" fmla="*/ 43 w 75"/>
                <a:gd name="T25" fmla="*/ 0 h 78"/>
                <a:gd name="T26" fmla="*/ 29 w 75"/>
                <a:gd name="T27" fmla="*/ 25 h 78"/>
                <a:gd name="T28" fmla="*/ 29 w 75"/>
                <a:gd name="T29" fmla="*/ 46 h 78"/>
                <a:gd name="T30" fmla="*/ 25 w 75"/>
                <a:gd name="T31" fmla="*/ 60 h 78"/>
                <a:gd name="T32" fmla="*/ 29 w 75"/>
                <a:gd name="T33" fmla="*/ 11 h 78"/>
                <a:gd name="T34" fmla="*/ 25 w 75"/>
                <a:gd name="T35" fmla="*/ 11 h 78"/>
                <a:gd name="T36" fmla="*/ 15 w 75"/>
                <a:gd name="T37" fmla="*/ 0 h 78"/>
                <a:gd name="T38" fmla="*/ 8 w 75"/>
                <a:gd name="T39" fmla="*/ 11 h 78"/>
                <a:gd name="T40" fmla="*/ 15 w 75"/>
                <a:gd name="T41" fmla="*/ 14 h 78"/>
                <a:gd name="T42" fmla="*/ 18 w 75"/>
                <a:gd name="T43" fmla="*/ 21 h 78"/>
                <a:gd name="T44" fmla="*/ 29 w 75"/>
                <a:gd name="T45" fmla="*/ 11 h 78"/>
                <a:gd name="T46" fmla="*/ 29 w 75"/>
                <a:gd name="T47" fmla="*/ 11 h 78"/>
                <a:gd name="T48" fmla="*/ 22 w 75"/>
                <a:gd name="T49" fmla="*/ 28 h 78"/>
                <a:gd name="T50" fmla="*/ 8 w 75"/>
                <a:gd name="T51" fmla="*/ 21 h 78"/>
                <a:gd name="T52" fmla="*/ 0 w 75"/>
                <a:gd name="T53" fmla="*/ 28 h 78"/>
                <a:gd name="T54" fmla="*/ 15 w 75"/>
                <a:gd name="T55" fmla="*/ 36 h 78"/>
                <a:gd name="T56" fmla="*/ 61 w 75"/>
                <a:gd name="T57" fmla="*/ 43 h 78"/>
                <a:gd name="T58" fmla="*/ 40 w 75"/>
                <a:gd name="T59" fmla="*/ 32 h 78"/>
                <a:gd name="T60" fmla="*/ 61 w 75"/>
                <a:gd name="T61" fmla="*/ 43 h 78"/>
                <a:gd name="T62" fmla="*/ 11 w 75"/>
                <a:gd name="T63" fmla="*/ 75 h 78"/>
                <a:gd name="T64" fmla="*/ 11 w 75"/>
                <a:gd name="T65" fmla="*/ 75 h 78"/>
                <a:gd name="T66" fmla="*/ 22 w 75"/>
                <a:gd name="T67" fmla="*/ 46 h 78"/>
                <a:gd name="T68" fmla="*/ 18 w 75"/>
                <a:gd name="T69" fmla="*/ 43 h 78"/>
                <a:gd name="T70" fmla="*/ 15 w 75"/>
                <a:gd name="T71" fmla="*/ 39 h 78"/>
                <a:gd name="T72" fmla="*/ 8 w 75"/>
                <a:gd name="T73" fmla="*/ 53 h 78"/>
                <a:gd name="T74" fmla="*/ 4 w 75"/>
                <a:gd name="T75" fmla="*/ 68 h 78"/>
                <a:gd name="T76" fmla="*/ 11 w 75"/>
                <a:gd name="T77" fmla="*/ 75 h 7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75"/>
                <a:gd name="T118" fmla="*/ 0 h 78"/>
                <a:gd name="T119" fmla="*/ 75 w 75"/>
                <a:gd name="T120" fmla="*/ 78 h 78"/>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75" h="78">
                  <a:moveTo>
                    <a:pt x="25" y="60"/>
                  </a:moveTo>
                  <a:lnTo>
                    <a:pt x="25" y="60"/>
                  </a:lnTo>
                  <a:lnTo>
                    <a:pt x="15" y="71"/>
                  </a:lnTo>
                  <a:lnTo>
                    <a:pt x="29" y="78"/>
                  </a:lnTo>
                  <a:lnTo>
                    <a:pt x="36" y="64"/>
                  </a:lnTo>
                  <a:lnTo>
                    <a:pt x="40" y="50"/>
                  </a:lnTo>
                  <a:lnTo>
                    <a:pt x="61" y="50"/>
                  </a:lnTo>
                  <a:lnTo>
                    <a:pt x="61" y="53"/>
                  </a:lnTo>
                  <a:lnTo>
                    <a:pt x="72" y="53"/>
                  </a:lnTo>
                  <a:lnTo>
                    <a:pt x="72" y="25"/>
                  </a:lnTo>
                  <a:lnTo>
                    <a:pt x="54" y="25"/>
                  </a:lnTo>
                  <a:lnTo>
                    <a:pt x="54" y="18"/>
                  </a:lnTo>
                  <a:lnTo>
                    <a:pt x="75" y="18"/>
                  </a:lnTo>
                  <a:lnTo>
                    <a:pt x="75" y="7"/>
                  </a:lnTo>
                  <a:lnTo>
                    <a:pt x="54" y="7"/>
                  </a:lnTo>
                  <a:lnTo>
                    <a:pt x="54" y="3"/>
                  </a:lnTo>
                  <a:lnTo>
                    <a:pt x="54" y="0"/>
                  </a:lnTo>
                  <a:lnTo>
                    <a:pt x="50" y="0"/>
                  </a:lnTo>
                  <a:lnTo>
                    <a:pt x="43" y="0"/>
                  </a:lnTo>
                  <a:lnTo>
                    <a:pt x="43" y="25"/>
                  </a:lnTo>
                  <a:lnTo>
                    <a:pt x="29" y="25"/>
                  </a:lnTo>
                  <a:lnTo>
                    <a:pt x="29" y="46"/>
                  </a:lnTo>
                  <a:lnTo>
                    <a:pt x="25" y="60"/>
                  </a:lnTo>
                  <a:close/>
                  <a:moveTo>
                    <a:pt x="29" y="11"/>
                  </a:moveTo>
                  <a:lnTo>
                    <a:pt x="29" y="11"/>
                  </a:lnTo>
                  <a:lnTo>
                    <a:pt x="25" y="11"/>
                  </a:lnTo>
                  <a:lnTo>
                    <a:pt x="15" y="0"/>
                  </a:lnTo>
                  <a:lnTo>
                    <a:pt x="8" y="11"/>
                  </a:lnTo>
                  <a:lnTo>
                    <a:pt x="15" y="14"/>
                  </a:lnTo>
                  <a:lnTo>
                    <a:pt x="18" y="21"/>
                  </a:lnTo>
                  <a:lnTo>
                    <a:pt x="29" y="11"/>
                  </a:lnTo>
                  <a:close/>
                  <a:moveTo>
                    <a:pt x="15" y="36"/>
                  </a:moveTo>
                  <a:lnTo>
                    <a:pt x="22" y="28"/>
                  </a:lnTo>
                  <a:lnTo>
                    <a:pt x="8" y="21"/>
                  </a:lnTo>
                  <a:lnTo>
                    <a:pt x="0" y="28"/>
                  </a:lnTo>
                  <a:lnTo>
                    <a:pt x="15" y="36"/>
                  </a:lnTo>
                  <a:close/>
                  <a:moveTo>
                    <a:pt x="61" y="43"/>
                  </a:moveTo>
                  <a:lnTo>
                    <a:pt x="40" y="43"/>
                  </a:lnTo>
                  <a:lnTo>
                    <a:pt x="40" y="32"/>
                  </a:lnTo>
                  <a:lnTo>
                    <a:pt x="61" y="32"/>
                  </a:lnTo>
                  <a:lnTo>
                    <a:pt x="61" y="43"/>
                  </a:lnTo>
                  <a:close/>
                  <a:moveTo>
                    <a:pt x="11" y="75"/>
                  </a:moveTo>
                  <a:lnTo>
                    <a:pt x="11" y="75"/>
                  </a:lnTo>
                  <a:lnTo>
                    <a:pt x="22" y="46"/>
                  </a:lnTo>
                  <a:lnTo>
                    <a:pt x="18" y="43"/>
                  </a:lnTo>
                  <a:lnTo>
                    <a:pt x="15" y="39"/>
                  </a:lnTo>
                  <a:lnTo>
                    <a:pt x="8" y="53"/>
                  </a:lnTo>
                  <a:lnTo>
                    <a:pt x="4" y="68"/>
                  </a:lnTo>
                  <a:lnTo>
                    <a:pt x="11" y="7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6" name="Freeform 102"/>
            <p:cNvSpPr>
              <a:spLocks noEditPoints="1"/>
            </p:cNvSpPr>
            <p:nvPr/>
          </p:nvSpPr>
          <p:spPr bwMode="auto">
            <a:xfrm>
              <a:off x="3540" y="2499"/>
              <a:ext cx="71" cy="75"/>
            </a:xfrm>
            <a:custGeom>
              <a:avLst/>
              <a:gdLst>
                <a:gd name="T0" fmla="*/ 57 w 71"/>
                <a:gd name="T1" fmla="*/ 18 h 75"/>
                <a:gd name="T2" fmla="*/ 46 w 71"/>
                <a:gd name="T3" fmla="*/ 11 h 75"/>
                <a:gd name="T4" fmla="*/ 50 w 71"/>
                <a:gd name="T5" fmla="*/ 7 h 75"/>
                <a:gd name="T6" fmla="*/ 50 w 71"/>
                <a:gd name="T7" fmla="*/ 3 h 75"/>
                <a:gd name="T8" fmla="*/ 46 w 71"/>
                <a:gd name="T9" fmla="*/ 3 h 75"/>
                <a:gd name="T10" fmla="*/ 39 w 71"/>
                <a:gd name="T11" fmla="*/ 3 h 75"/>
                <a:gd name="T12" fmla="*/ 39 w 71"/>
                <a:gd name="T13" fmla="*/ 36 h 75"/>
                <a:gd name="T14" fmla="*/ 32 w 71"/>
                <a:gd name="T15" fmla="*/ 18 h 75"/>
                <a:gd name="T16" fmla="*/ 25 w 71"/>
                <a:gd name="T17" fmla="*/ 7 h 75"/>
                <a:gd name="T18" fmla="*/ 25 w 71"/>
                <a:gd name="T19" fmla="*/ 3 h 75"/>
                <a:gd name="T20" fmla="*/ 28 w 71"/>
                <a:gd name="T21" fmla="*/ 0 h 75"/>
                <a:gd name="T22" fmla="*/ 25 w 71"/>
                <a:gd name="T23" fmla="*/ 0 h 75"/>
                <a:gd name="T24" fmla="*/ 18 w 71"/>
                <a:gd name="T25" fmla="*/ 0 h 75"/>
                <a:gd name="T26" fmla="*/ 18 w 71"/>
                <a:gd name="T27" fmla="*/ 43 h 75"/>
                <a:gd name="T28" fmla="*/ 11 w 71"/>
                <a:gd name="T29" fmla="*/ 57 h 75"/>
                <a:gd name="T30" fmla="*/ 0 w 71"/>
                <a:gd name="T31" fmla="*/ 68 h 75"/>
                <a:gd name="T32" fmla="*/ 11 w 71"/>
                <a:gd name="T33" fmla="*/ 75 h 75"/>
                <a:gd name="T34" fmla="*/ 18 w 71"/>
                <a:gd name="T35" fmla="*/ 68 h 75"/>
                <a:gd name="T36" fmla="*/ 25 w 71"/>
                <a:gd name="T37" fmla="*/ 57 h 75"/>
                <a:gd name="T38" fmla="*/ 25 w 71"/>
                <a:gd name="T39" fmla="*/ 25 h 75"/>
                <a:gd name="T40" fmla="*/ 28 w 71"/>
                <a:gd name="T41" fmla="*/ 46 h 75"/>
                <a:gd name="T42" fmla="*/ 36 w 71"/>
                <a:gd name="T43" fmla="*/ 46 h 75"/>
                <a:gd name="T44" fmla="*/ 39 w 71"/>
                <a:gd name="T45" fmla="*/ 46 h 75"/>
                <a:gd name="T46" fmla="*/ 46 w 71"/>
                <a:gd name="T47" fmla="*/ 71 h 75"/>
                <a:gd name="T48" fmla="*/ 46 w 71"/>
                <a:gd name="T49" fmla="*/ 21 h 75"/>
                <a:gd name="T50" fmla="*/ 53 w 71"/>
                <a:gd name="T51" fmla="*/ 46 h 75"/>
                <a:gd name="T52" fmla="*/ 61 w 71"/>
                <a:gd name="T53" fmla="*/ 75 h 75"/>
                <a:gd name="T54" fmla="*/ 71 w 71"/>
                <a:gd name="T55" fmla="*/ 7 h 75"/>
                <a:gd name="T56" fmla="*/ 71 w 71"/>
                <a:gd name="T57" fmla="*/ 0 h 75"/>
                <a:gd name="T58" fmla="*/ 71 w 71"/>
                <a:gd name="T59" fmla="*/ 0 h 75"/>
                <a:gd name="T60" fmla="*/ 71 w 71"/>
                <a:gd name="T61" fmla="*/ 0 h 75"/>
                <a:gd name="T62" fmla="*/ 61 w 71"/>
                <a:gd name="T63" fmla="*/ 0 h 75"/>
                <a:gd name="T64" fmla="*/ 61 w 71"/>
                <a:gd name="T65" fmla="*/ 39 h 75"/>
                <a:gd name="T66" fmla="*/ 57 w 71"/>
                <a:gd name="T67" fmla="*/ 18 h 75"/>
                <a:gd name="T68" fmla="*/ 11 w 71"/>
                <a:gd name="T69" fmla="*/ 36 h 75"/>
                <a:gd name="T70" fmla="*/ 14 w 71"/>
                <a:gd name="T71" fmla="*/ 21 h 75"/>
                <a:gd name="T72" fmla="*/ 7 w 71"/>
                <a:gd name="T73" fmla="*/ 18 h 75"/>
                <a:gd name="T74" fmla="*/ 4 w 71"/>
                <a:gd name="T75" fmla="*/ 21 h 75"/>
                <a:gd name="T76" fmla="*/ 0 w 71"/>
                <a:gd name="T77" fmla="*/ 46 h 75"/>
                <a:gd name="T78" fmla="*/ 11 w 71"/>
                <a:gd name="T79" fmla="*/ 46 h 75"/>
                <a:gd name="T80" fmla="*/ 11 w 71"/>
                <a:gd name="T81" fmla="*/ 36 h 75"/>
                <a:gd name="T82" fmla="*/ 11 w 71"/>
                <a:gd name="T83" fmla="*/ 36 h 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75"/>
                <a:gd name="T128" fmla="*/ 71 w 71"/>
                <a:gd name="T129" fmla="*/ 75 h 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75">
                  <a:moveTo>
                    <a:pt x="57" y="18"/>
                  </a:moveTo>
                  <a:lnTo>
                    <a:pt x="57" y="18"/>
                  </a:lnTo>
                  <a:lnTo>
                    <a:pt x="46" y="21"/>
                  </a:lnTo>
                  <a:lnTo>
                    <a:pt x="46" y="11"/>
                  </a:lnTo>
                  <a:lnTo>
                    <a:pt x="50" y="7"/>
                  </a:lnTo>
                  <a:lnTo>
                    <a:pt x="50" y="3"/>
                  </a:lnTo>
                  <a:lnTo>
                    <a:pt x="46" y="3"/>
                  </a:lnTo>
                  <a:lnTo>
                    <a:pt x="39" y="3"/>
                  </a:lnTo>
                  <a:lnTo>
                    <a:pt x="39" y="36"/>
                  </a:lnTo>
                  <a:lnTo>
                    <a:pt x="32" y="18"/>
                  </a:lnTo>
                  <a:lnTo>
                    <a:pt x="25" y="21"/>
                  </a:lnTo>
                  <a:lnTo>
                    <a:pt x="25" y="7"/>
                  </a:lnTo>
                  <a:lnTo>
                    <a:pt x="25" y="3"/>
                  </a:lnTo>
                  <a:lnTo>
                    <a:pt x="28" y="0"/>
                  </a:lnTo>
                  <a:lnTo>
                    <a:pt x="25" y="0"/>
                  </a:lnTo>
                  <a:lnTo>
                    <a:pt x="18" y="0"/>
                  </a:lnTo>
                  <a:lnTo>
                    <a:pt x="18" y="43"/>
                  </a:lnTo>
                  <a:lnTo>
                    <a:pt x="14" y="50"/>
                  </a:lnTo>
                  <a:lnTo>
                    <a:pt x="11" y="57"/>
                  </a:lnTo>
                  <a:lnTo>
                    <a:pt x="0" y="68"/>
                  </a:lnTo>
                  <a:lnTo>
                    <a:pt x="11" y="75"/>
                  </a:lnTo>
                  <a:lnTo>
                    <a:pt x="18" y="68"/>
                  </a:lnTo>
                  <a:lnTo>
                    <a:pt x="25" y="57"/>
                  </a:lnTo>
                  <a:lnTo>
                    <a:pt x="25" y="39"/>
                  </a:lnTo>
                  <a:lnTo>
                    <a:pt x="25" y="25"/>
                  </a:lnTo>
                  <a:lnTo>
                    <a:pt x="28" y="46"/>
                  </a:lnTo>
                  <a:lnTo>
                    <a:pt x="36" y="46"/>
                  </a:lnTo>
                  <a:lnTo>
                    <a:pt x="39" y="46"/>
                  </a:lnTo>
                  <a:lnTo>
                    <a:pt x="39" y="71"/>
                  </a:lnTo>
                  <a:lnTo>
                    <a:pt x="46" y="71"/>
                  </a:lnTo>
                  <a:lnTo>
                    <a:pt x="46" y="21"/>
                  </a:lnTo>
                  <a:lnTo>
                    <a:pt x="53" y="46"/>
                  </a:lnTo>
                  <a:lnTo>
                    <a:pt x="61" y="46"/>
                  </a:lnTo>
                  <a:lnTo>
                    <a:pt x="61" y="75"/>
                  </a:lnTo>
                  <a:lnTo>
                    <a:pt x="71" y="75"/>
                  </a:lnTo>
                  <a:lnTo>
                    <a:pt x="71" y="7"/>
                  </a:lnTo>
                  <a:lnTo>
                    <a:pt x="71" y="0"/>
                  </a:lnTo>
                  <a:lnTo>
                    <a:pt x="61" y="0"/>
                  </a:lnTo>
                  <a:lnTo>
                    <a:pt x="61" y="39"/>
                  </a:lnTo>
                  <a:lnTo>
                    <a:pt x="57" y="18"/>
                  </a:lnTo>
                  <a:close/>
                  <a:moveTo>
                    <a:pt x="11" y="36"/>
                  </a:moveTo>
                  <a:lnTo>
                    <a:pt x="11" y="36"/>
                  </a:lnTo>
                  <a:lnTo>
                    <a:pt x="14" y="21"/>
                  </a:lnTo>
                  <a:lnTo>
                    <a:pt x="7" y="18"/>
                  </a:lnTo>
                  <a:lnTo>
                    <a:pt x="4" y="21"/>
                  </a:lnTo>
                  <a:lnTo>
                    <a:pt x="0" y="46"/>
                  </a:lnTo>
                  <a:lnTo>
                    <a:pt x="11" y="46"/>
                  </a:lnTo>
                  <a:lnTo>
                    <a:pt x="1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7" name="Freeform 103"/>
            <p:cNvSpPr>
              <a:spLocks/>
            </p:cNvSpPr>
            <p:nvPr/>
          </p:nvSpPr>
          <p:spPr bwMode="auto">
            <a:xfrm>
              <a:off x="3625" y="2499"/>
              <a:ext cx="75" cy="75"/>
            </a:xfrm>
            <a:custGeom>
              <a:avLst/>
              <a:gdLst>
                <a:gd name="T0" fmla="*/ 47 w 75"/>
                <a:gd name="T1" fmla="*/ 11 h 75"/>
                <a:gd name="T2" fmla="*/ 47 w 75"/>
                <a:gd name="T3" fmla="*/ 11 h 75"/>
                <a:gd name="T4" fmla="*/ 47 w 75"/>
                <a:gd name="T5" fmla="*/ 7 h 75"/>
                <a:gd name="T6" fmla="*/ 47 w 75"/>
                <a:gd name="T7" fmla="*/ 7 h 75"/>
                <a:gd name="T8" fmla="*/ 43 w 75"/>
                <a:gd name="T9" fmla="*/ 0 h 75"/>
                <a:gd name="T10" fmla="*/ 43 w 75"/>
                <a:gd name="T11" fmla="*/ 0 h 75"/>
                <a:gd name="T12" fmla="*/ 36 w 75"/>
                <a:gd name="T13" fmla="*/ 0 h 75"/>
                <a:gd name="T14" fmla="*/ 36 w 75"/>
                <a:gd name="T15" fmla="*/ 0 h 75"/>
                <a:gd name="T16" fmla="*/ 29 w 75"/>
                <a:gd name="T17" fmla="*/ 0 h 75"/>
                <a:gd name="T18" fmla="*/ 29 w 75"/>
                <a:gd name="T19" fmla="*/ 0 h 75"/>
                <a:gd name="T20" fmla="*/ 33 w 75"/>
                <a:gd name="T21" fmla="*/ 11 h 75"/>
                <a:gd name="T22" fmla="*/ 0 w 75"/>
                <a:gd name="T23" fmla="*/ 11 h 75"/>
                <a:gd name="T24" fmla="*/ 0 w 75"/>
                <a:gd name="T25" fmla="*/ 21 h 75"/>
                <a:gd name="T26" fmla="*/ 33 w 75"/>
                <a:gd name="T27" fmla="*/ 21 h 75"/>
                <a:gd name="T28" fmla="*/ 33 w 75"/>
                <a:gd name="T29" fmla="*/ 28 h 75"/>
                <a:gd name="T30" fmla="*/ 11 w 75"/>
                <a:gd name="T31" fmla="*/ 28 h 75"/>
                <a:gd name="T32" fmla="*/ 11 w 75"/>
                <a:gd name="T33" fmla="*/ 68 h 75"/>
                <a:gd name="T34" fmla="*/ 22 w 75"/>
                <a:gd name="T35" fmla="*/ 68 h 75"/>
                <a:gd name="T36" fmla="*/ 22 w 75"/>
                <a:gd name="T37" fmla="*/ 39 h 75"/>
                <a:gd name="T38" fmla="*/ 33 w 75"/>
                <a:gd name="T39" fmla="*/ 39 h 75"/>
                <a:gd name="T40" fmla="*/ 33 w 75"/>
                <a:gd name="T41" fmla="*/ 75 h 75"/>
                <a:gd name="T42" fmla="*/ 47 w 75"/>
                <a:gd name="T43" fmla="*/ 75 h 75"/>
                <a:gd name="T44" fmla="*/ 47 w 75"/>
                <a:gd name="T45" fmla="*/ 39 h 75"/>
                <a:gd name="T46" fmla="*/ 58 w 75"/>
                <a:gd name="T47" fmla="*/ 39 h 75"/>
                <a:gd name="T48" fmla="*/ 58 w 75"/>
                <a:gd name="T49" fmla="*/ 57 h 75"/>
                <a:gd name="T50" fmla="*/ 58 w 75"/>
                <a:gd name="T51" fmla="*/ 57 h 75"/>
                <a:gd name="T52" fmla="*/ 54 w 75"/>
                <a:gd name="T53" fmla="*/ 57 h 75"/>
                <a:gd name="T54" fmla="*/ 47 w 75"/>
                <a:gd name="T55" fmla="*/ 57 h 75"/>
                <a:gd name="T56" fmla="*/ 47 w 75"/>
                <a:gd name="T57" fmla="*/ 57 h 75"/>
                <a:gd name="T58" fmla="*/ 50 w 75"/>
                <a:gd name="T59" fmla="*/ 68 h 75"/>
                <a:gd name="T60" fmla="*/ 50 w 75"/>
                <a:gd name="T61" fmla="*/ 68 h 75"/>
                <a:gd name="T62" fmla="*/ 65 w 75"/>
                <a:gd name="T63" fmla="*/ 68 h 75"/>
                <a:gd name="T64" fmla="*/ 68 w 75"/>
                <a:gd name="T65" fmla="*/ 64 h 75"/>
                <a:gd name="T66" fmla="*/ 68 w 75"/>
                <a:gd name="T67" fmla="*/ 60 h 75"/>
                <a:gd name="T68" fmla="*/ 68 w 75"/>
                <a:gd name="T69" fmla="*/ 28 h 75"/>
                <a:gd name="T70" fmla="*/ 47 w 75"/>
                <a:gd name="T71" fmla="*/ 28 h 75"/>
                <a:gd name="T72" fmla="*/ 47 w 75"/>
                <a:gd name="T73" fmla="*/ 21 h 75"/>
                <a:gd name="T74" fmla="*/ 75 w 75"/>
                <a:gd name="T75" fmla="*/ 21 h 75"/>
                <a:gd name="T76" fmla="*/ 75 w 75"/>
                <a:gd name="T77" fmla="*/ 11 h 75"/>
                <a:gd name="T78" fmla="*/ 40 w 75"/>
                <a:gd name="T79" fmla="*/ 11 h 75"/>
                <a:gd name="T80" fmla="*/ 40 w 75"/>
                <a:gd name="T81" fmla="*/ 11 h 75"/>
                <a:gd name="T82" fmla="*/ 47 w 75"/>
                <a:gd name="T83" fmla="*/ 11 h 75"/>
                <a:gd name="T84" fmla="*/ 47 w 75"/>
                <a:gd name="T85" fmla="*/ 11 h 75"/>
                <a:gd name="T86" fmla="*/ 47 w 75"/>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5"/>
                <a:gd name="T134" fmla="*/ 75 w 75"/>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5">
                  <a:moveTo>
                    <a:pt x="47" y="11"/>
                  </a:moveTo>
                  <a:lnTo>
                    <a:pt x="47" y="11"/>
                  </a:lnTo>
                  <a:lnTo>
                    <a:pt x="47" y="7"/>
                  </a:lnTo>
                  <a:lnTo>
                    <a:pt x="43" y="0"/>
                  </a:lnTo>
                  <a:lnTo>
                    <a:pt x="36" y="0"/>
                  </a:lnTo>
                  <a:lnTo>
                    <a:pt x="29" y="0"/>
                  </a:lnTo>
                  <a:lnTo>
                    <a:pt x="33" y="11"/>
                  </a:lnTo>
                  <a:lnTo>
                    <a:pt x="0" y="11"/>
                  </a:lnTo>
                  <a:lnTo>
                    <a:pt x="0" y="21"/>
                  </a:lnTo>
                  <a:lnTo>
                    <a:pt x="33" y="21"/>
                  </a:lnTo>
                  <a:lnTo>
                    <a:pt x="33" y="28"/>
                  </a:lnTo>
                  <a:lnTo>
                    <a:pt x="11" y="28"/>
                  </a:lnTo>
                  <a:lnTo>
                    <a:pt x="11" y="68"/>
                  </a:lnTo>
                  <a:lnTo>
                    <a:pt x="22" y="68"/>
                  </a:lnTo>
                  <a:lnTo>
                    <a:pt x="22" y="39"/>
                  </a:lnTo>
                  <a:lnTo>
                    <a:pt x="33" y="39"/>
                  </a:lnTo>
                  <a:lnTo>
                    <a:pt x="33" y="75"/>
                  </a:lnTo>
                  <a:lnTo>
                    <a:pt x="47" y="75"/>
                  </a:lnTo>
                  <a:lnTo>
                    <a:pt x="47" y="39"/>
                  </a:lnTo>
                  <a:lnTo>
                    <a:pt x="58" y="39"/>
                  </a:lnTo>
                  <a:lnTo>
                    <a:pt x="58" y="57"/>
                  </a:lnTo>
                  <a:lnTo>
                    <a:pt x="54" y="57"/>
                  </a:lnTo>
                  <a:lnTo>
                    <a:pt x="47" y="57"/>
                  </a:lnTo>
                  <a:lnTo>
                    <a:pt x="50" y="68"/>
                  </a:lnTo>
                  <a:lnTo>
                    <a:pt x="65" y="68"/>
                  </a:lnTo>
                  <a:lnTo>
                    <a:pt x="68" y="64"/>
                  </a:lnTo>
                  <a:lnTo>
                    <a:pt x="68" y="60"/>
                  </a:lnTo>
                  <a:lnTo>
                    <a:pt x="68" y="28"/>
                  </a:lnTo>
                  <a:lnTo>
                    <a:pt x="47" y="28"/>
                  </a:lnTo>
                  <a:lnTo>
                    <a:pt x="47" y="21"/>
                  </a:lnTo>
                  <a:lnTo>
                    <a:pt x="75" y="21"/>
                  </a:lnTo>
                  <a:lnTo>
                    <a:pt x="75" y="11"/>
                  </a:lnTo>
                  <a:lnTo>
                    <a:pt x="40" y="11"/>
                  </a:lnTo>
                  <a:lnTo>
                    <a:pt x="4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8" name="Freeform 104"/>
            <p:cNvSpPr>
              <a:spLocks noEditPoints="1"/>
            </p:cNvSpPr>
            <p:nvPr/>
          </p:nvSpPr>
          <p:spPr bwMode="auto">
            <a:xfrm>
              <a:off x="3048" y="2620"/>
              <a:ext cx="75" cy="75"/>
            </a:xfrm>
            <a:custGeom>
              <a:avLst/>
              <a:gdLst>
                <a:gd name="T0" fmla="*/ 43 w 75"/>
                <a:gd name="T1" fmla="*/ 4 h 75"/>
                <a:gd name="T2" fmla="*/ 43 w 75"/>
                <a:gd name="T3" fmla="*/ 4 h 75"/>
                <a:gd name="T4" fmla="*/ 43 w 75"/>
                <a:gd name="T5" fmla="*/ 0 h 75"/>
                <a:gd name="T6" fmla="*/ 43 w 75"/>
                <a:gd name="T7" fmla="*/ 0 h 75"/>
                <a:gd name="T8" fmla="*/ 32 w 75"/>
                <a:gd name="T9" fmla="*/ 0 h 75"/>
                <a:gd name="T10" fmla="*/ 32 w 75"/>
                <a:gd name="T11" fmla="*/ 0 h 75"/>
                <a:gd name="T12" fmla="*/ 32 w 75"/>
                <a:gd name="T13" fmla="*/ 7 h 75"/>
                <a:gd name="T14" fmla="*/ 4 w 75"/>
                <a:gd name="T15" fmla="*/ 7 h 75"/>
                <a:gd name="T16" fmla="*/ 4 w 75"/>
                <a:gd name="T17" fmla="*/ 25 h 75"/>
                <a:gd name="T18" fmla="*/ 14 w 75"/>
                <a:gd name="T19" fmla="*/ 25 h 75"/>
                <a:gd name="T20" fmla="*/ 14 w 75"/>
                <a:gd name="T21" fmla="*/ 18 h 75"/>
                <a:gd name="T22" fmla="*/ 64 w 75"/>
                <a:gd name="T23" fmla="*/ 18 h 75"/>
                <a:gd name="T24" fmla="*/ 64 w 75"/>
                <a:gd name="T25" fmla="*/ 25 h 75"/>
                <a:gd name="T26" fmla="*/ 75 w 75"/>
                <a:gd name="T27" fmla="*/ 25 h 75"/>
                <a:gd name="T28" fmla="*/ 75 w 75"/>
                <a:gd name="T29" fmla="*/ 7 h 75"/>
                <a:gd name="T30" fmla="*/ 46 w 75"/>
                <a:gd name="T31" fmla="*/ 7 h 75"/>
                <a:gd name="T32" fmla="*/ 46 w 75"/>
                <a:gd name="T33" fmla="*/ 7 h 75"/>
                <a:gd name="T34" fmla="*/ 43 w 75"/>
                <a:gd name="T35" fmla="*/ 4 h 75"/>
                <a:gd name="T36" fmla="*/ 43 w 75"/>
                <a:gd name="T37" fmla="*/ 4 h 75"/>
                <a:gd name="T38" fmla="*/ 43 w 75"/>
                <a:gd name="T39" fmla="*/ 4 h 75"/>
                <a:gd name="T40" fmla="*/ 75 w 75"/>
                <a:gd name="T41" fmla="*/ 75 h 75"/>
                <a:gd name="T42" fmla="*/ 75 w 75"/>
                <a:gd name="T43" fmla="*/ 68 h 75"/>
                <a:gd name="T44" fmla="*/ 61 w 75"/>
                <a:gd name="T45" fmla="*/ 68 h 75"/>
                <a:gd name="T46" fmla="*/ 61 w 75"/>
                <a:gd name="T47" fmla="*/ 25 h 75"/>
                <a:gd name="T48" fmla="*/ 14 w 75"/>
                <a:gd name="T49" fmla="*/ 25 h 75"/>
                <a:gd name="T50" fmla="*/ 14 w 75"/>
                <a:gd name="T51" fmla="*/ 68 h 75"/>
                <a:gd name="T52" fmla="*/ 0 w 75"/>
                <a:gd name="T53" fmla="*/ 68 h 75"/>
                <a:gd name="T54" fmla="*/ 0 w 75"/>
                <a:gd name="T55" fmla="*/ 75 h 75"/>
                <a:gd name="T56" fmla="*/ 75 w 75"/>
                <a:gd name="T57" fmla="*/ 75 h 75"/>
                <a:gd name="T58" fmla="*/ 75 w 75"/>
                <a:gd name="T59" fmla="*/ 75 h 75"/>
                <a:gd name="T60" fmla="*/ 25 w 75"/>
                <a:gd name="T61" fmla="*/ 32 h 75"/>
                <a:gd name="T62" fmla="*/ 50 w 75"/>
                <a:gd name="T63" fmla="*/ 32 h 75"/>
                <a:gd name="T64" fmla="*/ 50 w 75"/>
                <a:gd name="T65" fmla="*/ 39 h 75"/>
                <a:gd name="T66" fmla="*/ 25 w 75"/>
                <a:gd name="T67" fmla="*/ 39 h 75"/>
                <a:gd name="T68" fmla="*/ 25 w 75"/>
                <a:gd name="T69" fmla="*/ 32 h 75"/>
                <a:gd name="T70" fmla="*/ 25 w 75"/>
                <a:gd name="T71" fmla="*/ 32 h 75"/>
                <a:gd name="T72" fmla="*/ 50 w 75"/>
                <a:gd name="T73" fmla="*/ 46 h 75"/>
                <a:gd name="T74" fmla="*/ 50 w 75"/>
                <a:gd name="T75" fmla="*/ 54 h 75"/>
                <a:gd name="T76" fmla="*/ 25 w 75"/>
                <a:gd name="T77" fmla="*/ 54 h 75"/>
                <a:gd name="T78" fmla="*/ 25 w 75"/>
                <a:gd name="T79" fmla="*/ 46 h 75"/>
                <a:gd name="T80" fmla="*/ 50 w 75"/>
                <a:gd name="T81" fmla="*/ 46 h 75"/>
                <a:gd name="T82" fmla="*/ 50 w 75"/>
                <a:gd name="T83" fmla="*/ 46 h 75"/>
                <a:gd name="T84" fmla="*/ 25 w 75"/>
                <a:gd name="T85" fmla="*/ 68 h 75"/>
                <a:gd name="T86" fmla="*/ 25 w 75"/>
                <a:gd name="T87" fmla="*/ 61 h 75"/>
                <a:gd name="T88" fmla="*/ 50 w 75"/>
                <a:gd name="T89" fmla="*/ 61 h 75"/>
                <a:gd name="T90" fmla="*/ 50 w 75"/>
                <a:gd name="T91" fmla="*/ 68 h 75"/>
                <a:gd name="T92" fmla="*/ 25 w 75"/>
                <a:gd name="T93" fmla="*/ 68 h 75"/>
                <a:gd name="T94" fmla="*/ 25 w 75"/>
                <a:gd name="T95" fmla="*/ 68 h 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5"/>
                <a:gd name="T145" fmla="*/ 0 h 75"/>
                <a:gd name="T146" fmla="*/ 75 w 75"/>
                <a:gd name="T147" fmla="*/ 75 h 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5" h="75">
                  <a:moveTo>
                    <a:pt x="43" y="4"/>
                  </a:moveTo>
                  <a:lnTo>
                    <a:pt x="43" y="4"/>
                  </a:lnTo>
                  <a:lnTo>
                    <a:pt x="43" y="0"/>
                  </a:lnTo>
                  <a:lnTo>
                    <a:pt x="32" y="0"/>
                  </a:lnTo>
                  <a:lnTo>
                    <a:pt x="32" y="7"/>
                  </a:lnTo>
                  <a:lnTo>
                    <a:pt x="4" y="7"/>
                  </a:lnTo>
                  <a:lnTo>
                    <a:pt x="4" y="25"/>
                  </a:lnTo>
                  <a:lnTo>
                    <a:pt x="14" y="25"/>
                  </a:lnTo>
                  <a:lnTo>
                    <a:pt x="14" y="18"/>
                  </a:lnTo>
                  <a:lnTo>
                    <a:pt x="64" y="18"/>
                  </a:lnTo>
                  <a:lnTo>
                    <a:pt x="64" y="25"/>
                  </a:lnTo>
                  <a:lnTo>
                    <a:pt x="75" y="25"/>
                  </a:lnTo>
                  <a:lnTo>
                    <a:pt x="75" y="7"/>
                  </a:lnTo>
                  <a:lnTo>
                    <a:pt x="46" y="7"/>
                  </a:lnTo>
                  <a:lnTo>
                    <a:pt x="43" y="4"/>
                  </a:lnTo>
                  <a:close/>
                  <a:moveTo>
                    <a:pt x="75" y="75"/>
                  </a:moveTo>
                  <a:lnTo>
                    <a:pt x="75" y="68"/>
                  </a:lnTo>
                  <a:lnTo>
                    <a:pt x="61" y="68"/>
                  </a:lnTo>
                  <a:lnTo>
                    <a:pt x="61" y="25"/>
                  </a:lnTo>
                  <a:lnTo>
                    <a:pt x="14" y="25"/>
                  </a:lnTo>
                  <a:lnTo>
                    <a:pt x="14" y="68"/>
                  </a:lnTo>
                  <a:lnTo>
                    <a:pt x="0" y="68"/>
                  </a:lnTo>
                  <a:lnTo>
                    <a:pt x="0" y="75"/>
                  </a:lnTo>
                  <a:lnTo>
                    <a:pt x="75" y="75"/>
                  </a:lnTo>
                  <a:close/>
                  <a:moveTo>
                    <a:pt x="25" y="32"/>
                  </a:moveTo>
                  <a:lnTo>
                    <a:pt x="50" y="32"/>
                  </a:lnTo>
                  <a:lnTo>
                    <a:pt x="50" y="39"/>
                  </a:lnTo>
                  <a:lnTo>
                    <a:pt x="25" y="39"/>
                  </a:lnTo>
                  <a:lnTo>
                    <a:pt x="25" y="32"/>
                  </a:lnTo>
                  <a:close/>
                  <a:moveTo>
                    <a:pt x="50" y="46"/>
                  </a:moveTo>
                  <a:lnTo>
                    <a:pt x="50" y="54"/>
                  </a:lnTo>
                  <a:lnTo>
                    <a:pt x="25" y="54"/>
                  </a:lnTo>
                  <a:lnTo>
                    <a:pt x="25" y="46"/>
                  </a:lnTo>
                  <a:lnTo>
                    <a:pt x="50" y="46"/>
                  </a:lnTo>
                  <a:close/>
                  <a:moveTo>
                    <a:pt x="25" y="68"/>
                  </a:moveTo>
                  <a:lnTo>
                    <a:pt x="25" y="61"/>
                  </a:lnTo>
                  <a:lnTo>
                    <a:pt x="50" y="61"/>
                  </a:lnTo>
                  <a:lnTo>
                    <a:pt x="50" y="68"/>
                  </a:lnTo>
                  <a:lnTo>
                    <a:pt x="25"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09" name="Freeform 105"/>
            <p:cNvSpPr>
              <a:spLocks noEditPoints="1"/>
            </p:cNvSpPr>
            <p:nvPr/>
          </p:nvSpPr>
          <p:spPr bwMode="auto">
            <a:xfrm>
              <a:off x="3134" y="2620"/>
              <a:ext cx="74" cy="79"/>
            </a:xfrm>
            <a:custGeom>
              <a:avLst/>
              <a:gdLst>
                <a:gd name="T0" fmla="*/ 46 w 74"/>
                <a:gd name="T1" fmla="*/ 0 h 79"/>
                <a:gd name="T2" fmla="*/ 32 w 74"/>
                <a:gd name="T3" fmla="*/ 0 h 79"/>
                <a:gd name="T4" fmla="*/ 3 w 74"/>
                <a:gd name="T5" fmla="*/ 7 h 79"/>
                <a:gd name="T6" fmla="*/ 14 w 74"/>
                <a:gd name="T7" fmla="*/ 25 h 79"/>
                <a:gd name="T8" fmla="*/ 64 w 74"/>
                <a:gd name="T9" fmla="*/ 18 h 79"/>
                <a:gd name="T10" fmla="*/ 74 w 74"/>
                <a:gd name="T11" fmla="*/ 25 h 79"/>
                <a:gd name="T12" fmla="*/ 46 w 74"/>
                <a:gd name="T13" fmla="*/ 7 h 79"/>
                <a:gd name="T14" fmla="*/ 46 w 74"/>
                <a:gd name="T15" fmla="*/ 0 h 79"/>
                <a:gd name="T16" fmla="*/ 46 w 74"/>
                <a:gd name="T17" fmla="*/ 0 h 79"/>
                <a:gd name="T18" fmla="*/ 60 w 74"/>
                <a:gd name="T19" fmla="*/ 29 h 79"/>
                <a:gd name="T20" fmla="*/ 57 w 74"/>
                <a:gd name="T21" fmla="*/ 18 h 79"/>
                <a:gd name="T22" fmla="*/ 17 w 74"/>
                <a:gd name="T23" fmla="*/ 50 h 79"/>
                <a:gd name="T24" fmla="*/ 0 w 74"/>
                <a:gd name="T25" fmla="*/ 61 h 79"/>
                <a:gd name="T26" fmla="*/ 21 w 74"/>
                <a:gd name="T27" fmla="*/ 61 h 79"/>
                <a:gd name="T28" fmla="*/ 0 w 74"/>
                <a:gd name="T29" fmla="*/ 71 h 79"/>
                <a:gd name="T30" fmla="*/ 10 w 74"/>
                <a:gd name="T31" fmla="*/ 79 h 79"/>
                <a:gd name="T32" fmla="*/ 35 w 74"/>
                <a:gd name="T33" fmla="*/ 64 h 79"/>
                <a:gd name="T34" fmla="*/ 32 w 74"/>
                <a:gd name="T35" fmla="*/ 64 h 79"/>
                <a:gd name="T36" fmla="*/ 24 w 74"/>
                <a:gd name="T37" fmla="*/ 61 h 79"/>
                <a:gd name="T38" fmla="*/ 42 w 74"/>
                <a:gd name="T39" fmla="*/ 68 h 79"/>
                <a:gd name="T40" fmla="*/ 53 w 74"/>
                <a:gd name="T41" fmla="*/ 71 h 79"/>
                <a:gd name="T42" fmla="*/ 74 w 74"/>
                <a:gd name="T43" fmla="*/ 71 h 79"/>
                <a:gd name="T44" fmla="*/ 49 w 74"/>
                <a:gd name="T45" fmla="*/ 61 h 79"/>
                <a:gd name="T46" fmla="*/ 74 w 74"/>
                <a:gd name="T47" fmla="*/ 50 h 79"/>
                <a:gd name="T48" fmla="*/ 53 w 74"/>
                <a:gd name="T49" fmla="*/ 43 h 79"/>
                <a:gd name="T50" fmla="*/ 67 w 74"/>
                <a:gd name="T51" fmla="*/ 36 h 79"/>
                <a:gd name="T52" fmla="*/ 28 w 74"/>
                <a:gd name="T53" fmla="*/ 32 h 79"/>
                <a:gd name="T54" fmla="*/ 60 w 74"/>
                <a:gd name="T55" fmla="*/ 29 h 79"/>
                <a:gd name="T56" fmla="*/ 60 w 74"/>
                <a:gd name="T57" fmla="*/ 29 h 79"/>
                <a:gd name="T58" fmla="*/ 42 w 74"/>
                <a:gd name="T59" fmla="*/ 50 h 79"/>
                <a:gd name="T60" fmla="*/ 28 w 74"/>
                <a:gd name="T61" fmla="*/ 43 h 79"/>
                <a:gd name="T62" fmla="*/ 42 w 74"/>
                <a:gd name="T63" fmla="*/ 43 h 7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4"/>
                <a:gd name="T97" fmla="*/ 0 h 79"/>
                <a:gd name="T98" fmla="*/ 74 w 74"/>
                <a:gd name="T99" fmla="*/ 79 h 7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4" h="79">
                  <a:moveTo>
                    <a:pt x="46" y="0"/>
                  </a:moveTo>
                  <a:lnTo>
                    <a:pt x="46" y="0"/>
                  </a:lnTo>
                  <a:lnTo>
                    <a:pt x="32" y="0"/>
                  </a:lnTo>
                  <a:lnTo>
                    <a:pt x="32" y="7"/>
                  </a:lnTo>
                  <a:lnTo>
                    <a:pt x="3" y="7"/>
                  </a:lnTo>
                  <a:lnTo>
                    <a:pt x="3" y="25"/>
                  </a:lnTo>
                  <a:lnTo>
                    <a:pt x="14" y="25"/>
                  </a:lnTo>
                  <a:lnTo>
                    <a:pt x="14" y="18"/>
                  </a:lnTo>
                  <a:lnTo>
                    <a:pt x="64" y="18"/>
                  </a:lnTo>
                  <a:lnTo>
                    <a:pt x="64" y="25"/>
                  </a:lnTo>
                  <a:lnTo>
                    <a:pt x="74" y="25"/>
                  </a:lnTo>
                  <a:lnTo>
                    <a:pt x="74" y="7"/>
                  </a:lnTo>
                  <a:lnTo>
                    <a:pt x="46" y="7"/>
                  </a:lnTo>
                  <a:lnTo>
                    <a:pt x="46" y="0"/>
                  </a:lnTo>
                  <a:close/>
                  <a:moveTo>
                    <a:pt x="60" y="29"/>
                  </a:moveTo>
                  <a:lnTo>
                    <a:pt x="60" y="29"/>
                  </a:lnTo>
                  <a:lnTo>
                    <a:pt x="57" y="18"/>
                  </a:lnTo>
                  <a:lnTo>
                    <a:pt x="17" y="21"/>
                  </a:lnTo>
                  <a:lnTo>
                    <a:pt x="17" y="50"/>
                  </a:lnTo>
                  <a:lnTo>
                    <a:pt x="0" y="50"/>
                  </a:lnTo>
                  <a:lnTo>
                    <a:pt x="0" y="61"/>
                  </a:lnTo>
                  <a:lnTo>
                    <a:pt x="21" y="61"/>
                  </a:lnTo>
                  <a:lnTo>
                    <a:pt x="14" y="64"/>
                  </a:lnTo>
                  <a:lnTo>
                    <a:pt x="0" y="71"/>
                  </a:lnTo>
                  <a:lnTo>
                    <a:pt x="10" y="79"/>
                  </a:lnTo>
                  <a:lnTo>
                    <a:pt x="35" y="64"/>
                  </a:lnTo>
                  <a:lnTo>
                    <a:pt x="32" y="64"/>
                  </a:lnTo>
                  <a:lnTo>
                    <a:pt x="24" y="61"/>
                  </a:lnTo>
                  <a:lnTo>
                    <a:pt x="46" y="61"/>
                  </a:lnTo>
                  <a:lnTo>
                    <a:pt x="42" y="68"/>
                  </a:lnTo>
                  <a:lnTo>
                    <a:pt x="53" y="71"/>
                  </a:lnTo>
                  <a:lnTo>
                    <a:pt x="64" y="79"/>
                  </a:lnTo>
                  <a:lnTo>
                    <a:pt x="74" y="71"/>
                  </a:lnTo>
                  <a:lnTo>
                    <a:pt x="49" y="61"/>
                  </a:lnTo>
                  <a:lnTo>
                    <a:pt x="74" y="61"/>
                  </a:lnTo>
                  <a:lnTo>
                    <a:pt x="74" y="50"/>
                  </a:lnTo>
                  <a:lnTo>
                    <a:pt x="53" y="50"/>
                  </a:lnTo>
                  <a:lnTo>
                    <a:pt x="53" y="43"/>
                  </a:lnTo>
                  <a:lnTo>
                    <a:pt x="67" y="43"/>
                  </a:lnTo>
                  <a:lnTo>
                    <a:pt x="67" y="36"/>
                  </a:lnTo>
                  <a:lnTo>
                    <a:pt x="28" y="36"/>
                  </a:lnTo>
                  <a:lnTo>
                    <a:pt x="28" y="32"/>
                  </a:lnTo>
                  <a:lnTo>
                    <a:pt x="60" y="29"/>
                  </a:lnTo>
                  <a:close/>
                  <a:moveTo>
                    <a:pt x="42" y="43"/>
                  </a:moveTo>
                  <a:lnTo>
                    <a:pt x="42" y="50"/>
                  </a:lnTo>
                  <a:lnTo>
                    <a:pt x="28" y="50"/>
                  </a:lnTo>
                  <a:lnTo>
                    <a:pt x="28" y="43"/>
                  </a:lnTo>
                  <a:lnTo>
                    <a:pt x="42" y="4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0" name="Freeform 106"/>
            <p:cNvSpPr>
              <a:spLocks/>
            </p:cNvSpPr>
            <p:nvPr/>
          </p:nvSpPr>
          <p:spPr bwMode="auto">
            <a:xfrm>
              <a:off x="3219" y="2620"/>
              <a:ext cx="75" cy="79"/>
            </a:xfrm>
            <a:custGeom>
              <a:avLst/>
              <a:gdLst>
                <a:gd name="T0" fmla="*/ 46 w 75"/>
                <a:gd name="T1" fmla="*/ 11 h 79"/>
                <a:gd name="T2" fmla="*/ 46 w 75"/>
                <a:gd name="T3" fmla="*/ 11 h 79"/>
                <a:gd name="T4" fmla="*/ 46 w 75"/>
                <a:gd name="T5" fmla="*/ 7 h 79"/>
                <a:gd name="T6" fmla="*/ 46 w 75"/>
                <a:gd name="T7" fmla="*/ 7 h 79"/>
                <a:gd name="T8" fmla="*/ 43 w 75"/>
                <a:gd name="T9" fmla="*/ 0 h 79"/>
                <a:gd name="T10" fmla="*/ 43 w 75"/>
                <a:gd name="T11" fmla="*/ 0 h 79"/>
                <a:gd name="T12" fmla="*/ 36 w 75"/>
                <a:gd name="T13" fmla="*/ 0 h 79"/>
                <a:gd name="T14" fmla="*/ 36 w 75"/>
                <a:gd name="T15" fmla="*/ 0 h 79"/>
                <a:gd name="T16" fmla="*/ 29 w 75"/>
                <a:gd name="T17" fmla="*/ 4 h 79"/>
                <a:gd name="T18" fmla="*/ 29 w 75"/>
                <a:gd name="T19" fmla="*/ 4 h 79"/>
                <a:gd name="T20" fmla="*/ 32 w 75"/>
                <a:gd name="T21" fmla="*/ 14 h 79"/>
                <a:gd name="T22" fmla="*/ 0 w 75"/>
                <a:gd name="T23" fmla="*/ 14 h 79"/>
                <a:gd name="T24" fmla="*/ 0 w 75"/>
                <a:gd name="T25" fmla="*/ 21 h 79"/>
                <a:gd name="T26" fmla="*/ 32 w 75"/>
                <a:gd name="T27" fmla="*/ 21 h 79"/>
                <a:gd name="T28" fmla="*/ 32 w 75"/>
                <a:gd name="T29" fmla="*/ 32 h 79"/>
                <a:gd name="T30" fmla="*/ 11 w 75"/>
                <a:gd name="T31" fmla="*/ 32 h 79"/>
                <a:gd name="T32" fmla="*/ 11 w 75"/>
                <a:gd name="T33" fmla="*/ 68 h 79"/>
                <a:gd name="T34" fmla="*/ 21 w 75"/>
                <a:gd name="T35" fmla="*/ 68 h 79"/>
                <a:gd name="T36" fmla="*/ 21 w 75"/>
                <a:gd name="T37" fmla="*/ 39 h 79"/>
                <a:gd name="T38" fmla="*/ 32 w 75"/>
                <a:gd name="T39" fmla="*/ 39 h 79"/>
                <a:gd name="T40" fmla="*/ 32 w 75"/>
                <a:gd name="T41" fmla="*/ 79 h 79"/>
                <a:gd name="T42" fmla="*/ 46 w 75"/>
                <a:gd name="T43" fmla="*/ 79 h 79"/>
                <a:gd name="T44" fmla="*/ 46 w 75"/>
                <a:gd name="T45" fmla="*/ 39 h 79"/>
                <a:gd name="T46" fmla="*/ 57 w 75"/>
                <a:gd name="T47" fmla="*/ 39 h 79"/>
                <a:gd name="T48" fmla="*/ 57 w 75"/>
                <a:gd name="T49" fmla="*/ 57 h 79"/>
                <a:gd name="T50" fmla="*/ 57 w 75"/>
                <a:gd name="T51" fmla="*/ 57 h 79"/>
                <a:gd name="T52" fmla="*/ 54 w 75"/>
                <a:gd name="T53" fmla="*/ 61 h 79"/>
                <a:gd name="T54" fmla="*/ 46 w 75"/>
                <a:gd name="T55" fmla="*/ 61 h 79"/>
                <a:gd name="T56" fmla="*/ 46 w 75"/>
                <a:gd name="T57" fmla="*/ 61 h 79"/>
                <a:gd name="T58" fmla="*/ 50 w 75"/>
                <a:gd name="T59" fmla="*/ 71 h 79"/>
                <a:gd name="T60" fmla="*/ 50 w 75"/>
                <a:gd name="T61" fmla="*/ 71 h 79"/>
                <a:gd name="T62" fmla="*/ 64 w 75"/>
                <a:gd name="T63" fmla="*/ 68 h 79"/>
                <a:gd name="T64" fmla="*/ 68 w 75"/>
                <a:gd name="T65" fmla="*/ 68 h 79"/>
                <a:gd name="T66" fmla="*/ 68 w 75"/>
                <a:gd name="T67" fmla="*/ 64 h 79"/>
                <a:gd name="T68" fmla="*/ 68 w 75"/>
                <a:gd name="T69" fmla="*/ 32 h 79"/>
                <a:gd name="T70" fmla="*/ 46 w 75"/>
                <a:gd name="T71" fmla="*/ 32 h 79"/>
                <a:gd name="T72" fmla="*/ 46 w 75"/>
                <a:gd name="T73" fmla="*/ 21 h 79"/>
                <a:gd name="T74" fmla="*/ 75 w 75"/>
                <a:gd name="T75" fmla="*/ 21 h 79"/>
                <a:gd name="T76" fmla="*/ 75 w 75"/>
                <a:gd name="T77" fmla="*/ 14 h 79"/>
                <a:gd name="T78" fmla="*/ 39 w 75"/>
                <a:gd name="T79" fmla="*/ 14 h 79"/>
                <a:gd name="T80" fmla="*/ 39 w 75"/>
                <a:gd name="T81" fmla="*/ 14 h 79"/>
                <a:gd name="T82" fmla="*/ 46 w 75"/>
                <a:gd name="T83" fmla="*/ 11 h 79"/>
                <a:gd name="T84" fmla="*/ 46 w 75"/>
                <a:gd name="T85" fmla="*/ 11 h 79"/>
                <a:gd name="T86" fmla="*/ 46 w 75"/>
                <a:gd name="T87" fmla="*/ 11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9"/>
                <a:gd name="T134" fmla="*/ 75 w 75"/>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9">
                  <a:moveTo>
                    <a:pt x="46" y="11"/>
                  </a:moveTo>
                  <a:lnTo>
                    <a:pt x="46" y="11"/>
                  </a:lnTo>
                  <a:lnTo>
                    <a:pt x="46" y="7"/>
                  </a:lnTo>
                  <a:lnTo>
                    <a:pt x="43" y="0"/>
                  </a:lnTo>
                  <a:lnTo>
                    <a:pt x="36" y="0"/>
                  </a:lnTo>
                  <a:lnTo>
                    <a:pt x="29" y="4"/>
                  </a:lnTo>
                  <a:lnTo>
                    <a:pt x="32" y="14"/>
                  </a:lnTo>
                  <a:lnTo>
                    <a:pt x="0" y="14"/>
                  </a:lnTo>
                  <a:lnTo>
                    <a:pt x="0" y="21"/>
                  </a:lnTo>
                  <a:lnTo>
                    <a:pt x="32" y="21"/>
                  </a:lnTo>
                  <a:lnTo>
                    <a:pt x="32" y="32"/>
                  </a:lnTo>
                  <a:lnTo>
                    <a:pt x="11" y="32"/>
                  </a:lnTo>
                  <a:lnTo>
                    <a:pt x="11" y="68"/>
                  </a:lnTo>
                  <a:lnTo>
                    <a:pt x="21" y="68"/>
                  </a:lnTo>
                  <a:lnTo>
                    <a:pt x="21" y="39"/>
                  </a:lnTo>
                  <a:lnTo>
                    <a:pt x="32" y="39"/>
                  </a:lnTo>
                  <a:lnTo>
                    <a:pt x="32" y="79"/>
                  </a:lnTo>
                  <a:lnTo>
                    <a:pt x="46" y="79"/>
                  </a:lnTo>
                  <a:lnTo>
                    <a:pt x="46" y="39"/>
                  </a:lnTo>
                  <a:lnTo>
                    <a:pt x="57" y="39"/>
                  </a:lnTo>
                  <a:lnTo>
                    <a:pt x="57" y="57"/>
                  </a:lnTo>
                  <a:lnTo>
                    <a:pt x="54" y="61"/>
                  </a:lnTo>
                  <a:lnTo>
                    <a:pt x="46" y="61"/>
                  </a:lnTo>
                  <a:lnTo>
                    <a:pt x="50" y="71"/>
                  </a:lnTo>
                  <a:lnTo>
                    <a:pt x="64" y="68"/>
                  </a:lnTo>
                  <a:lnTo>
                    <a:pt x="68" y="68"/>
                  </a:lnTo>
                  <a:lnTo>
                    <a:pt x="68" y="64"/>
                  </a:lnTo>
                  <a:lnTo>
                    <a:pt x="68" y="32"/>
                  </a:lnTo>
                  <a:lnTo>
                    <a:pt x="46" y="32"/>
                  </a:lnTo>
                  <a:lnTo>
                    <a:pt x="46" y="21"/>
                  </a:lnTo>
                  <a:lnTo>
                    <a:pt x="75" y="21"/>
                  </a:lnTo>
                  <a:lnTo>
                    <a:pt x="75" y="14"/>
                  </a:lnTo>
                  <a:lnTo>
                    <a:pt x="39" y="14"/>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1" name="Freeform 107"/>
            <p:cNvSpPr>
              <a:spLocks noEditPoints="1"/>
            </p:cNvSpPr>
            <p:nvPr/>
          </p:nvSpPr>
          <p:spPr bwMode="auto">
            <a:xfrm>
              <a:off x="2952" y="2406"/>
              <a:ext cx="53" cy="79"/>
            </a:xfrm>
            <a:custGeom>
              <a:avLst/>
              <a:gdLst>
                <a:gd name="T0" fmla="*/ 10 w 53"/>
                <a:gd name="T1" fmla="*/ 79 h 79"/>
                <a:gd name="T2" fmla="*/ 10 w 53"/>
                <a:gd name="T3" fmla="*/ 75 h 79"/>
                <a:gd name="T4" fmla="*/ 43 w 53"/>
                <a:gd name="T5" fmla="*/ 75 h 79"/>
                <a:gd name="T6" fmla="*/ 43 w 53"/>
                <a:gd name="T7" fmla="*/ 79 h 79"/>
                <a:gd name="T8" fmla="*/ 53 w 53"/>
                <a:gd name="T9" fmla="*/ 79 h 79"/>
                <a:gd name="T10" fmla="*/ 53 w 53"/>
                <a:gd name="T11" fmla="*/ 11 h 79"/>
                <a:gd name="T12" fmla="*/ 25 w 53"/>
                <a:gd name="T13" fmla="*/ 11 h 79"/>
                <a:gd name="T14" fmla="*/ 25 w 53"/>
                <a:gd name="T15" fmla="*/ 11 h 79"/>
                <a:gd name="T16" fmla="*/ 28 w 53"/>
                <a:gd name="T17" fmla="*/ 7 h 79"/>
                <a:gd name="T18" fmla="*/ 28 w 53"/>
                <a:gd name="T19" fmla="*/ 7 h 79"/>
                <a:gd name="T20" fmla="*/ 28 w 53"/>
                <a:gd name="T21" fmla="*/ 7 h 79"/>
                <a:gd name="T22" fmla="*/ 32 w 53"/>
                <a:gd name="T23" fmla="*/ 4 h 79"/>
                <a:gd name="T24" fmla="*/ 32 w 53"/>
                <a:gd name="T25" fmla="*/ 4 h 79"/>
                <a:gd name="T26" fmla="*/ 18 w 53"/>
                <a:gd name="T27" fmla="*/ 0 h 79"/>
                <a:gd name="T28" fmla="*/ 18 w 53"/>
                <a:gd name="T29" fmla="*/ 0 h 79"/>
                <a:gd name="T30" fmla="*/ 18 w 53"/>
                <a:gd name="T31" fmla="*/ 4 h 79"/>
                <a:gd name="T32" fmla="*/ 18 w 53"/>
                <a:gd name="T33" fmla="*/ 4 h 79"/>
                <a:gd name="T34" fmla="*/ 14 w 53"/>
                <a:gd name="T35" fmla="*/ 11 h 79"/>
                <a:gd name="T36" fmla="*/ 0 w 53"/>
                <a:gd name="T37" fmla="*/ 11 h 79"/>
                <a:gd name="T38" fmla="*/ 0 w 53"/>
                <a:gd name="T39" fmla="*/ 79 h 79"/>
                <a:gd name="T40" fmla="*/ 0 w 53"/>
                <a:gd name="T41" fmla="*/ 79 h 79"/>
                <a:gd name="T42" fmla="*/ 10 w 53"/>
                <a:gd name="T43" fmla="*/ 79 h 79"/>
                <a:gd name="T44" fmla="*/ 10 w 53"/>
                <a:gd name="T45" fmla="*/ 79 h 79"/>
                <a:gd name="T46" fmla="*/ 43 w 53"/>
                <a:gd name="T47" fmla="*/ 22 h 79"/>
                <a:gd name="T48" fmla="*/ 43 w 53"/>
                <a:gd name="T49" fmla="*/ 29 h 79"/>
                <a:gd name="T50" fmla="*/ 10 w 53"/>
                <a:gd name="T51" fmla="*/ 29 h 79"/>
                <a:gd name="T52" fmla="*/ 10 w 53"/>
                <a:gd name="T53" fmla="*/ 22 h 79"/>
                <a:gd name="T54" fmla="*/ 43 w 53"/>
                <a:gd name="T55" fmla="*/ 22 h 79"/>
                <a:gd name="T56" fmla="*/ 43 w 53"/>
                <a:gd name="T57" fmla="*/ 22 h 79"/>
                <a:gd name="T58" fmla="*/ 43 w 53"/>
                <a:gd name="T59" fmla="*/ 47 h 79"/>
                <a:gd name="T60" fmla="*/ 10 w 53"/>
                <a:gd name="T61" fmla="*/ 47 h 79"/>
                <a:gd name="T62" fmla="*/ 10 w 53"/>
                <a:gd name="T63" fmla="*/ 39 h 79"/>
                <a:gd name="T64" fmla="*/ 43 w 53"/>
                <a:gd name="T65" fmla="*/ 39 h 79"/>
                <a:gd name="T66" fmla="*/ 43 w 53"/>
                <a:gd name="T67" fmla="*/ 47 h 79"/>
                <a:gd name="T68" fmla="*/ 43 w 53"/>
                <a:gd name="T69" fmla="*/ 47 h 79"/>
                <a:gd name="T70" fmla="*/ 43 w 53"/>
                <a:gd name="T71" fmla="*/ 57 h 79"/>
                <a:gd name="T72" fmla="*/ 43 w 53"/>
                <a:gd name="T73" fmla="*/ 64 h 79"/>
                <a:gd name="T74" fmla="*/ 10 w 53"/>
                <a:gd name="T75" fmla="*/ 64 h 79"/>
                <a:gd name="T76" fmla="*/ 10 w 53"/>
                <a:gd name="T77" fmla="*/ 57 h 79"/>
                <a:gd name="T78" fmla="*/ 43 w 53"/>
                <a:gd name="T79" fmla="*/ 57 h 79"/>
                <a:gd name="T80" fmla="*/ 43 w 53"/>
                <a:gd name="T81" fmla="*/ 57 h 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3"/>
                <a:gd name="T124" fmla="*/ 0 h 79"/>
                <a:gd name="T125" fmla="*/ 53 w 53"/>
                <a:gd name="T126" fmla="*/ 79 h 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3" h="79">
                  <a:moveTo>
                    <a:pt x="10" y="79"/>
                  </a:moveTo>
                  <a:lnTo>
                    <a:pt x="10" y="75"/>
                  </a:lnTo>
                  <a:lnTo>
                    <a:pt x="43" y="75"/>
                  </a:lnTo>
                  <a:lnTo>
                    <a:pt x="43" y="79"/>
                  </a:lnTo>
                  <a:lnTo>
                    <a:pt x="53" y="79"/>
                  </a:lnTo>
                  <a:lnTo>
                    <a:pt x="53" y="11"/>
                  </a:lnTo>
                  <a:lnTo>
                    <a:pt x="25" y="11"/>
                  </a:lnTo>
                  <a:lnTo>
                    <a:pt x="28" y="7"/>
                  </a:lnTo>
                  <a:lnTo>
                    <a:pt x="32" y="4"/>
                  </a:lnTo>
                  <a:lnTo>
                    <a:pt x="18" y="0"/>
                  </a:lnTo>
                  <a:lnTo>
                    <a:pt x="18" y="4"/>
                  </a:lnTo>
                  <a:lnTo>
                    <a:pt x="14" y="11"/>
                  </a:lnTo>
                  <a:lnTo>
                    <a:pt x="0" y="11"/>
                  </a:lnTo>
                  <a:lnTo>
                    <a:pt x="0" y="79"/>
                  </a:lnTo>
                  <a:lnTo>
                    <a:pt x="10" y="79"/>
                  </a:lnTo>
                  <a:close/>
                  <a:moveTo>
                    <a:pt x="43" y="22"/>
                  </a:moveTo>
                  <a:lnTo>
                    <a:pt x="43" y="29"/>
                  </a:lnTo>
                  <a:lnTo>
                    <a:pt x="10" y="29"/>
                  </a:lnTo>
                  <a:lnTo>
                    <a:pt x="10" y="22"/>
                  </a:lnTo>
                  <a:lnTo>
                    <a:pt x="43" y="22"/>
                  </a:lnTo>
                  <a:close/>
                  <a:moveTo>
                    <a:pt x="43" y="47"/>
                  </a:moveTo>
                  <a:lnTo>
                    <a:pt x="10" y="47"/>
                  </a:lnTo>
                  <a:lnTo>
                    <a:pt x="10" y="39"/>
                  </a:lnTo>
                  <a:lnTo>
                    <a:pt x="43" y="39"/>
                  </a:lnTo>
                  <a:lnTo>
                    <a:pt x="43" y="47"/>
                  </a:lnTo>
                  <a:close/>
                  <a:moveTo>
                    <a:pt x="43" y="57"/>
                  </a:moveTo>
                  <a:lnTo>
                    <a:pt x="43" y="64"/>
                  </a:lnTo>
                  <a:lnTo>
                    <a:pt x="10" y="64"/>
                  </a:lnTo>
                  <a:lnTo>
                    <a:pt x="10" y="57"/>
                  </a:lnTo>
                  <a:lnTo>
                    <a:pt x="43"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2" name="Freeform 108"/>
            <p:cNvSpPr>
              <a:spLocks noEditPoints="1"/>
            </p:cNvSpPr>
            <p:nvPr/>
          </p:nvSpPr>
          <p:spPr bwMode="auto">
            <a:xfrm>
              <a:off x="3027" y="2410"/>
              <a:ext cx="74" cy="75"/>
            </a:xfrm>
            <a:custGeom>
              <a:avLst/>
              <a:gdLst>
                <a:gd name="T0" fmla="*/ 0 w 74"/>
                <a:gd name="T1" fmla="*/ 14 h 75"/>
                <a:gd name="T2" fmla="*/ 0 w 74"/>
                <a:gd name="T3" fmla="*/ 25 h 75"/>
                <a:gd name="T4" fmla="*/ 74 w 74"/>
                <a:gd name="T5" fmla="*/ 25 h 75"/>
                <a:gd name="T6" fmla="*/ 74 w 74"/>
                <a:gd name="T7" fmla="*/ 14 h 75"/>
                <a:gd name="T8" fmla="*/ 42 w 74"/>
                <a:gd name="T9" fmla="*/ 14 h 75"/>
                <a:gd name="T10" fmla="*/ 42 w 74"/>
                <a:gd name="T11" fmla="*/ 7 h 75"/>
                <a:gd name="T12" fmla="*/ 64 w 74"/>
                <a:gd name="T13" fmla="*/ 7 h 75"/>
                <a:gd name="T14" fmla="*/ 64 w 74"/>
                <a:gd name="T15" fmla="*/ 0 h 75"/>
                <a:gd name="T16" fmla="*/ 10 w 74"/>
                <a:gd name="T17" fmla="*/ 0 h 75"/>
                <a:gd name="T18" fmla="*/ 10 w 74"/>
                <a:gd name="T19" fmla="*/ 7 h 75"/>
                <a:gd name="T20" fmla="*/ 32 w 74"/>
                <a:gd name="T21" fmla="*/ 7 h 75"/>
                <a:gd name="T22" fmla="*/ 32 w 74"/>
                <a:gd name="T23" fmla="*/ 14 h 75"/>
                <a:gd name="T24" fmla="*/ 0 w 74"/>
                <a:gd name="T25" fmla="*/ 14 h 75"/>
                <a:gd name="T26" fmla="*/ 0 w 74"/>
                <a:gd name="T27" fmla="*/ 14 h 75"/>
                <a:gd name="T28" fmla="*/ 21 w 74"/>
                <a:gd name="T29" fmla="*/ 57 h 75"/>
                <a:gd name="T30" fmla="*/ 21 w 74"/>
                <a:gd name="T31" fmla="*/ 39 h 75"/>
                <a:gd name="T32" fmla="*/ 53 w 74"/>
                <a:gd name="T33" fmla="*/ 39 h 75"/>
                <a:gd name="T34" fmla="*/ 53 w 74"/>
                <a:gd name="T35" fmla="*/ 57 h 75"/>
                <a:gd name="T36" fmla="*/ 53 w 74"/>
                <a:gd name="T37" fmla="*/ 57 h 75"/>
                <a:gd name="T38" fmla="*/ 42 w 74"/>
                <a:gd name="T39" fmla="*/ 53 h 75"/>
                <a:gd name="T40" fmla="*/ 42 w 74"/>
                <a:gd name="T41" fmla="*/ 53 h 75"/>
                <a:gd name="T42" fmla="*/ 42 w 74"/>
                <a:gd name="T43" fmla="*/ 46 h 75"/>
                <a:gd name="T44" fmla="*/ 42 w 74"/>
                <a:gd name="T45" fmla="*/ 46 h 75"/>
                <a:gd name="T46" fmla="*/ 42 w 74"/>
                <a:gd name="T47" fmla="*/ 43 h 75"/>
                <a:gd name="T48" fmla="*/ 42 w 74"/>
                <a:gd name="T49" fmla="*/ 43 h 75"/>
                <a:gd name="T50" fmla="*/ 46 w 74"/>
                <a:gd name="T51" fmla="*/ 43 h 75"/>
                <a:gd name="T52" fmla="*/ 46 w 74"/>
                <a:gd name="T53" fmla="*/ 43 h 75"/>
                <a:gd name="T54" fmla="*/ 32 w 74"/>
                <a:gd name="T55" fmla="*/ 39 h 75"/>
                <a:gd name="T56" fmla="*/ 32 w 74"/>
                <a:gd name="T57" fmla="*/ 39 h 75"/>
                <a:gd name="T58" fmla="*/ 32 w 74"/>
                <a:gd name="T59" fmla="*/ 50 h 75"/>
                <a:gd name="T60" fmla="*/ 25 w 74"/>
                <a:gd name="T61" fmla="*/ 57 h 75"/>
                <a:gd name="T62" fmla="*/ 14 w 74"/>
                <a:gd name="T63" fmla="*/ 64 h 75"/>
                <a:gd name="T64" fmla="*/ 0 w 74"/>
                <a:gd name="T65" fmla="*/ 64 h 75"/>
                <a:gd name="T66" fmla="*/ 0 w 74"/>
                <a:gd name="T67" fmla="*/ 64 h 75"/>
                <a:gd name="T68" fmla="*/ 7 w 74"/>
                <a:gd name="T69" fmla="*/ 75 h 75"/>
                <a:gd name="T70" fmla="*/ 7 w 74"/>
                <a:gd name="T71" fmla="*/ 75 h 75"/>
                <a:gd name="T72" fmla="*/ 28 w 74"/>
                <a:gd name="T73" fmla="*/ 67 h 75"/>
                <a:gd name="T74" fmla="*/ 39 w 74"/>
                <a:gd name="T75" fmla="*/ 60 h 75"/>
                <a:gd name="T76" fmla="*/ 39 w 74"/>
                <a:gd name="T77" fmla="*/ 60 h 75"/>
                <a:gd name="T78" fmla="*/ 64 w 74"/>
                <a:gd name="T79" fmla="*/ 75 h 75"/>
                <a:gd name="T80" fmla="*/ 71 w 74"/>
                <a:gd name="T81" fmla="*/ 67 h 75"/>
                <a:gd name="T82" fmla="*/ 71 w 74"/>
                <a:gd name="T83" fmla="*/ 67 h 75"/>
                <a:gd name="T84" fmla="*/ 57 w 74"/>
                <a:gd name="T85" fmla="*/ 57 h 75"/>
                <a:gd name="T86" fmla="*/ 64 w 74"/>
                <a:gd name="T87" fmla="*/ 57 h 75"/>
                <a:gd name="T88" fmla="*/ 64 w 74"/>
                <a:gd name="T89" fmla="*/ 28 h 75"/>
                <a:gd name="T90" fmla="*/ 10 w 74"/>
                <a:gd name="T91" fmla="*/ 28 h 75"/>
                <a:gd name="T92" fmla="*/ 10 w 74"/>
                <a:gd name="T93" fmla="*/ 57 h 75"/>
                <a:gd name="T94" fmla="*/ 21 w 74"/>
                <a:gd name="T95" fmla="*/ 57 h 75"/>
                <a:gd name="T96" fmla="*/ 21 w 74"/>
                <a:gd name="T97" fmla="*/ 57 h 7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4"/>
                <a:gd name="T148" fmla="*/ 0 h 75"/>
                <a:gd name="T149" fmla="*/ 74 w 74"/>
                <a:gd name="T150" fmla="*/ 75 h 75"/>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4" h="75">
                  <a:moveTo>
                    <a:pt x="0" y="14"/>
                  </a:moveTo>
                  <a:lnTo>
                    <a:pt x="0" y="25"/>
                  </a:lnTo>
                  <a:lnTo>
                    <a:pt x="74" y="25"/>
                  </a:lnTo>
                  <a:lnTo>
                    <a:pt x="74" y="14"/>
                  </a:lnTo>
                  <a:lnTo>
                    <a:pt x="42" y="14"/>
                  </a:lnTo>
                  <a:lnTo>
                    <a:pt x="42" y="7"/>
                  </a:lnTo>
                  <a:lnTo>
                    <a:pt x="64" y="7"/>
                  </a:lnTo>
                  <a:lnTo>
                    <a:pt x="64" y="0"/>
                  </a:lnTo>
                  <a:lnTo>
                    <a:pt x="10" y="0"/>
                  </a:lnTo>
                  <a:lnTo>
                    <a:pt x="10" y="7"/>
                  </a:lnTo>
                  <a:lnTo>
                    <a:pt x="32" y="7"/>
                  </a:lnTo>
                  <a:lnTo>
                    <a:pt x="32" y="14"/>
                  </a:lnTo>
                  <a:lnTo>
                    <a:pt x="0" y="14"/>
                  </a:lnTo>
                  <a:close/>
                  <a:moveTo>
                    <a:pt x="21" y="57"/>
                  </a:moveTo>
                  <a:lnTo>
                    <a:pt x="21" y="39"/>
                  </a:lnTo>
                  <a:lnTo>
                    <a:pt x="53" y="39"/>
                  </a:lnTo>
                  <a:lnTo>
                    <a:pt x="53" y="57"/>
                  </a:lnTo>
                  <a:lnTo>
                    <a:pt x="42" y="53"/>
                  </a:lnTo>
                  <a:lnTo>
                    <a:pt x="42" y="46"/>
                  </a:lnTo>
                  <a:lnTo>
                    <a:pt x="42" y="43"/>
                  </a:lnTo>
                  <a:lnTo>
                    <a:pt x="46" y="43"/>
                  </a:lnTo>
                  <a:lnTo>
                    <a:pt x="32" y="39"/>
                  </a:lnTo>
                  <a:lnTo>
                    <a:pt x="32" y="50"/>
                  </a:lnTo>
                  <a:lnTo>
                    <a:pt x="25" y="57"/>
                  </a:lnTo>
                  <a:lnTo>
                    <a:pt x="14" y="64"/>
                  </a:lnTo>
                  <a:lnTo>
                    <a:pt x="0" y="64"/>
                  </a:lnTo>
                  <a:lnTo>
                    <a:pt x="7" y="75"/>
                  </a:lnTo>
                  <a:lnTo>
                    <a:pt x="28" y="67"/>
                  </a:lnTo>
                  <a:lnTo>
                    <a:pt x="39" y="60"/>
                  </a:lnTo>
                  <a:lnTo>
                    <a:pt x="64" y="75"/>
                  </a:lnTo>
                  <a:lnTo>
                    <a:pt x="71" y="67"/>
                  </a:lnTo>
                  <a:lnTo>
                    <a:pt x="57" y="57"/>
                  </a:lnTo>
                  <a:lnTo>
                    <a:pt x="64" y="57"/>
                  </a:lnTo>
                  <a:lnTo>
                    <a:pt x="64" y="28"/>
                  </a:lnTo>
                  <a:lnTo>
                    <a:pt x="10" y="28"/>
                  </a:lnTo>
                  <a:lnTo>
                    <a:pt x="10" y="57"/>
                  </a:lnTo>
                  <a:lnTo>
                    <a:pt x="21"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3" name="Freeform 109"/>
            <p:cNvSpPr>
              <a:spLocks/>
            </p:cNvSpPr>
            <p:nvPr/>
          </p:nvSpPr>
          <p:spPr bwMode="auto">
            <a:xfrm>
              <a:off x="3112" y="2406"/>
              <a:ext cx="75" cy="79"/>
            </a:xfrm>
            <a:custGeom>
              <a:avLst/>
              <a:gdLst>
                <a:gd name="T0" fmla="*/ 46 w 75"/>
                <a:gd name="T1" fmla="*/ 11 h 79"/>
                <a:gd name="T2" fmla="*/ 46 w 75"/>
                <a:gd name="T3" fmla="*/ 11 h 79"/>
                <a:gd name="T4" fmla="*/ 43 w 75"/>
                <a:gd name="T5" fmla="*/ 7 h 79"/>
                <a:gd name="T6" fmla="*/ 43 w 75"/>
                <a:gd name="T7" fmla="*/ 7 h 79"/>
                <a:gd name="T8" fmla="*/ 43 w 75"/>
                <a:gd name="T9" fmla="*/ 0 h 79"/>
                <a:gd name="T10" fmla="*/ 43 w 75"/>
                <a:gd name="T11" fmla="*/ 0 h 79"/>
                <a:gd name="T12" fmla="*/ 36 w 75"/>
                <a:gd name="T13" fmla="*/ 0 h 79"/>
                <a:gd name="T14" fmla="*/ 36 w 75"/>
                <a:gd name="T15" fmla="*/ 0 h 79"/>
                <a:gd name="T16" fmla="*/ 29 w 75"/>
                <a:gd name="T17" fmla="*/ 4 h 79"/>
                <a:gd name="T18" fmla="*/ 29 w 75"/>
                <a:gd name="T19" fmla="*/ 4 h 79"/>
                <a:gd name="T20" fmla="*/ 32 w 75"/>
                <a:gd name="T21" fmla="*/ 14 h 79"/>
                <a:gd name="T22" fmla="*/ 0 w 75"/>
                <a:gd name="T23" fmla="*/ 14 h 79"/>
                <a:gd name="T24" fmla="*/ 0 w 75"/>
                <a:gd name="T25" fmla="*/ 22 h 79"/>
                <a:gd name="T26" fmla="*/ 32 w 75"/>
                <a:gd name="T27" fmla="*/ 22 h 79"/>
                <a:gd name="T28" fmla="*/ 32 w 75"/>
                <a:gd name="T29" fmla="*/ 32 h 79"/>
                <a:gd name="T30" fmla="*/ 11 w 75"/>
                <a:gd name="T31" fmla="*/ 32 h 79"/>
                <a:gd name="T32" fmla="*/ 11 w 75"/>
                <a:gd name="T33" fmla="*/ 71 h 79"/>
                <a:gd name="T34" fmla="*/ 22 w 75"/>
                <a:gd name="T35" fmla="*/ 71 h 79"/>
                <a:gd name="T36" fmla="*/ 22 w 75"/>
                <a:gd name="T37" fmla="*/ 39 h 79"/>
                <a:gd name="T38" fmla="*/ 32 w 75"/>
                <a:gd name="T39" fmla="*/ 39 h 79"/>
                <a:gd name="T40" fmla="*/ 32 w 75"/>
                <a:gd name="T41" fmla="*/ 79 h 79"/>
                <a:gd name="T42" fmla="*/ 43 w 75"/>
                <a:gd name="T43" fmla="*/ 79 h 79"/>
                <a:gd name="T44" fmla="*/ 43 w 75"/>
                <a:gd name="T45" fmla="*/ 39 h 79"/>
                <a:gd name="T46" fmla="*/ 54 w 75"/>
                <a:gd name="T47" fmla="*/ 39 h 79"/>
                <a:gd name="T48" fmla="*/ 54 w 75"/>
                <a:gd name="T49" fmla="*/ 57 h 79"/>
                <a:gd name="T50" fmla="*/ 54 w 75"/>
                <a:gd name="T51" fmla="*/ 57 h 79"/>
                <a:gd name="T52" fmla="*/ 54 w 75"/>
                <a:gd name="T53" fmla="*/ 61 h 79"/>
                <a:gd name="T54" fmla="*/ 46 w 75"/>
                <a:gd name="T55" fmla="*/ 61 h 79"/>
                <a:gd name="T56" fmla="*/ 46 w 75"/>
                <a:gd name="T57" fmla="*/ 61 h 79"/>
                <a:gd name="T58" fmla="*/ 50 w 75"/>
                <a:gd name="T59" fmla="*/ 71 h 79"/>
                <a:gd name="T60" fmla="*/ 50 w 75"/>
                <a:gd name="T61" fmla="*/ 71 h 79"/>
                <a:gd name="T62" fmla="*/ 61 w 75"/>
                <a:gd name="T63" fmla="*/ 68 h 79"/>
                <a:gd name="T64" fmla="*/ 64 w 75"/>
                <a:gd name="T65" fmla="*/ 68 h 79"/>
                <a:gd name="T66" fmla="*/ 68 w 75"/>
                <a:gd name="T67" fmla="*/ 64 h 79"/>
                <a:gd name="T68" fmla="*/ 68 w 75"/>
                <a:gd name="T69" fmla="*/ 32 h 79"/>
                <a:gd name="T70" fmla="*/ 43 w 75"/>
                <a:gd name="T71" fmla="*/ 32 h 79"/>
                <a:gd name="T72" fmla="*/ 43 w 75"/>
                <a:gd name="T73" fmla="*/ 22 h 79"/>
                <a:gd name="T74" fmla="*/ 75 w 75"/>
                <a:gd name="T75" fmla="*/ 22 h 79"/>
                <a:gd name="T76" fmla="*/ 75 w 75"/>
                <a:gd name="T77" fmla="*/ 14 h 79"/>
                <a:gd name="T78" fmla="*/ 36 w 75"/>
                <a:gd name="T79" fmla="*/ 14 h 79"/>
                <a:gd name="T80" fmla="*/ 36 w 75"/>
                <a:gd name="T81" fmla="*/ 14 h 79"/>
                <a:gd name="T82" fmla="*/ 46 w 75"/>
                <a:gd name="T83" fmla="*/ 11 h 79"/>
                <a:gd name="T84" fmla="*/ 46 w 75"/>
                <a:gd name="T85" fmla="*/ 11 h 79"/>
                <a:gd name="T86" fmla="*/ 46 w 75"/>
                <a:gd name="T87" fmla="*/ 11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9"/>
                <a:gd name="T134" fmla="*/ 75 w 75"/>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9">
                  <a:moveTo>
                    <a:pt x="46" y="11"/>
                  </a:moveTo>
                  <a:lnTo>
                    <a:pt x="46" y="11"/>
                  </a:lnTo>
                  <a:lnTo>
                    <a:pt x="43" y="7"/>
                  </a:lnTo>
                  <a:lnTo>
                    <a:pt x="43" y="0"/>
                  </a:lnTo>
                  <a:lnTo>
                    <a:pt x="36" y="0"/>
                  </a:lnTo>
                  <a:lnTo>
                    <a:pt x="29" y="4"/>
                  </a:lnTo>
                  <a:lnTo>
                    <a:pt x="32" y="14"/>
                  </a:lnTo>
                  <a:lnTo>
                    <a:pt x="0" y="14"/>
                  </a:lnTo>
                  <a:lnTo>
                    <a:pt x="0" y="22"/>
                  </a:lnTo>
                  <a:lnTo>
                    <a:pt x="32" y="22"/>
                  </a:lnTo>
                  <a:lnTo>
                    <a:pt x="32" y="32"/>
                  </a:lnTo>
                  <a:lnTo>
                    <a:pt x="11" y="32"/>
                  </a:lnTo>
                  <a:lnTo>
                    <a:pt x="11" y="71"/>
                  </a:lnTo>
                  <a:lnTo>
                    <a:pt x="22" y="71"/>
                  </a:lnTo>
                  <a:lnTo>
                    <a:pt x="22" y="39"/>
                  </a:lnTo>
                  <a:lnTo>
                    <a:pt x="32" y="39"/>
                  </a:lnTo>
                  <a:lnTo>
                    <a:pt x="32" y="79"/>
                  </a:lnTo>
                  <a:lnTo>
                    <a:pt x="43" y="79"/>
                  </a:lnTo>
                  <a:lnTo>
                    <a:pt x="43" y="39"/>
                  </a:lnTo>
                  <a:lnTo>
                    <a:pt x="54" y="39"/>
                  </a:lnTo>
                  <a:lnTo>
                    <a:pt x="54" y="57"/>
                  </a:lnTo>
                  <a:lnTo>
                    <a:pt x="54" y="61"/>
                  </a:lnTo>
                  <a:lnTo>
                    <a:pt x="46" y="61"/>
                  </a:lnTo>
                  <a:lnTo>
                    <a:pt x="50" y="71"/>
                  </a:lnTo>
                  <a:lnTo>
                    <a:pt x="61" y="68"/>
                  </a:lnTo>
                  <a:lnTo>
                    <a:pt x="64" y="68"/>
                  </a:lnTo>
                  <a:lnTo>
                    <a:pt x="68" y="64"/>
                  </a:lnTo>
                  <a:lnTo>
                    <a:pt x="68" y="32"/>
                  </a:lnTo>
                  <a:lnTo>
                    <a:pt x="43" y="32"/>
                  </a:lnTo>
                  <a:lnTo>
                    <a:pt x="43" y="22"/>
                  </a:lnTo>
                  <a:lnTo>
                    <a:pt x="75" y="22"/>
                  </a:lnTo>
                  <a:lnTo>
                    <a:pt x="75" y="14"/>
                  </a:lnTo>
                  <a:lnTo>
                    <a:pt x="36" y="14"/>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4" name="Freeform 110"/>
            <p:cNvSpPr>
              <a:spLocks noEditPoints="1"/>
            </p:cNvSpPr>
            <p:nvPr/>
          </p:nvSpPr>
          <p:spPr bwMode="auto">
            <a:xfrm>
              <a:off x="2627" y="2413"/>
              <a:ext cx="75" cy="79"/>
            </a:xfrm>
            <a:custGeom>
              <a:avLst/>
              <a:gdLst>
                <a:gd name="T0" fmla="*/ 22 w 75"/>
                <a:gd name="T1" fmla="*/ 15 h 79"/>
                <a:gd name="T2" fmla="*/ 47 w 75"/>
                <a:gd name="T3" fmla="*/ 15 h 79"/>
                <a:gd name="T4" fmla="*/ 72 w 75"/>
                <a:gd name="T5" fmla="*/ 11 h 79"/>
                <a:gd name="T6" fmla="*/ 61 w 75"/>
                <a:gd name="T7" fmla="*/ 0 h 79"/>
                <a:gd name="T8" fmla="*/ 11 w 75"/>
                <a:gd name="T9" fmla="*/ 4 h 79"/>
                <a:gd name="T10" fmla="*/ 11 w 75"/>
                <a:gd name="T11" fmla="*/ 7 h 79"/>
                <a:gd name="T12" fmla="*/ 7 w 75"/>
                <a:gd name="T13" fmla="*/ 29 h 79"/>
                <a:gd name="T14" fmla="*/ 4 w 75"/>
                <a:gd name="T15" fmla="*/ 32 h 79"/>
                <a:gd name="T16" fmla="*/ 11 w 75"/>
                <a:gd name="T17" fmla="*/ 43 h 79"/>
                <a:gd name="T18" fmla="*/ 11 w 75"/>
                <a:gd name="T19" fmla="*/ 43 h 79"/>
                <a:gd name="T20" fmla="*/ 18 w 75"/>
                <a:gd name="T21" fmla="*/ 40 h 79"/>
                <a:gd name="T22" fmla="*/ 36 w 75"/>
                <a:gd name="T23" fmla="*/ 64 h 79"/>
                <a:gd name="T24" fmla="*/ 32 w 75"/>
                <a:gd name="T25" fmla="*/ 64 h 79"/>
                <a:gd name="T26" fmla="*/ 25 w 75"/>
                <a:gd name="T27" fmla="*/ 68 h 79"/>
                <a:gd name="T28" fmla="*/ 29 w 75"/>
                <a:gd name="T29" fmla="*/ 79 h 79"/>
                <a:gd name="T30" fmla="*/ 47 w 75"/>
                <a:gd name="T31" fmla="*/ 72 h 79"/>
                <a:gd name="T32" fmla="*/ 47 w 75"/>
                <a:gd name="T33" fmla="*/ 43 h 79"/>
                <a:gd name="T34" fmla="*/ 72 w 75"/>
                <a:gd name="T35" fmla="*/ 32 h 79"/>
                <a:gd name="T36" fmla="*/ 47 w 75"/>
                <a:gd name="T37" fmla="*/ 22 h 79"/>
                <a:gd name="T38" fmla="*/ 47 w 75"/>
                <a:gd name="T39" fmla="*/ 18 h 79"/>
                <a:gd name="T40" fmla="*/ 47 w 75"/>
                <a:gd name="T41" fmla="*/ 18 h 79"/>
                <a:gd name="T42" fmla="*/ 47 w 75"/>
                <a:gd name="T43" fmla="*/ 18 h 79"/>
                <a:gd name="T44" fmla="*/ 36 w 75"/>
                <a:gd name="T45" fmla="*/ 18 h 79"/>
                <a:gd name="T46" fmla="*/ 18 w 75"/>
                <a:gd name="T47" fmla="*/ 32 h 79"/>
                <a:gd name="T48" fmla="*/ 22 w 75"/>
                <a:gd name="T49" fmla="*/ 15 h 79"/>
                <a:gd name="T50" fmla="*/ 22 w 75"/>
                <a:gd name="T51" fmla="*/ 15 h 79"/>
                <a:gd name="T52" fmla="*/ 7 w 75"/>
                <a:gd name="T53" fmla="*/ 68 h 79"/>
                <a:gd name="T54" fmla="*/ 11 w 75"/>
                <a:gd name="T55" fmla="*/ 72 h 79"/>
                <a:gd name="T56" fmla="*/ 22 w 75"/>
                <a:gd name="T57" fmla="*/ 61 h 79"/>
                <a:gd name="T58" fmla="*/ 29 w 75"/>
                <a:gd name="T59" fmla="*/ 50 h 79"/>
                <a:gd name="T60" fmla="*/ 18 w 75"/>
                <a:gd name="T61" fmla="*/ 43 h 79"/>
                <a:gd name="T62" fmla="*/ 18 w 75"/>
                <a:gd name="T63" fmla="*/ 47 h 79"/>
                <a:gd name="T64" fmla="*/ 0 w 75"/>
                <a:gd name="T65" fmla="*/ 64 h 79"/>
                <a:gd name="T66" fmla="*/ 7 w 75"/>
                <a:gd name="T67" fmla="*/ 68 h 79"/>
                <a:gd name="T68" fmla="*/ 7 w 75"/>
                <a:gd name="T69" fmla="*/ 68 h 79"/>
                <a:gd name="T70" fmla="*/ 75 w 75"/>
                <a:gd name="T71" fmla="*/ 64 h 79"/>
                <a:gd name="T72" fmla="*/ 68 w 75"/>
                <a:gd name="T73" fmla="*/ 54 h 79"/>
                <a:gd name="T74" fmla="*/ 61 w 75"/>
                <a:gd name="T75" fmla="*/ 43 h 79"/>
                <a:gd name="T76" fmla="*/ 50 w 75"/>
                <a:gd name="T77" fmla="*/ 50 h 79"/>
                <a:gd name="T78" fmla="*/ 68 w 75"/>
                <a:gd name="T79" fmla="*/ 72 h 79"/>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79"/>
                <a:gd name="T122" fmla="*/ 75 w 75"/>
                <a:gd name="T123" fmla="*/ 79 h 79"/>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79">
                  <a:moveTo>
                    <a:pt x="22" y="15"/>
                  </a:moveTo>
                  <a:lnTo>
                    <a:pt x="22" y="15"/>
                  </a:lnTo>
                  <a:lnTo>
                    <a:pt x="47" y="15"/>
                  </a:lnTo>
                  <a:lnTo>
                    <a:pt x="72" y="11"/>
                  </a:lnTo>
                  <a:lnTo>
                    <a:pt x="61" y="0"/>
                  </a:lnTo>
                  <a:lnTo>
                    <a:pt x="40" y="4"/>
                  </a:lnTo>
                  <a:lnTo>
                    <a:pt x="11" y="4"/>
                  </a:lnTo>
                  <a:lnTo>
                    <a:pt x="11" y="7"/>
                  </a:lnTo>
                  <a:lnTo>
                    <a:pt x="7" y="29"/>
                  </a:lnTo>
                  <a:lnTo>
                    <a:pt x="4" y="32"/>
                  </a:lnTo>
                  <a:lnTo>
                    <a:pt x="11" y="43"/>
                  </a:lnTo>
                  <a:lnTo>
                    <a:pt x="18" y="40"/>
                  </a:lnTo>
                  <a:lnTo>
                    <a:pt x="36" y="43"/>
                  </a:lnTo>
                  <a:lnTo>
                    <a:pt x="36" y="64"/>
                  </a:lnTo>
                  <a:lnTo>
                    <a:pt x="32" y="64"/>
                  </a:lnTo>
                  <a:lnTo>
                    <a:pt x="25" y="68"/>
                  </a:lnTo>
                  <a:lnTo>
                    <a:pt x="29" y="79"/>
                  </a:lnTo>
                  <a:lnTo>
                    <a:pt x="43" y="75"/>
                  </a:lnTo>
                  <a:lnTo>
                    <a:pt x="47" y="72"/>
                  </a:lnTo>
                  <a:lnTo>
                    <a:pt x="47" y="68"/>
                  </a:lnTo>
                  <a:lnTo>
                    <a:pt x="47" y="43"/>
                  </a:lnTo>
                  <a:lnTo>
                    <a:pt x="72" y="43"/>
                  </a:lnTo>
                  <a:lnTo>
                    <a:pt x="72" y="32"/>
                  </a:lnTo>
                  <a:lnTo>
                    <a:pt x="47" y="32"/>
                  </a:lnTo>
                  <a:lnTo>
                    <a:pt x="47" y="22"/>
                  </a:lnTo>
                  <a:lnTo>
                    <a:pt x="47" y="18"/>
                  </a:lnTo>
                  <a:lnTo>
                    <a:pt x="36" y="18"/>
                  </a:lnTo>
                  <a:lnTo>
                    <a:pt x="36" y="32"/>
                  </a:lnTo>
                  <a:lnTo>
                    <a:pt x="18" y="32"/>
                  </a:lnTo>
                  <a:lnTo>
                    <a:pt x="22" y="15"/>
                  </a:lnTo>
                  <a:close/>
                  <a:moveTo>
                    <a:pt x="7" y="68"/>
                  </a:moveTo>
                  <a:lnTo>
                    <a:pt x="7" y="68"/>
                  </a:lnTo>
                  <a:lnTo>
                    <a:pt x="11" y="72"/>
                  </a:lnTo>
                  <a:lnTo>
                    <a:pt x="22" y="61"/>
                  </a:lnTo>
                  <a:lnTo>
                    <a:pt x="29" y="50"/>
                  </a:lnTo>
                  <a:lnTo>
                    <a:pt x="18" y="43"/>
                  </a:lnTo>
                  <a:lnTo>
                    <a:pt x="18" y="47"/>
                  </a:lnTo>
                  <a:lnTo>
                    <a:pt x="11" y="57"/>
                  </a:lnTo>
                  <a:lnTo>
                    <a:pt x="0" y="64"/>
                  </a:lnTo>
                  <a:lnTo>
                    <a:pt x="7" y="68"/>
                  </a:lnTo>
                  <a:close/>
                  <a:moveTo>
                    <a:pt x="68" y="72"/>
                  </a:moveTo>
                  <a:lnTo>
                    <a:pt x="75" y="64"/>
                  </a:lnTo>
                  <a:lnTo>
                    <a:pt x="68" y="54"/>
                  </a:lnTo>
                  <a:lnTo>
                    <a:pt x="61" y="43"/>
                  </a:lnTo>
                  <a:lnTo>
                    <a:pt x="50" y="50"/>
                  </a:lnTo>
                  <a:lnTo>
                    <a:pt x="68"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5" name="Freeform 111"/>
            <p:cNvSpPr>
              <a:spLocks/>
            </p:cNvSpPr>
            <p:nvPr/>
          </p:nvSpPr>
          <p:spPr bwMode="auto">
            <a:xfrm>
              <a:off x="2720" y="2413"/>
              <a:ext cx="64" cy="75"/>
            </a:xfrm>
            <a:custGeom>
              <a:avLst/>
              <a:gdLst>
                <a:gd name="T0" fmla="*/ 11 w 64"/>
                <a:gd name="T1" fmla="*/ 25 h 75"/>
                <a:gd name="T2" fmla="*/ 11 w 64"/>
                <a:gd name="T3" fmla="*/ 25 h 75"/>
                <a:gd name="T4" fmla="*/ 11 w 64"/>
                <a:gd name="T5" fmla="*/ 22 h 75"/>
                <a:gd name="T6" fmla="*/ 11 w 64"/>
                <a:gd name="T7" fmla="*/ 22 h 75"/>
                <a:gd name="T8" fmla="*/ 11 w 64"/>
                <a:gd name="T9" fmla="*/ 18 h 75"/>
                <a:gd name="T10" fmla="*/ 11 w 64"/>
                <a:gd name="T11" fmla="*/ 18 h 75"/>
                <a:gd name="T12" fmla="*/ 7 w 64"/>
                <a:gd name="T13" fmla="*/ 18 h 75"/>
                <a:gd name="T14" fmla="*/ 7 w 64"/>
                <a:gd name="T15" fmla="*/ 18 h 75"/>
                <a:gd name="T16" fmla="*/ 7 w 64"/>
                <a:gd name="T17" fmla="*/ 18 h 75"/>
                <a:gd name="T18" fmla="*/ 0 w 64"/>
                <a:gd name="T19" fmla="*/ 18 h 75"/>
                <a:gd name="T20" fmla="*/ 0 w 64"/>
                <a:gd name="T21" fmla="*/ 72 h 75"/>
                <a:gd name="T22" fmla="*/ 53 w 64"/>
                <a:gd name="T23" fmla="*/ 72 h 75"/>
                <a:gd name="T24" fmla="*/ 53 w 64"/>
                <a:gd name="T25" fmla="*/ 75 h 75"/>
                <a:gd name="T26" fmla="*/ 64 w 64"/>
                <a:gd name="T27" fmla="*/ 75 h 75"/>
                <a:gd name="T28" fmla="*/ 64 w 64"/>
                <a:gd name="T29" fmla="*/ 25 h 75"/>
                <a:gd name="T30" fmla="*/ 64 w 64"/>
                <a:gd name="T31" fmla="*/ 25 h 75"/>
                <a:gd name="T32" fmla="*/ 64 w 64"/>
                <a:gd name="T33" fmla="*/ 22 h 75"/>
                <a:gd name="T34" fmla="*/ 64 w 64"/>
                <a:gd name="T35" fmla="*/ 22 h 75"/>
                <a:gd name="T36" fmla="*/ 64 w 64"/>
                <a:gd name="T37" fmla="*/ 18 h 75"/>
                <a:gd name="T38" fmla="*/ 64 w 64"/>
                <a:gd name="T39" fmla="*/ 18 h 75"/>
                <a:gd name="T40" fmla="*/ 61 w 64"/>
                <a:gd name="T41" fmla="*/ 18 h 75"/>
                <a:gd name="T42" fmla="*/ 53 w 64"/>
                <a:gd name="T43" fmla="*/ 18 h 75"/>
                <a:gd name="T44" fmla="*/ 53 w 64"/>
                <a:gd name="T45" fmla="*/ 61 h 75"/>
                <a:gd name="T46" fmla="*/ 36 w 64"/>
                <a:gd name="T47" fmla="*/ 61 h 75"/>
                <a:gd name="T48" fmla="*/ 36 w 64"/>
                <a:gd name="T49" fmla="*/ 11 h 75"/>
                <a:gd name="T50" fmla="*/ 36 w 64"/>
                <a:gd name="T51" fmla="*/ 11 h 75"/>
                <a:gd name="T52" fmla="*/ 36 w 64"/>
                <a:gd name="T53" fmla="*/ 4 h 75"/>
                <a:gd name="T54" fmla="*/ 36 w 64"/>
                <a:gd name="T55" fmla="*/ 4 h 75"/>
                <a:gd name="T56" fmla="*/ 39 w 64"/>
                <a:gd name="T57" fmla="*/ 4 h 75"/>
                <a:gd name="T58" fmla="*/ 39 w 64"/>
                <a:gd name="T59" fmla="*/ 4 h 75"/>
                <a:gd name="T60" fmla="*/ 32 w 64"/>
                <a:gd name="T61" fmla="*/ 0 h 75"/>
                <a:gd name="T62" fmla="*/ 25 w 64"/>
                <a:gd name="T63" fmla="*/ 0 h 75"/>
                <a:gd name="T64" fmla="*/ 25 w 64"/>
                <a:gd name="T65" fmla="*/ 61 h 75"/>
                <a:gd name="T66" fmla="*/ 11 w 64"/>
                <a:gd name="T67" fmla="*/ 61 h 75"/>
                <a:gd name="T68" fmla="*/ 11 w 64"/>
                <a:gd name="T69" fmla="*/ 25 h 75"/>
                <a:gd name="T70" fmla="*/ 11 w 64"/>
                <a:gd name="T71" fmla="*/ 25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75"/>
                <a:gd name="T110" fmla="*/ 64 w 6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75">
                  <a:moveTo>
                    <a:pt x="11" y="25"/>
                  </a:moveTo>
                  <a:lnTo>
                    <a:pt x="11" y="25"/>
                  </a:lnTo>
                  <a:lnTo>
                    <a:pt x="11" y="22"/>
                  </a:lnTo>
                  <a:lnTo>
                    <a:pt x="11" y="18"/>
                  </a:lnTo>
                  <a:lnTo>
                    <a:pt x="7" y="18"/>
                  </a:lnTo>
                  <a:lnTo>
                    <a:pt x="0" y="18"/>
                  </a:lnTo>
                  <a:lnTo>
                    <a:pt x="0" y="72"/>
                  </a:lnTo>
                  <a:lnTo>
                    <a:pt x="53" y="72"/>
                  </a:lnTo>
                  <a:lnTo>
                    <a:pt x="53" y="75"/>
                  </a:lnTo>
                  <a:lnTo>
                    <a:pt x="64" y="75"/>
                  </a:lnTo>
                  <a:lnTo>
                    <a:pt x="64" y="25"/>
                  </a:lnTo>
                  <a:lnTo>
                    <a:pt x="64" y="22"/>
                  </a:lnTo>
                  <a:lnTo>
                    <a:pt x="64" y="18"/>
                  </a:lnTo>
                  <a:lnTo>
                    <a:pt x="61" y="18"/>
                  </a:lnTo>
                  <a:lnTo>
                    <a:pt x="53" y="18"/>
                  </a:lnTo>
                  <a:lnTo>
                    <a:pt x="53" y="61"/>
                  </a:lnTo>
                  <a:lnTo>
                    <a:pt x="36" y="61"/>
                  </a:lnTo>
                  <a:lnTo>
                    <a:pt x="36" y="11"/>
                  </a:lnTo>
                  <a:lnTo>
                    <a:pt x="36" y="4"/>
                  </a:lnTo>
                  <a:lnTo>
                    <a:pt x="39" y="4"/>
                  </a:lnTo>
                  <a:lnTo>
                    <a:pt x="32" y="0"/>
                  </a:lnTo>
                  <a:lnTo>
                    <a:pt x="25" y="0"/>
                  </a:lnTo>
                  <a:lnTo>
                    <a:pt x="25" y="61"/>
                  </a:lnTo>
                  <a:lnTo>
                    <a:pt x="11" y="61"/>
                  </a:lnTo>
                  <a:lnTo>
                    <a:pt x="1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6" name="Freeform 112"/>
            <p:cNvSpPr>
              <a:spLocks/>
            </p:cNvSpPr>
            <p:nvPr/>
          </p:nvSpPr>
          <p:spPr bwMode="auto">
            <a:xfrm>
              <a:off x="2798" y="2413"/>
              <a:ext cx="75" cy="75"/>
            </a:xfrm>
            <a:custGeom>
              <a:avLst/>
              <a:gdLst>
                <a:gd name="T0" fmla="*/ 47 w 75"/>
                <a:gd name="T1" fmla="*/ 11 h 75"/>
                <a:gd name="T2" fmla="*/ 47 w 75"/>
                <a:gd name="T3" fmla="*/ 11 h 75"/>
                <a:gd name="T4" fmla="*/ 47 w 75"/>
                <a:gd name="T5" fmla="*/ 7 h 75"/>
                <a:gd name="T6" fmla="*/ 47 w 75"/>
                <a:gd name="T7" fmla="*/ 7 h 75"/>
                <a:gd name="T8" fmla="*/ 43 w 75"/>
                <a:gd name="T9" fmla="*/ 0 h 75"/>
                <a:gd name="T10" fmla="*/ 43 w 75"/>
                <a:gd name="T11" fmla="*/ 0 h 75"/>
                <a:gd name="T12" fmla="*/ 36 w 75"/>
                <a:gd name="T13" fmla="*/ 0 h 75"/>
                <a:gd name="T14" fmla="*/ 36 w 75"/>
                <a:gd name="T15" fmla="*/ 0 h 75"/>
                <a:gd name="T16" fmla="*/ 29 w 75"/>
                <a:gd name="T17" fmla="*/ 0 h 75"/>
                <a:gd name="T18" fmla="*/ 29 w 75"/>
                <a:gd name="T19" fmla="*/ 0 h 75"/>
                <a:gd name="T20" fmla="*/ 33 w 75"/>
                <a:gd name="T21" fmla="*/ 11 h 75"/>
                <a:gd name="T22" fmla="*/ 0 w 75"/>
                <a:gd name="T23" fmla="*/ 11 h 75"/>
                <a:gd name="T24" fmla="*/ 0 w 75"/>
                <a:gd name="T25" fmla="*/ 22 h 75"/>
                <a:gd name="T26" fmla="*/ 33 w 75"/>
                <a:gd name="T27" fmla="*/ 22 h 75"/>
                <a:gd name="T28" fmla="*/ 33 w 75"/>
                <a:gd name="T29" fmla="*/ 32 h 75"/>
                <a:gd name="T30" fmla="*/ 11 w 75"/>
                <a:gd name="T31" fmla="*/ 32 h 75"/>
                <a:gd name="T32" fmla="*/ 11 w 75"/>
                <a:gd name="T33" fmla="*/ 68 h 75"/>
                <a:gd name="T34" fmla="*/ 22 w 75"/>
                <a:gd name="T35" fmla="*/ 68 h 75"/>
                <a:gd name="T36" fmla="*/ 22 w 75"/>
                <a:gd name="T37" fmla="*/ 40 h 75"/>
                <a:gd name="T38" fmla="*/ 33 w 75"/>
                <a:gd name="T39" fmla="*/ 40 h 75"/>
                <a:gd name="T40" fmla="*/ 33 w 75"/>
                <a:gd name="T41" fmla="*/ 75 h 75"/>
                <a:gd name="T42" fmla="*/ 43 w 75"/>
                <a:gd name="T43" fmla="*/ 75 h 75"/>
                <a:gd name="T44" fmla="*/ 43 w 75"/>
                <a:gd name="T45" fmla="*/ 40 h 75"/>
                <a:gd name="T46" fmla="*/ 57 w 75"/>
                <a:gd name="T47" fmla="*/ 40 h 75"/>
                <a:gd name="T48" fmla="*/ 57 w 75"/>
                <a:gd name="T49" fmla="*/ 57 h 75"/>
                <a:gd name="T50" fmla="*/ 57 w 75"/>
                <a:gd name="T51" fmla="*/ 57 h 75"/>
                <a:gd name="T52" fmla="*/ 54 w 75"/>
                <a:gd name="T53" fmla="*/ 61 h 75"/>
                <a:gd name="T54" fmla="*/ 47 w 75"/>
                <a:gd name="T55" fmla="*/ 61 h 75"/>
                <a:gd name="T56" fmla="*/ 47 w 75"/>
                <a:gd name="T57" fmla="*/ 61 h 75"/>
                <a:gd name="T58" fmla="*/ 50 w 75"/>
                <a:gd name="T59" fmla="*/ 72 h 75"/>
                <a:gd name="T60" fmla="*/ 50 w 75"/>
                <a:gd name="T61" fmla="*/ 72 h 75"/>
                <a:gd name="T62" fmla="*/ 65 w 75"/>
                <a:gd name="T63" fmla="*/ 68 h 75"/>
                <a:gd name="T64" fmla="*/ 68 w 75"/>
                <a:gd name="T65" fmla="*/ 64 h 75"/>
                <a:gd name="T66" fmla="*/ 68 w 75"/>
                <a:gd name="T67" fmla="*/ 61 h 75"/>
                <a:gd name="T68" fmla="*/ 68 w 75"/>
                <a:gd name="T69" fmla="*/ 32 h 75"/>
                <a:gd name="T70" fmla="*/ 43 w 75"/>
                <a:gd name="T71" fmla="*/ 32 h 75"/>
                <a:gd name="T72" fmla="*/ 43 w 75"/>
                <a:gd name="T73" fmla="*/ 22 h 75"/>
                <a:gd name="T74" fmla="*/ 75 w 75"/>
                <a:gd name="T75" fmla="*/ 22 h 75"/>
                <a:gd name="T76" fmla="*/ 75 w 75"/>
                <a:gd name="T77" fmla="*/ 11 h 75"/>
                <a:gd name="T78" fmla="*/ 40 w 75"/>
                <a:gd name="T79" fmla="*/ 11 h 75"/>
                <a:gd name="T80" fmla="*/ 40 w 75"/>
                <a:gd name="T81" fmla="*/ 11 h 75"/>
                <a:gd name="T82" fmla="*/ 47 w 75"/>
                <a:gd name="T83" fmla="*/ 11 h 75"/>
                <a:gd name="T84" fmla="*/ 47 w 75"/>
                <a:gd name="T85" fmla="*/ 11 h 75"/>
                <a:gd name="T86" fmla="*/ 47 w 75"/>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5"/>
                <a:gd name="T134" fmla="*/ 75 w 75"/>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5">
                  <a:moveTo>
                    <a:pt x="47" y="11"/>
                  </a:moveTo>
                  <a:lnTo>
                    <a:pt x="47" y="11"/>
                  </a:lnTo>
                  <a:lnTo>
                    <a:pt x="47" y="7"/>
                  </a:lnTo>
                  <a:lnTo>
                    <a:pt x="43" y="0"/>
                  </a:lnTo>
                  <a:lnTo>
                    <a:pt x="36" y="0"/>
                  </a:lnTo>
                  <a:lnTo>
                    <a:pt x="29" y="0"/>
                  </a:lnTo>
                  <a:lnTo>
                    <a:pt x="33" y="11"/>
                  </a:lnTo>
                  <a:lnTo>
                    <a:pt x="0" y="11"/>
                  </a:lnTo>
                  <a:lnTo>
                    <a:pt x="0" y="22"/>
                  </a:lnTo>
                  <a:lnTo>
                    <a:pt x="33" y="22"/>
                  </a:lnTo>
                  <a:lnTo>
                    <a:pt x="33" y="32"/>
                  </a:lnTo>
                  <a:lnTo>
                    <a:pt x="11" y="32"/>
                  </a:lnTo>
                  <a:lnTo>
                    <a:pt x="11" y="68"/>
                  </a:lnTo>
                  <a:lnTo>
                    <a:pt x="22" y="68"/>
                  </a:lnTo>
                  <a:lnTo>
                    <a:pt x="22" y="40"/>
                  </a:lnTo>
                  <a:lnTo>
                    <a:pt x="33" y="40"/>
                  </a:lnTo>
                  <a:lnTo>
                    <a:pt x="33" y="75"/>
                  </a:lnTo>
                  <a:lnTo>
                    <a:pt x="43" y="75"/>
                  </a:lnTo>
                  <a:lnTo>
                    <a:pt x="43" y="40"/>
                  </a:lnTo>
                  <a:lnTo>
                    <a:pt x="57" y="40"/>
                  </a:lnTo>
                  <a:lnTo>
                    <a:pt x="57" y="57"/>
                  </a:lnTo>
                  <a:lnTo>
                    <a:pt x="54" y="61"/>
                  </a:lnTo>
                  <a:lnTo>
                    <a:pt x="47" y="61"/>
                  </a:lnTo>
                  <a:lnTo>
                    <a:pt x="50" y="72"/>
                  </a:lnTo>
                  <a:lnTo>
                    <a:pt x="65" y="68"/>
                  </a:lnTo>
                  <a:lnTo>
                    <a:pt x="68" y="64"/>
                  </a:lnTo>
                  <a:lnTo>
                    <a:pt x="68" y="61"/>
                  </a:lnTo>
                  <a:lnTo>
                    <a:pt x="68" y="32"/>
                  </a:lnTo>
                  <a:lnTo>
                    <a:pt x="43" y="32"/>
                  </a:lnTo>
                  <a:lnTo>
                    <a:pt x="43" y="22"/>
                  </a:lnTo>
                  <a:lnTo>
                    <a:pt x="75" y="22"/>
                  </a:lnTo>
                  <a:lnTo>
                    <a:pt x="75" y="11"/>
                  </a:lnTo>
                  <a:lnTo>
                    <a:pt x="40" y="11"/>
                  </a:lnTo>
                  <a:lnTo>
                    <a:pt x="4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7" name="Freeform 113"/>
            <p:cNvSpPr>
              <a:spLocks noEditPoints="1"/>
            </p:cNvSpPr>
            <p:nvPr/>
          </p:nvSpPr>
          <p:spPr bwMode="auto">
            <a:xfrm>
              <a:off x="2724" y="2000"/>
              <a:ext cx="71" cy="75"/>
            </a:xfrm>
            <a:custGeom>
              <a:avLst/>
              <a:gdLst>
                <a:gd name="T0" fmla="*/ 0 w 71"/>
                <a:gd name="T1" fmla="*/ 68 h 75"/>
                <a:gd name="T2" fmla="*/ 0 w 71"/>
                <a:gd name="T3" fmla="*/ 68 h 75"/>
                <a:gd name="T4" fmla="*/ 10 w 71"/>
                <a:gd name="T5" fmla="*/ 75 h 75"/>
                <a:gd name="T6" fmla="*/ 10 w 71"/>
                <a:gd name="T7" fmla="*/ 75 h 75"/>
                <a:gd name="T8" fmla="*/ 17 w 71"/>
                <a:gd name="T9" fmla="*/ 57 h 75"/>
                <a:gd name="T10" fmla="*/ 21 w 71"/>
                <a:gd name="T11" fmla="*/ 32 h 75"/>
                <a:gd name="T12" fmla="*/ 21 w 71"/>
                <a:gd name="T13" fmla="*/ 28 h 75"/>
                <a:gd name="T14" fmla="*/ 71 w 71"/>
                <a:gd name="T15" fmla="*/ 28 h 75"/>
                <a:gd name="T16" fmla="*/ 71 w 71"/>
                <a:gd name="T17" fmla="*/ 0 h 75"/>
                <a:gd name="T18" fmla="*/ 10 w 71"/>
                <a:gd name="T19" fmla="*/ 0 h 75"/>
                <a:gd name="T20" fmla="*/ 10 w 71"/>
                <a:gd name="T21" fmla="*/ 32 h 75"/>
                <a:gd name="T22" fmla="*/ 10 w 71"/>
                <a:gd name="T23" fmla="*/ 32 h 75"/>
                <a:gd name="T24" fmla="*/ 7 w 71"/>
                <a:gd name="T25" fmla="*/ 53 h 75"/>
                <a:gd name="T26" fmla="*/ 3 w 71"/>
                <a:gd name="T27" fmla="*/ 64 h 75"/>
                <a:gd name="T28" fmla="*/ 0 w 71"/>
                <a:gd name="T29" fmla="*/ 68 h 75"/>
                <a:gd name="T30" fmla="*/ 0 w 71"/>
                <a:gd name="T31" fmla="*/ 68 h 75"/>
                <a:gd name="T32" fmla="*/ 0 w 71"/>
                <a:gd name="T33" fmla="*/ 68 h 75"/>
                <a:gd name="T34" fmla="*/ 35 w 71"/>
                <a:gd name="T35" fmla="*/ 11 h 75"/>
                <a:gd name="T36" fmla="*/ 35 w 71"/>
                <a:gd name="T37" fmla="*/ 18 h 75"/>
                <a:gd name="T38" fmla="*/ 21 w 71"/>
                <a:gd name="T39" fmla="*/ 18 h 75"/>
                <a:gd name="T40" fmla="*/ 21 w 71"/>
                <a:gd name="T41" fmla="*/ 11 h 75"/>
                <a:gd name="T42" fmla="*/ 35 w 71"/>
                <a:gd name="T43" fmla="*/ 11 h 75"/>
                <a:gd name="T44" fmla="*/ 35 w 71"/>
                <a:gd name="T45" fmla="*/ 11 h 75"/>
                <a:gd name="T46" fmla="*/ 46 w 71"/>
                <a:gd name="T47" fmla="*/ 11 h 75"/>
                <a:gd name="T48" fmla="*/ 60 w 71"/>
                <a:gd name="T49" fmla="*/ 11 h 75"/>
                <a:gd name="T50" fmla="*/ 60 w 71"/>
                <a:gd name="T51" fmla="*/ 18 h 75"/>
                <a:gd name="T52" fmla="*/ 46 w 71"/>
                <a:gd name="T53" fmla="*/ 18 h 75"/>
                <a:gd name="T54" fmla="*/ 46 w 71"/>
                <a:gd name="T55" fmla="*/ 11 h 75"/>
                <a:gd name="T56" fmla="*/ 46 w 71"/>
                <a:gd name="T57" fmla="*/ 11 h 75"/>
                <a:gd name="T58" fmla="*/ 32 w 71"/>
                <a:gd name="T59" fmla="*/ 75 h 75"/>
                <a:gd name="T60" fmla="*/ 32 w 71"/>
                <a:gd name="T61" fmla="*/ 71 h 75"/>
                <a:gd name="T62" fmla="*/ 57 w 71"/>
                <a:gd name="T63" fmla="*/ 71 h 75"/>
                <a:gd name="T64" fmla="*/ 57 w 71"/>
                <a:gd name="T65" fmla="*/ 75 h 75"/>
                <a:gd name="T66" fmla="*/ 71 w 71"/>
                <a:gd name="T67" fmla="*/ 75 h 75"/>
                <a:gd name="T68" fmla="*/ 71 w 71"/>
                <a:gd name="T69" fmla="*/ 32 h 75"/>
                <a:gd name="T70" fmla="*/ 21 w 71"/>
                <a:gd name="T71" fmla="*/ 32 h 75"/>
                <a:gd name="T72" fmla="*/ 21 w 71"/>
                <a:gd name="T73" fmla="*/ 75 h 75"/>
                <a:gd name="T74" fmla="*/ 32 w 71"/>
                <a:gd name="T75" fmla="*/ 75 h 75"/>
                <a:gd name="T76" fmla="*/ 32 w 71"/>
                <a:gd name="T77" fmla="*/ 75 h 75"/>
                <a:gd name="T78" fmla="*/ 57 w 71"/>
                <a:gd name="T79" fmla="*/ 39 h 75"/>
                <a:gd name="T80" fmla="*/ 57 w 71"/>
                <a:gd name="T81" fmla="*/ 43 h 75"/>
                <a:gd name="T82" fmla="*/ 32 w 71"/>
                <a:gd name="T83" fmla="*/ 43 h 75"/>
                <a:gd name="T84" fmla="*/ 32 w 71"/>
                <a:gd name="T85" fmla="*/ 39 h 75"/>
                <a:gd name="T86" fmla="*/ 57 w 71"/>
                <a:gd name="T87" fmla="*/ 39 h 75"/>
                <a:gd name="T88" fmla="*/ 57 w 71"/>
                <a:gd name="T89" fmla="*/ 39 h 75"/>
                <a:gd name="T90" fmla="*/ 57 w 71"/>
                <a:gd name="T91" fmla="*/ 50 h 75"/>
                <a:gd name="T92" fmla="*/ 57 w 71"/>
                <a:gd name="T93" fmla="*/ 53 h 75"/>
                <a:gd name="T94" fmla="*/ 32 w 71"/>
                <a:gd name="T95" fmla="*/ 53 h 75"/>
                <a:gd name="T96" fmla="*/ 32 w 71"/>
                <a:gd name="T97" fmla="*/ 50 h 75"/>
                <a:gd name="T98" fmla="*/ 57 w 71"/>
                <a:gd name="T99" fmla="*/ 50 h 75"/>
                <a:gd name="T100" fmla="*/ 57 w 71"/>
                <a:gd name="T101" fmla="*/ 50 h 75"/>
                <a:gd name="T102" fmla="*/ 32 w 71"/>
                <a:gd name="T103" fmla="*/ 60 h 75"/>
                <a:gd name="T104" fmla="*/ 57 w 71"/>
                <a:gd name="T105" fmla="*/ 60 h 75"/>
                <a:gd name="T106" fmla="*/ 57 w 71"/>
                <a:gd name="T107" fmla="*/ 64 h 75"/>
                <a:gd name="T108" fmla="*/ 32 w 71"/>
                <a:gd name="T109" fmla="*/ 64 h 75"/>
                <a:gd name="T110" fmla="*/ 32 w 71"/>
                <a:gd name="T111" fmla="*/ 60 h 75"/>
                <a:gd name="T112" fmla="*/ 32 w 71"/>
                <a:gd name="T113" fmla="*/ 60 h 7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1"/>
                <a:gd name="T172" fmla="*/ 0 h 75"/>
                <a:gd name="T173" fmla="*/ 71 w 71"/>
                <a:gd name="T174" fmla="*/ 75 h 7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1" h="75">
                  <a:moveTo>
                    <a:pt x="0" y="68"/>
                  </a:moveTo>
                  <a:lnTo>
                    <a:pt x="0" y="68"/>
                  </a:lnTo>
                  <a:lnTo>
                    <a:pt x="10" y="75"/>
                  </a:lnTo>
                  <a:lnTo>
                    <a:pt x="17" y="57"/>
                  </a:lnTo>
                  <a:lnTo>
                    <a:pt x="21" y="32"/>
                  </a:lnTo>
                  <a:lnTo>
                    <a:pt x="21" y="28"/>
                  </a:lnTo>
                  <a:lnTo>
                    <a:pt x="71" y="28"/>
                  </a:lnTo>
                  <a:lnTo>
                    <a:pt x="71" y="0"/>
                  </a:lnTo>
                  <a:lnTo>
                    <a:pt x="10" y="0"/>
                  </a:lnTo>
                  <a:lnTo>
                    <a:pt x="10" y="32"/>
                  </a:lnTo>
                  <a:lnTo>
                    <a:pt x="7" y="53"/>
                  </a:lnTo>
                  <a:lnTo>
                    <a:pt x="3" y="64"/>
                  </a:lnTo>
                  <a:lnTo>
                    <a:pt x="0" y="68"/>
                  </a:lnTo>
                  <a:close/>
                  <a:moveTo>
                    <a:pt x="35" y="11"/>
                  </a:moveTo>
                  <a:lnTo>
                    <a:pt x="35" y="18"/>
                  </a:lnTo>
                  <a:lnTo>
                    <a:pt x="21" y="18"/>
                  </a:lnTo>
                  <a:lnTo>
                    <a:pt x="21" y="11"/>
                  </a:lnTo>
                  <a:lnTo>
                    <a:pt x="35" y="11"/>
                  </a:lnTo>
                  <a:close/>
                  <a:moveTo>
                    <a:pt x="46" y="11"/>
                  </a:moveTo>
                  <a:lnTo>
                    <a:pt x="60" y="11"/>
                  </a:lnTo>
                  <a:lnTo>
                    <a:pt x="60" y="18"/>
                  </a:lnTo>
                  <a:lnTo>
                    <a:pt x="46" y="18"/>
                  </a:lnTo>
                  <a:lnTo>
                    <a:pt x="46" y="11"/>
                  </a:lnTo>
                  <a:close/>
                  <a:moveTo>
                    <a:pt x="32" y="75"/>
                  </a:moveTo>
                  <a:lnTo>
                    <a:pt x="32" y="71"/>
                  </a:lnTo>
                  <a:lnTo>
                    <a:pt x="57" y="71"/>
                  </a:lnTo>
                  <a:lnTo>
                    <a:pt x="57" y="75"/>
                  </a:lnTo>
                  <a:lnTo>
                    <a:pt x="71" y="75"/>
                  </a:lnTo>
                  <a:lnTo>
                    <a:pt x="71" y="32"/>
                  </a:lnTo>
                  <a:lnTo>
                    <a:pt x="21" y="32"/>
                  </a:lnTo>
                  <a:lnTo>
                    <a:pt x="21" y="75"/>
                  </a:lnTo>
                  <a:lnTo>
                    <a:pt x="32" y="75"/>
                  </a:lnTo>
                  <a:close/>
                  <a:moveTo>
                    <a:pt x="57" y="39"/>
                  </a:moveTo>
                  <a:lnTo>
                    <a:pt x="57" y="43"/>
                  </a:lnTo>
                  <a:lnTo>
                    <a:pt x="32" y="43"/>
                  </a:lnTo>
                  <a:lnTo>
                    <a:pt x="32" y="39"/>
                  </a:lnTo>
                  <a:lnTo>
                    <a:pt x="57" y="39"/>
                  </a:lnTo>
                  <a:close/>
                  <a:moveTo>
                    <a:pt x="57" y="50"/>
                  </a:moveTo>
                  <a:lnTo>
                    <a:pt x="57" y="53"/>
                  </a:lnTo>
                  <a:lnTo>
                    <a:pt x="32" y="53"/>
                  </a:lnTo>
                  <a:lnTo>
                    <a:pt x="32" y="50"/>
                  </a:lnTo>
                  <a:lnTo>
                    <a:pt x="57" y="50"/>
                  </a:lnTo>
                  <a:close/>
                  <a:moveTo>
                    <a:pt x="32" y="60"/>
                  </a:moveTo>
                  <a:lnTo>
                    <a:pt x="57" y="60"/>
                  </a:lnTo>
                  <a:lnTo>
                    <a:pt x="57" y="64"/>
                  </a:lnTo>
                  <a:lnTo>
                    <a:pt x="32" y="64"/>
                  </a:lnTo>
                  <a:lnTo>
                    <a:pt x="32" y="6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8" name="Freeform 114"/>
            <p:cNvSpPr>
              <a:spLocks/>
            </p:cNvSpPr>
            <p:nvPr/>
          </p:nvSpPr>
          <p:spPr bwMode="auto">
            <a:xfrm>
              <a:off x="2816" y="2000"/>
              <a:ext cx="64" cy="75"/>
            </a:xfrm>
            <a:custGeom>
              <a:avLst/>
              <a:gdLst>
                <a:gd name="T0" fmla="*/ 11 w 64"/>
                <a:gd name="T1" fmla="*/ 25 h 75"/>
                <a:gd name="T2" fmla="*/ 11 w 64"/>
                <a:gd name="T3" fmla="*/ 25 h 75"/>
                <a:gd name="T4" fmla="*/ 11 w 64"/>
                <a:gd name="T5" fmla="*/ 21 h 75"/>
                <a:gd name="T6" fmla="*/ 11 w 64"/>
                <a:gd name="T7" fmla="*/ 21 h 75"/>
                <a:gd name="T8" fmla="*/ 11 w 64"/>
                <a:gd name="T9" fmla="*/ 18 h 75"/>
                <a:gd name="T10" fmla="*/ 11 w 64"/>
                <a:gd name="T11" fmla="*/ 18 h 75"/>
                <a:gd name="T12" fmla="*/ 7 w 64"/>
                <a:gd name="T13" fmla="*/ 18 h 75"/>
                <a:gd name="T14" fmla="*/ 7 w 64"/>
                <a:gd name="T15" fmla="*/ 18 h 75"/>
                <a:gd name="T16" fmla="*/ 7 w 64"/>
                <a:gd name="T17" fmla="*/ 18 h 75"/>
                <a:gd name="T18" fmla="*/ 0 w 64"/>
                <a:gd name="T19" fmla="*/ 18 h 75"/>
                <a:gd name="T20" fmla="*/ 0 w 64"/>
                <a:gd name="T21" fmla="*/ 71 h 75"/>
                <a:gd name="T22" fmla="*/ 54 w 64"/>
                <a:gd name="T23" fmla="*/ 71 h 75"/>
                <a:gd name="T24" fmla="*/ 54 w 64"/>
                <a:gd name="T25" fmla="*/ 75 h 75"/>
                <a:gd name="T26" fmla="*/ 64 w 64"/>
                <a:gd name="T27" fmla="*/ 75 h 75"/>
                <a:gd name="T28" fmla="*/ 64 w 64"/>
                <a:gd name="T29" fmla="*/ 25 h 75"/>
                <a:gd name="T30" fmla="*/ 64 w 64"/>
                <a:gd name="T31" fmla="*/ 25 h 75"/>
                <a:gd name="T32" fmla="*/ 64 w 64"/>
                <a:gd name="T33" fmla="*/ 21 h 75"/>
                <a:gd name="T34" fmla="*/ 64 w 64"/>
                <a:gd name="T35" fmla="*/ 21 h 75"/>
                <a:gd name="T36" fmla="*/ 64 w 64"/>
                <a:gd name="T37" fmla="*/ 18 h 75"/>
                <a:gd name="T38" fmla="*/ 64 w 64"/>
                <a:gd name="T39" fmla="*/ 18 h 75"/>
                <a:gd name="T40" fmla="*/ 61 w 64"/>
                <a:gd name="T41" fmla="*/ 18 h 75"/>
                <a:gd name="T42" fmla="*/ 54 w 64"/>
                <a:gd name="T43" fmla="*/ 18 h 75"/>
                <a:gd name="T44" fmla="*/ 54 w 64"/>
                <a:gd name="T45" fmla="*/ 60 h 75"/>
                <a:gd name="T46" fmla="*/ 36 w 64"/>
                <a:gd name="T47" fmla="*/ 60 h 75"/>
                <a:gd name="T48" fmla="*/ 36 w 64"/>
                <a:gd name="T49" fmla="*/ 11 h 75"/>
                <a:gd name="T50" fmla="*/ 36 w 64"/>
                <a:gd name="T51" fmla="*/ 11 h 75"/>
                <a:gd name="T52" fmla="*/ 39 w 64"/>
                <a:gd name="T53" fmla="*/ 3 h 75"/>
                <a:gd name="T54" fmla="*/ 39 w 64"/>
                <a:gd name="T55" fmla="*/ 3 h 75"/>
                <a:gd name="T56" fmla="*/ 39 w 64"/>
                <a:gd name="T57" fmla="*/ 3 h 75"/>
                <a:gd name="T58" fmla="*/ 39 w 64"/>
                <a:gd name="T59" fmla="*/ 3 h 75"/>
                <a:gd name="T60" fmla="*/ 32 w 64"/>
                <a:gd name="T61" fmla="*/ 0 h 75"/>
                <a:gd name="T62" fmla="*/ 25 w 64"/>
                <a:gd name="T63" fmla="*/ 0 h 75"/>
                <a:gd name="T64" fmla="*/ 25 w 64"/>
                <a:gd name="T65" fmla="*/ 60 h 75"/>
                <a:gd name="T66" fmla="*/ 11 w 64"/>
                <a:gd name="T67" fmla="*/ 60 h 75"/>
                <a:gd name="T68" fmla="*/ 11 w 64"/>
                <a:gd name="T69" fmla="*/ 25 h 75"/>
                <a:gd name="T70" fmla="*/ 11 w 64"/>
                <a:gd name="T71" fmla="*/ 25 h 7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75"/>
                <a:gd name="T110" fmla="*/ 64 w 64"/>
                <a:gd name="T111" fmla="*/ 75 h 7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75">
                  <a:moveTo>
                    <a:pt x="11" y="25"/>
                  </a:moveTo>
                  <a:lnTo>
                    <a:pt x="11" y="25"/>
                  </a:lnTo>
                  <a:lnTo>
                    <a:pt x="11" y="21"/>
                  </a:lnTo>
                  <a:lnTo>
                    <a:pt x="11" y="18"/>
                  </a:lnTo>
                  <a:lnTo>
                    <a:pt x="7" y="18"/>
                  </a:lnTo>
                  <a:lnTo>
                    <a:pt x="0" y="18"/>
                  </a:lnTo>
                  <a:lnTo>
                    <a:pt x="0" y="71"/>
                  </a:lnTo>
                  <a:lnTo>
                    <a:pt x="54" y="71"/>
                  </a:lnTo>
                  <a:lnTo>
                    <a:pt x="54" y="75"/>
                  </a:lnTo>
                  <a:lnTo>
                    <a:pt x="64" y="75"/>
                  </a:lnTo>
                  <a:lnTo>
                    <a:pt x="64" y="25"/>
                  </a:lnTo>
                  <a:lnTo>
                    <a:pt x="64" y="21"/>
                  </a:lnTo>
                  <a:lnTo>
                    <a:pt x="64" y="18"/>
                  </a:lnTo>
                  <a:lnTo>
                    <a:pt x="61" y="18"/>
                  </a:lnTo>
                  <a:lnTo>
                    <a:pt x="54" y="18"/>
                  </a:lnTo>
                  <a:lnTo>
                    <a:pt x="54" y="60"/>
                  </a:lnTo>
                  <a:lnTo>
                    <a:pt x="36" y="60"/>
                  </a:lnTo>
                  <a:lnTo>
                    <a:pt x="36" y="11"/>
                  </a:lnTo>
                  <a:lnTo>
                    <a:pt x="39" y="3"/>
                  </a:lnTo>
                  <a:lnTo>
                    <a:pt x="32" y="0"/>
                  </a:lnTo>
                  <a:lnTo>
                    <a:pt x="25" y="0"/>
                  </a:lnTo>
                  <a:lnTo>
                    <a:pt x="25" y="60"/>
                  </a:lnTo>
                  <a:lnTo>
                    <a:pt x="11" y="60"/>
                  </a:lnTo>
                  <a:lnTo>
                    <a:pt x="1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19" name="Freeform 115"/>
            <p:cNvSpPr>
              <a:spLocks/>
            </p:cNvSpPr>
            <p:nvPr/>
          </p:nvSpPr>
          <p:spPr bwMode="auto">
            <a:xfrm>
              <a:off x="2895" y="2000"/>
              <a:ext cx="75" cy="75"/>
            </a:xfrm>
            <a:custGeom>
              <a:avLst/>
              <a:gdLst>
                <a:gd name="T0" fmla="*/ 46 w 75"/>
                <a:gd name="T1" fmla="*/ 11 h 75"/>
                <a:gd name="T2" fmla="*/ 46 w 75"/>
                <a:gd name="T3" fmla="*/ 11 h 75"/>
                <a:gd name="T4" fmla="*/ 46 w 75"/>
                <a:gd name="T5" fmla="*/ 7 h 75"/>
                <a:gd name="T6" fmla="*/ 46 w 75"/>
                <a:gd name="T7" fmla="*/ 7 h 75"/>
                <a:gd name="T8" fmla="*/ 42 w 75"/>
                <a:gd name="T9" fmla="*/ 0 h 75"/>
                <a:gd name="T10" fmla="*/ 42 w 75"/>
                <a:gd name="T11" fmla="*/ 0 h 75"/>
                <a:gd name="T12" fmla="*/ 35 w 75"/>
                <a:gd name="T13" fmla="*/ 0 h 75"/>
                <a:gd name="T14" fmla="*/ 35 w 75"/>
                <a:gd name="T15" fmla="*/ 0 h 75"/>
                <a:gd name="T16" fmla="*/ 28 w 75"/>
                <a:gd name="T17" fmla="*/ 0 h 75"/>
                <a:gd name="T18" fmla="*/ 28 w 75"/>
                <a:gd name="T19" fmla="*/ 0 h 75"/>
                <a:gd name="T20" fmla="*/ 32 w 75"/>
                <a:gd name="T21" fmla="*/ 11 h 75"/>
                <a:gd name="T22" fmla="*/ 0 w 75"/>
                <a:gd name="T23" fmla="*/ 11 h 75"/>
                <a:gd name="T24" fmla="*/ 0 w 75"/>
                <a:gd name="T25" fmla="*/ 21 h 75"/>
                <a:gd name="T26" fmla="*/ 32 w 75"/>
                <a:gd name="T27" fmla="*/ 21 h 75"/>
                <a:gd name="T28" fmla="*/ 32 w 75"/>
                <a:gd name="T29" fmla="*/ 32 h 75"/>
                <a:gd name="T30" fmla="*/ 10 w 75"/>
                <a:gd name="T31" fmla="*/ 32 h 75"/>
                <a:gd name="T32" fmla="*/ 10 w 75"/>
                <a:gd name="T33" fmla="*/ 68 h 75"/>
                <a:gd name="T34" fmla="*/ 21 w 75"/>
                <a:gd name="T35" fmla="*/ 68 h 75"/>
                <a:gd name="T36" fmla="*/ 21 w 75"/>
                <a:gd name="T37" fmla="*/ 39 h 75"/>
                <a:gd name="T38" fmla="*/ 32 w 75"/>
                <a:gd name="T39" fmla="*/ 39 h 75"/>
                <a:gd name="T40" fmla="*/ 32 w 75"/>
                <a:gd name="T41" fmla="*/ 75 h 75"/>
                <a:gd name="T42" fmla="*/ 42 w 75"/>
                <a:gd name="T43" fmla="*/ 75 h 75"/>
                <a:gd name="T44" fmla="*/ 46 w 75"/>
                <a:gd name="T45" fmla="*/ 39 h 75"/>
                <a:gd name="T46" fmla="*/ 57 w 75"/>
                <a:gd name="T47" fmla="*/ 39 h 75"/>
                <a:gd name="T48" fmla="*/ 57 w 75"/>
                <a:gd name="T49" fmla="*/ 57 h 75"/>
                <a:gd name="T50" fmla="*/ 57 w 75"/>
                <a:gd name="T51" fmla="*/ 57 h 75"/>
                <a:gd name="T52" fmla="*/ 53 w 75"/>
                <a:gd name="T53" fmla="*/ 57 h 75"/>
                <a:gd name="T54" fmla="*/ 46 w 75"/>
                <a:gd name="T55" fmla="*/ 60 h 75"/>
                <a:gd name="T56" fmla="*/ 46 w 75"/>
                <a:gd name="T57" fmla="*/ 60 h 75"/>
                <a:gd name="T58" fmla="*/ 50 w 75"/>
                <a:gd name="T59" fmla="*/ 71 h 75"/>
                <a:gd name="T60" fmla="*/ 50 w 75"/>
                <a:gd name="T61" fmla="*/ 71 h 75"/>
                <a:gd name="T62" fmla="*/ 64 w 75"/>
                <a:gd name="T63" fmla="*/ 68 h 75"/>
                <a:gd name="T64" fmla="*/ 67 w 75"/>
                <a:gd name="T65" fmla="*/ 64 h 75"/>
                <a:gd name="T66" fmla="*/ 67 w 75"/>
                <a:gd name="T67" fmla="*/ 60 h 75"/>
                <a:gd name="T68" fmla="*/ 67 w 75"/>
                <a:gd name="T69" fmla="*/ 32 h 75"/>
                <a:gd name="T70" fmla="*/ 46 w 75"/>
                <a:gd name="T71" fmla="*/ 32 h 75"/>
                <a:gd name="T72" fmla="*/ 46 w 75"/>
                <a:gd name="T73" fmla="*/ 21 h 75"/>
                <a:gd name="T74" fmla="*/ 75 w 75"/>
                <a:gd name="T75" fmla="*/ 21 h 75"/>
                <a:gd name="T76" fmla="*/ 75 w 75"/>
                <a:gd name="T77" fmla="*/ 11 h 75"/>
                <a:gd name="T78" fmla="*/ 39 w 75"/>
                <a:gd name="T79" fmla="*/ 11 h 75"/>
                <a:gd name="T80" fmla="*/ 39 w 75"/>
                <a:gd name="T81" fmla="*/ 11 h 75"/>
                <a:gd name="T82" fmla="*/ 46 w 75"/>
                <a:gd name="T83" fmla="*/ 11 h 75"/>
                <a:gd name="T84" fmla="*/ 46 w 75"/>
                <a:gd name="T85" fmla="*/ 11 h 75"/>
                <a:gd name="T86" fmla="*/ 46 w 75"/>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5"/>
                <a:gd name="T134" fmla="*/ 75 w 75"/>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5">
                  <a:moveTo>
                    <a:pt x="46" y="11"/>
                  </a:moveTo>
                  <a:lnTo>
                    <a:pt x="46" y="11"/>
                  </a:lnTo>
                  <a:lnTo>
                    <a:pt x="46" y="7"/>
                  </a:lnTo>
                  <a:lnTo>
                    <a:pt x="42" y="0"/>
                  </a:lnTo>
                  <a:lnTo>
                    <a:pt x="35" y="0"/>
                  </a:lnTo>
                  <a:lnTo>
                    <a:pt x="28" y="0"/>
                  </a:lnTo>
                  <a:lnTo>
                    <a:pt x="32" y="11"/>
                  </a:lnTo>
                  <a:lnTo>
                    <a:pt x="0" y="11"/>
                  </a:lnTo>
                  <a:lnTo>
                    <a:pt x="0" y="21"/>
                  </a:lnTo>
                  <a:lnTo>
                    <a:pt x="32" y="21"/>
                  </a:lnTo>
                  <a:lnTo>
                    <a:pt x="32" y="32"/>
                  </a:lnTo>
                  <a:lnTo>
                    <a:pt x="10" y="32"/>
                  </a:lnTo>
                  <a:lnTo>
                    <a:pt x="10" y="68"/>
                  </a:lnTo>
                  <a:lnTo>
                    <a:pt x="21" y="68"/>
                  </a:lnTo>
                  <a:lnTo>
                    <a:pt x="21" y="39"/>
                  </a:lnTo>
                  <a:lnTo>
                    <a:pt x="32" y="39"/>
                  </a:lnTo>
                  <a:lnTo>
                    <a:pt x="32" y="75"/>
                  </a:lnTo>
                  <a:lnTo>
                    <a:pt x="42" y="75"/>
                  </a:lnTo>
                  <a:lnTo>
                    <a:pt x="46" y="39"/>
                  </a:lnTo>
                  <a:lnTo>
                    <a:pt x="57" y="39"/>
                  </a:lnTo>
                  <a:lnTo>
                    <a:pt x="57" y="57"/>
                  </a:lnTo>
                  <a:lnTo>
                    <a:pt x="53" y="57"/>
                  </a:lnTo>
                  <a:lnTo>
                    <a:pt x="46" y="60"/>
                  </a:lnTo>
                  <a:lnTo>
                    <a:pt x="50" y="71"/>
                  </a:lnTo>
                  <a:lnTo>
                    <a:pt x="64" y="68"/>
                  </a:lnTo>
                  <a:lnTo>
                    <a:pt x="67" y="64"/>
                  </a:lnTo>
                  <a:lnTo>
                    <a:pt x="67" y="60"/>
                  </a:lnTo>
                  <a:lnTo>
                    <a:pt x="67" y="32"/>
                  </a:lnTo>
                  <a:lnTo>
                    <a:pt x="46" y="32"/>
                  </a:lnTo>
                  <a:lnTo>
                    <a:pt x="46" y="21"/>
                  </a:lnTo>
                  <a:lnTo>
                    <a:pt x="75" y="21"/>
                  </a:lnTo>
                  <a:lnTo>
                    <a:pt x="75" y="11"/>
                  </a:lnTo>
                  <a:lnTo>
                    <a:pt x="39" y="11"/>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0" name="Freeform 116"/>
            <p:cNvSpPr>
              <a:spLocks noEditPoints="1"/>
            </p:cNvSpPr>
            <p:nvPr/>
          </p:nvSpPr>
          <p:spPr bwMode="auto">
            <a:xfrm>
              <a:off x="1590" y="3083"/>
              <a:ext cx="78" cy="79"/>
            </a:xfrm>
            <a:custGeom>
              <a:avLst/>
              <a:gdLst>
                <a:gd name="T0" fmla="*/ 53 w 78"/>
                <a:gd name="T1" fmla="*/ 0 h 79"/>
                <a:gd name="T2" fmla="*/ 39 w 78"/>
                <a:gd name="T3" fmla="*/ 0 h 79"/>
                <a:gd name="T4" fmla="*/ 39 w 78"/>
                <a:gd name="T5" fmla="*/ 4 h 79"/>
                <a:gd name="T6" fmla="*/ 21 w 78"/>
                <a:gd name="T7" fmla="*/ 11 h 79"/>
                <a:gd name="T8" fmla="*/ 75 w 78"/>
                <a:gd name="T9" fmla="*/ 18 h 79"/>
                <a:gd name="T10" fmla="*/ 53 w 78"/>
                <a:gd name="T11" fmla="*/ 11 h 79"/>
                <a:gd name="T12" fmla="*/ 53 w 78"/>
                <a:gd name="T13" fmla="*/ 0 h 79"/>
                <a:gd name="T14" fmla="*/ 53 w 78"/>
                <a:gd name="T15" fmla="*/ 0 h 79"/>
                <a:gd name="T16" fmla="*/ 21 w 78"/>
                <a:gd name="T17" fmla="*/ 22 h 79"/>
                <a:gd name="T18" fmla="*/ 7 w 78"/>
                <a:gd name="T19" fmla="*/ 8 h 79"/>
                <a:gd name="T20" fmla="*/ 0 w 78"/>
                <a:gd name="T21" fmla="*/ 15 h 79"/>
                <a:gd name="T22" fmla="*/ 11 w 78"/>
                <a:gd name="T23" fmla="*/ 29 h 79"/>
                <a:gd name="T24" fmla="*/ 39 w 78"/>
                <a:gd name="T25" fmla="*/ 68 h 79"/>
                <a:gd name="T26" fmla="*/ 36 w 78"/>
                <a:gd name="T27" fmla="*/ 68 h 79"/>
                <a:gd name="T28" fmla="*/ 36 w 78"/>
                <a:gd name="T29" fmla="*/ 79 h 79"/>
                <a:gd name="T30" fmla="*/ 53 w 78"/>
                <a:gd name="T31" fmla="*/ 75 h 79"/>
                <a:gd name="T32" fmla="*/ 53 w 78"/>
                <a:gd name="T33" fmla="*/ 50 h 79"/>
                <a:gd name="T34" fmla="*/ 71 w 78"/>
                <a:gd name="T35" fmla="*/ 25 h 79"/>
                <a:gd name="T36" fmla="*/ 25 w 78"/>
                <a:gd name="T37" fmla="*/ 50 h 79"/>
                <a:gd name="T38" fmla="*/ 43 w 78"/>
                <a:gd name="T39" fmla="*/ 68 h 79"/>
                <a:gd name="T40" fmla="*/ 39 w 78"/>
                <a:gd name="T41" fmla="*/ 68 h 79"/>
                <a:gd name="T42" fmla="*/ 39 w 78"/>
                <a:gd name="T43" fmla="*/ 68 h 79"/>
                <a:gd name="T44" fmla="*/ 36 w 78"/>
                <a:gd name="T45" fmla="*/ 33 h 79"/>
                <a:gd name="T46" fmla="*/ 57 w 78"/>
                <a:gd name="T47" fmla="*/ 40 h 79"/>
                <a:gd name="T48" fmla="*/ 36 w 78"/>
                <a:gd name="T49" fmla="*/ 40 h 79"/>
                <a:gd name="T50" fmla="*/ 0 w 78"/>
                <a:gd name="T51" fmla="*/ 68 h 79"/>
                <a:gd name="T52" fmla="*/ 11 w 78"/>
                <a:gd name="T53" fmla="*/ 72 h 79"/>
                <a:gd name="T54" fmla="*/ 18 w 78"/>
                <a:gd name="T55" fmla="*/ 40 h 79"/>
                <a:gd name="T56" fmla="*/ 11 w 78"/>
                <a:gd name="T57" fmla="*/ 36 h 79"/>
                <a:gd name="T58" fmla="*/ 0 w 78"/>
                <a:gd name="T59" fmla="*/ 68 h 79"/>
                <a:gd name="T60" fmla="*/ 0 w 78"/>
                <a:gd name="T61" fmla="*/ 68 h 79"/>
                <a:gd name="T62" fmla="*/ 68 w 78"/>
                <a:gd name="T63" fmla="*/ 75 h 79"/>
                <a:gd name="T64" fmla="*/ 78 w 78"/>
                <a:gd name="T65" fmla="*/ 68 h 79"/>
                <a:gd name="T66" fmla="*/ 57 w 78"/>
                <a:gd name="T67" fmla="*/ 58 h 79"/>
                <a:gd name="T68" fmla="*/ 68 w 78"/>
                <a:gd name="T69" fmla="*/ 75 h 79"/>
                <a:gd name="T70" fmla="*/ 68 w 78"/>
                <a:gd name="T71" fmla="*/ 75 h 79"/>
                <a:gd name="T72" fmla="*/ 14 w 78"/>
                <a:gd name="T73" fmla="*/ 72 h 79"/>
                <a:gd name="T74" fmla="*/ 21 w 78"/>
                <a:gd name="T75" fmla="*/ 75 h 79"/>
                <a:gd name="T76" fmla="*/ 28 w 78"/>
                <a:gd name="T77" fmla="*/ 54 h 79"/>
                <a:gd name="T78" fmla="*/ 28 w 78"/>
                <a:gd name="T79" fmla="*/ 54 h 79"/>
                <a:gd name="T80" fmla="*/ 21 w 78"/>
                <a:gd name="T81" fmla="*/ 65 h 79"/>
                <a:gd name="T82" fmla="*/ 14 w 78"/>
                <a:gd name="T83" fmla="*/ 72 h 79"/>
                <a:gd name="T84" fmla="*/ 14 w 78"/>
                <a:gd name="T85" fmla="*/ 72 h 79"/>
                <a:gd name="T86" fmla="*/ 14 w 78"/>
                <a:gd name="T87" fmla="*/ 72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8"/>
                <a:gd name="T133" fmla="*/ 0 h 79"/>
                <a:gd name="T134" fmla="*/ 78 w 78"/>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8" h="79">
                  <a:moveTo>
                    <a:pt x="53" y="0"/>
                  </a:moveTo>
                  <a:lnTo>
                    <a:pt x="53" y="0"/>
                  </a:lnTo>
                  <a:lnTo>
                    <a:pt x="39" y="0"/>
                  </a:lnTo>
                  <a:lnTo>
                    <a:pt x="39" y="4"/>
                  </a:lnTo>
                  <a:lnTo>
                    <a:pt x="43" y="11"/>
                  </a:lnTo>
                  <a:lnTo>
                    <a:pt x="21" y="11"/>
                  </a:lnTo>
                  <a:lnTo>
                    <a:pt x="21" y="18"/>
                  </a:lnTo>
                  <a:lnTo>
                    <a:pt x="75" y="18"/>
                  </a:lnTo>
                  <a:lnTo>
                    <a:pt x="75" y="11"/>
                  </a:lnTo>
                  <a:lnTo>
                    <a:pt x="53" y="11"/>
                  </a:lnTo>
                  <a:lnTo>
                    <a:pt x="53" y="0"/>
                  </a:lnTo>
                  <a:close/>
                  <a:moveTo>
                    <a:pt x="11" y="29"/>
                  </a:moveTo>
                  <a:lnTo>
                    <a:pt x="21" y="22"/>
                  </a:lnTo>
                  <a:lnTo>
                    <a:pt x="7" y="8"/>
                  </a:lnTo>
                  <a:lnTo>
                    <a:pt x="0" y="15"/>
                  </a:lnTo>
                  <a:lnTo>
                    <a:pt x="11" y="29"/>
                  </a:lnTo>
                  <a:close/>
                  <a:moveTo>
                    <a:pt x="39" y="68"/>
                  </a:moveTo>
                  <a:lnTo>
                    <a:pt x="36" y="68"/>
                  </a:lnTo>
                  <a:lnTo>
                    <a:pt x="36" y="79"/>
                  </a:lnTo>
                  <a:lnTo>
                    <a:pt x="50" y="79"/>
                  </a:lnTo>
                  <a:lnTo>
                    <a:pt x="53" y="75"/>
                  </a:lnTo>
                  <a:lnTo>
                    <a:pt x="53" y="72"/>
                  </a:lnTo>
                  <a:lnTo>
                    <a:pt x="53" y="50"/>
                  </a:lnTo>
                  <a:lnTo>
                    <a:pt x="71" y="50"/>
                  </a:lnTo>
                  <a:lnTo>
                    <a:pt x="71" y="25"/>
                  </a:lnTo>
                  <a:lnTo>
                    <a:pt x="25" y="25"/>
                  </a:lnTo>
                  <a:lnTo>
                    <a:pt x="25" y="50"/>
                  </a:lnTo>
                  <a:lnTo>
                    <a:pt x="43" y="50"/>
                  </a:lnTo>
                  <a:lnTo>
                    <a:pt x="43" y="68"/>
                  </a:lnTo>
                  <a:lnTo>
                    <a:pt x="39" y="68"/>
                  </a:lnTo>
                  <a:close/>
                  <a:moveTo>
                    <a:pt x="36" y="40"/>
                  </a:moveTo>
                  <a:lnTo>
                    <a:pt x="36" y="33"/>
                  </a:lnTo>
                  <a:lnTo>
                    <a:pt x="57" y="33"/>
                  </a:lnTo>
                  <a:lnTo>
                    <a:pt x="57" y="40"/>
                  </a:lnTo>
                  <a:lnTo>
                    <a:pt x="36" y="40"/>
                  </a:lnTo>
                  <a:close/>
                  <a:moveTo>
                    <a:pt x="0" y="68"/>
                  </a:moveTo>
                  <a:lnTo>
                    <a:pt x="0" y="68"/>
                  </a:lnTo>
                  <a:lnTo>
                    <a:pt x="11" y="72"/>
                  </a:lnTo>
                  <a:lnTo>
                    <a:pt x="18" y="40"/>
                  </a:lnTo>
                  <a:lnTo>
                    <a:pt x="11" y="36"/>
                  </a:lnTo>
                  <a:lnTo>
                    <a:pt x="0" y="68"/>
                  </a:lnTo>
                  <a:close/>
                  <a:moveTo>
                    <a:pt x="68" y="75"/>
                  </a:moveTo>
                  <a:lnTo>
                    <a:pt x="78" y="68"/>
                  </a:lnTo>
                  <a:lnTo>
                    <a:pt x="64" y="50"/>
                  </a:lnTo>
                  <a:lnTo>
                    <a:pt x="57" y="58"/>
                  </a:lnTo>
                  <a:lnTo>
                    <a:pt x="68" y="75"/>
                  </a:lnTo>
                  <a:close/>
                  <a:moveTo>
                    <a:pt x="14" y="72"/>
                  </a:moveTo>
                  <a:lnTo>
                    <a:pt x="14" y="72"/>
                  </a:lnTo>
                  <a:lnTo>
                    <a:pt x="21" y="75"/>
                  </a:lnTo>
                  <a:lnTo>
                    <a:pt x="39" y="58"/>
                  </a:lnTo>
                  <a:lnTo>
                    <a:pt x="28" y="54"/>
                  </a:lnTo>
                  <a:lnTo>
                    <a:pt x="21" y="65"/>
                  </a:lnTo>
                  <a:lnTo>
                    <a:pt x="14"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1" name="Freeform 117"/>
            <p:cNvSpPr>
              <a:spLocks/>
            </p:cNvSpPr>
            <p:nvPr/>
          </p:nvSpPr>
          <p:spPr bwMode="auto">
            <a:xfrm>
              <a:off x="1729" y="3087"/>
              <a:ext cx="64" cy="71"/>
            </a:xfrm>
            <a:custGeom>
              <a:avLst/>
              <a:gdLst>
                <a:gd name="T0" fmla="*/ 11 w 64"/>
                <a:gd name="T1" fmla="*/ 21 h 71"/>
                <a:gd name="T2" fmla="*/ 11 w 64"/>
                <a:gd name="T3" fmla="*/ 21 h 71"/>
                <a:gd name="T4" fmla="*/ 11 w 64"/>
                <a:gd name="T5" fmla="*/ 18 h 71"/>
                <a:gd name="T6" fmla="*/ 11 w 64"/>
                <a:gd name="T7" fmla="*/ 18 h 71"/>
                <a:gd name="T8" fmla="*/ 11 w 64"/>
                <a:gd name="T9" fmla="*/ 18 h 71"/>
                <a:gd name="T10" fmla="*/ 11 w 64"/>
                <a:gd name="T11" fmla="*/ 18 h 71"/>
                <a:gd name="T12" fmla="*/ 11 w 64"/>
                <a:gd name="T13" fmla="*/ 18 h 71"/>
                <a:gd name="T14" fmla="*/ 11 w 64"/>
                <a:gd name="T15" fmla="*/ 18 h 71"/>
                <a:gd name="T16" fmla="*/ 7 w 64"/>
                <a:gd name="T17" fmla="*/ 18 h 71"/>
                <a:gd name="T18" fmla="*/ 0 w 64"/>
                <a:gd name="T19" fmla="*/ 18 h 71"/>
                <a:gd name="T20" fmla="*/ 0 w 64"/>
                <a:gd name="T21" fmla="*/ 68 h 71"/>
                <a:gd name="T22" fmla="*/ 53 w 64"/>
                <a:gd name="T23" fmla="*/ 68 h 71"/>
                <a:gd name="T24" fmla="*/ 53 w 64"/>
                <a:gd name="T25" fmla="*/ 71 h 71"/>
                <a:gd name="T26" fmla="*/ 64 w 64"/>
                <a:gd name="T27" fmla="*/ 71 h 71"/>
                <a:gd name="T28" fmla="*/ 64 w 64"/>
                <a:gd name="T29" fmla="*/ 25 h 71"/>
                <a:gd name="T30" fmla="*/ 64 w 64"/>
                <a:gd name="T31" fmla="*/ 25 h 71"/>
                <a:gd name="T32" fmla="*/ 64 w 64"/>
                <a:gd name="T33" fmla="*/ 18 h 71"/>
                <a:gd name="T34" fmla="*/ 64 w 64"/>
                <a:gd name="T35" fmla="*/ 18 h 71"/>
                <a:gd name="T36" fmla="*/ 64 w 64"/>
                <a:gd name="T37" fmla="*/ 18 h 71"/>
                <a:gd name="T38" fmla="*/ 64 w 64"/>
                <a:gd name="T39" fmla="*/ 18 h 71"/>
                <a:gd name="T40" fmla="*/ 61 w 64"/>
                <a:gd name="T41" fmla="*/ 18 h 71"/>
                <a:gd name="T42" fmla="*/ 53 w 64"/>
                <a:gd name="T43" fmla="*/ 18 h 71"/>
                <a:gd name="T44" fmla="*/ 53 w 64"/>
                <a:gd name="T45" fmla="*/ 61 h 71"/>
                <a:gd name="T46" fmla="*/ 39 w 64"/>
                <a:gd name="T47" fmla="*/ 61 h 71"/>
                <a:gd name="T48" fmla="*/ 39 w 64"/>
                <a:gd name="T49" fmla="*/ 7 h 71"/>
                <a:gd name="T50" fmla="*/ 39 w 64"/>
                <a:gd name="T51" fmla="*/ 7 h 71"/>
                <a:gd name="T52" fmla="*/ 39 w 64"/>
                <a:gd name="T53" fmla="*/ 0 h 71"/>
                <a:gd name="T54" fmla="*/ 39 w 64"/>
                <a:gd name="T55" fmla="*/ 0 h 71"/>
                <a:gd name="T56" fmla="*/ 39 w 64"/>
                <a:gd name="T57" fmla="*/ 0 h 71"/>
                <a:gd name="T58" fmla="*/ 39 w 64"/>
                <a:gd name="T59" fmla="*/ 0 h 71"/>
                <a:gd name="T60" fmla="*/ 36 w 64"/>
                <a:gd name="T61" fmla="*/ 0 h 71"/>
                <a:gd name="T62" fmla="*/ 28 w 64"/>
                <a:gd name="T63" fmla="*/ 0 h 71"/>
                <a:gd name="T64" fmla="*/ 28 w 64"/>
                <a:gd name="T65" fmla="*/ 61 h 71"/>
                <a:gd name="T66" fmla="*/ 11 w 64"/>
                <a:gd name="T67" fmla="*/ 61 h 71"/>
                <a:gd name="T68" fmla="*/ 11 w 64"/>
                <a:gd name="T69" fmla="*/ 21 h 71"/>
                <a:gd name="T70" fmla="*/ 11 w 64"/>
                <a:gd name="T71" fmla="*/ 21 h 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64"/>
                <a:gd name="T109" fmla="*/ 0 h 71"/>
                <a:gd name="T110" fmla="*/ 64 w 64"/>
                <a:gd name="T111" fmla="*/ 71 h 7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64" h="71">
                  <a:moveTo>
                    <a:pt x="11" y="21"/>
                  </a:moveTo>
                  <a:lnTo>
                    <a:pt x="11" y="21"/>
                  </a:lnTo>
                  <a:lnTo>
                    <a:pt x="11" y="18"/>
                  </a:lnTo>
                  <a:lnTo>
                    <a:pt x="7" y="18"/>
                  </a:lnTo>
                  <a:lnTo>
                    <a:pt x="0" y="18"/>
                  </a:lnTo>
                  <a:lnTo>
                    <a:pt x="0" y="68"/>
                  </a:lnTo>
                  <a:lnTo>
                    <a:pt x="53" y="68"/>
                  </a:lnTo>
                  <a:lnTo>
                    <a:pt x="53" y="71"/>
                  </a:lnTo>
                  <a:lnTo>
                    <a:pt x="64" y="71"/>
                  </a:lnTo>
                  <a:lnTo>
                    <a:pt x="64" y="25"/>
                  </a:lnTo>
                  <a:lnTo>
                    <a:pt x="64" y="18"/>
                  </a:lnTo>
                  <a:lnTo>
                    <a:pt x="61" y="18"/>
                  </a:lnTo>
                  <a:lnTo>
                    <a:pt x="53" y="18"/>
                  </a:lnTo>
                  <a:lnTo>
                    <a:pt x="53" y="61"/>
                  </a:lnTo>
                  <a:lnTo>
                    <a:pt x="39" y="61"/>
                  </a:lnTo>
                  <a:lnTo>
                    <a:pt x="39" y="7"/>
                  </a:lnTo>
                  <a:lnTo>
                    <a:pt x="39" y="0"/>
                  </a:lnTo>
                  <a:lnTo>
                    <a:pt x="36" y="0"/>
                  </a:lnTo>
                  <a:lnTo>
                    <a:pt x="28" y="0"/>
                  </a:lnTo>
                  <a:lnTo>
                    <a:pt x="28" y="61"/>
                  </a:lnTo>
                  <a:lnTo>
                    <a:pt x="11" y="61"/>
                  </a:lnTo>
                  <a:lnTo>
                    <a:pt x="1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2" name="Freeform 118"/>
            <p:cNvSpPr>
              <a:spLocks noEditPoints="1"/>
            </p:cNvSpPr>
            <p:nvPr/>
          </p:nvSpPr>
          <p:spPr bwMode="auto">
            <a:xfrm>
              <a:off x="1857" y="3083"/>
              <a:ext cx="75" cy="79"/>
            </a:xfrm>
            <a:custGeom>
              <a:avLst/>
              <a:gdLst>
                <a:gd name="T0" fmla="*/ 25 w 75"/>
                <a:gd name="T1" fmla="*/ 11 h 79"/>
                <a:gd name="T2" fmla="*/ 50 w 75"/>
                <a:gd name="T3" fmla="*/ 8 h 79"/>
                <a:gd name="T4" fmla="*/ 57 w 75"/>
                <a:gd name="T5" fmla="*/ 29 h 79"/>
                <a:gd name="T6" fmla="*/ 57 w 75"/>
                <a:gd name="T7" fmla="*/ 29 h 79"/>
                <a:gd name="T8" fmla="*/ 54 w 75"/>
                <a:gd name="T9" fmla="*/ 29 h 79"/>
                <a:gd name="T10" fmla="*/ 11 w 75"/>
                <a:gd name="T11" fmla="*/ 29 h 79"/>
                <a:gd name="T12" fmla="*/ 11 w 75"/>
                <a:gd name="T13" fmla="*/ 36 h 79"/>
                <a:gd name="T14" fmla="*/ 11 w 75"/>
                <a:gd name="T15" fmla="*/ 29 h 79"/>
                <a:gd name="T16" fmla="*/ 25 w 75"/>
                <a:gd name="T17" fmla="*/ 43 h 79"/>
                <a:gd name="T18" fmla="*/ 32 w 75"/>
                <a:gd name="T19" fmla="*/ 36 h 79"/>
                <a:gd name="T20" fmla="*/ 36 w 75"/>
                <a:gd name="T21" fmla="*/ 33 h 79"/>
                <a:gd name="T22" fmla="*/ 43 w 75"/>
                <a:gd name="T23" fmla="*/ 29 h 79"/>
                <a:gd name="T24" fmla="*/ 40 w 75"/>
                <a:gd name="T25" fmla="*/ 29 h 79"/>
                <a:gd name="T26" fmla="*/ 43 w 75"/>
                <a:gd name="T27" fmla="*/ 36 h 79"/>
                <a:gd name="T28" fmla="*/ 47 w 75"/>
                <a:gd name="T29" fmla="*/ 36 h 79"/>
                <a:gd name="T30" fmla="*/ 36 w 75"/>
                <a:gd name="T31" fmla="*/ 40 h 79"/>
                <a:gd name="T32" fmla="*/ 40 w 75"/>
                <a:gd name="T33" fmla="*/ 47 h 79"/>
                <a:gd name="T34" fmla="*/ 47 w 75"/>
                <a:gd name="T35" fmla="*/ 47 h 79"/>
                <a:gd name="T36" fmla="*/ 50 w 75"/>
                <a:gd name="T37" fmla="*/ 58 h 79"/>
                <a:gd name="T38" fmla="*/ 68 w 75"/>
                <a:gd name="T39" fmla="*/ 47 h 79"/>
                <a:gd name="T40" fmla="*/ 75 w 75"/>
                <a:gd name="T41" fmla="*/ 47 h 79"/>
                <a:gd name="T42" fmla="*/ 61 w 75"/>
                <a:gd name="T43" fmla="*/ 36 h 79"/>
                <a:gd name="T44" fmla="*/ 54 w 75"/>
                <a:gd name="T45" fmla="*/ 40 h 79"/>
                <a:gd name="T46" fmla="*/ 68 w 75"/>
                <a:gd name="T47" fmla="*/ 29 h 79"/>
                <a:gd name="T48" fmla="*/ 68 w 75"/>
                <a:gd name="T49" fmla="*/ 29 h 79"/>
                <a:gd name="T50" fmla="*/ 68 w 75"/>
                <a:gd name="T51" fmla="*/ 29 h 79"/>
                <a:gd name="T52" fmla="*/ 75 w 75"/>
                <a:gd name="T53" fmla="*/ 29 h 79"/>
                <a:gd name="T54" fmla="*/ 57 w 75"/>
                <a:gd name="T55" fmla="*/ 22 h 79"/>
                <a:gd name="T56" fmla="*/ 29 w 75"/>
                <a:gd name="T57" fmla="*/ 4 h 79"/>
                <a:gd name="T58" fmla="*/ 29 w 75"/>
                <a:gd name="T59" fmla="*/ 0 h 79"/>
                <a:gd name="T60" fmla="*/ 18 w 75"/>
                <a:gd name="T61" fmla="*/ 0 h 79"/>
                <a:gd name="T62" fmla="*/ 15 w 75"/>
                <a:gd name="T63" fmla="*/ 8 h 79"/>
                <a:gd name="T64" fmla="*/ 11 w 75"/>
                <a:gd name="T65" fmla="*/ 11 h 79"/>
                <a:gd name="T66" fmla="*/ 47 w 75"/>
                <a:gd name="T67" fmla="*/ 22 h 79"/>
                <a:gd name="T68" fmla="*/ 7 w 75"/>
                <a:gd name="T69" fmla="*/ 29 h 79"/>
                <a:gd name="T70" fmla="*/ 0 w 75"/>
                <a:gd name="T71" fmla="*/ 36 h 79"/>
                <a:gd name="T72" fmla="*/ 7 w 75"/>
                <a:gd name="T73" fmla="*/ 43 h 79"/>
                <a:gd name="T74" fmla="*/ 4 w 75"/>
                <a:gd name="T75" fmla="*/ 58 h 79"/>
                <a:gd name="T76" fmla="*/ 15 w 75"/>
                <a:gd name="T77" fmla="*/ 58 h 79"/>
                <a:gd name="T78" fmla="*/ 0 w 75"/>
                <a:gd name="T79" fmla="*/ 61 h 79"/>
                <a:gd name="T80" fmla="*/ 22 w 75"/>
                <a:gd name="T81" fmla="*/ 68 h 79"/>
                <a:gd name="T82" fmla="*/ 7 w 75"/>
                <a:gd name="T83" fmla="*/ 72 h 79"/>
                <a:gd name="T84" fmla="*/ 11 w 75"/>
                <a:gd name="T85" fmla="*/ 79 h 79"/>
                <a:gd name="T86" fmla="*/ 32 w 75"/>
                <a:gd name="T87" fmla="*/ 68 h 79"/>
                <a:gd name="T88" fmla="*/ 57 w 75"/>
                <a:gd name="T89" fmla="*/ 79 h 79"/>
                <a:gd name="T90" fmla="*/ 75 w 75"/>
                <a:gd name="T91" fmla="*/ 61 h 79"/>
                <a:gd name="T92" fmla="*/ 47 w 75"/>
                <a:gd name="T93" fmla="*/ 58 h 79"/>
                <a:gd name="T94" fmla="*/ 32 w 75"/>
                <a:gd name="T95" fmla="*/ 61 h 79"/>
                <a:gd name="T96" fmla="*/ 32 w 75"/>
                <a:gd name="T97" fmla="*/ 58 h 79"/>
                <a:gd name="T98" fmla="*/ 25 w 75"/>
                <a:gd name="T99" fmla="*/ 58 h 79"/>
                <a:gd name="T100" fmla="*/ 29 w 75"/>
                <a:gd name="T101" fmla="*/ 54 h 79"/>
                <a:gd name="T102" fmla="*/ 36 w 75"/>
                <a:gd name="T103" fmla="*/ 50 h 79"/>
                <a:gd name="T104" fmla="*/ 29 w 75"/>
                <a:gd name="T105" fmla="*/ 43 h 79"/>
                <a:gd name="T106" fmla="*/ 61 w 75"/>
                <a:gd name="T107" fmla="*/ 50 h 79"/>
                <a:gd name="T108" fmla="*/ 68 w 75"/>
                <a:gd name="T109" fmla="*/ 58 h 79"/>
                <a:gd name="T110" fmla="*/ 64 w 75"/>
                <a:gd name="T111" fmla="*/ 47 h 79"/>
                <a:gd name="T112" fmla="*/ 25 w 75"/>
                <a:gd name="T113" fmla="*/ 33 h 79"/>
                <a:gd name="T114" fmla="*/ 25 w 75"/>
                <a:gd name="T115" fmla="*/ 29 h 79"/>
                <a:gd name="T116" fmla="*/ 25 w 75"/>
                <a:gd name="T117" fmla="*/ 33 h 7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5"/>
                <a:gd name="T178" fmla="*/ 0 h 79"/>
                <a:gd name="T179" fmla="*/ 75 w 75"/>
                <a:gd name="T180" fmla="*/ 79 h 7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5" h="79">
                  <a:moveTo>
                    <a:pt x="50" y="11"/>
                  </a:moveTo>
                  <a:lnTo>
                    <a:pt x="25" y="11"/>
                  </a:lnTo>
                  <a:lnTo>
                    <a:pt x="25" y="8"/>
                  </a:lnTo>
                  <a:lnTo>
                    <a:pt x="50" y="8"/>
                  </a:lnTo>
                  <a:lnTo>
                    <a:pt x="50" y="11"/>
                  </a:lnTo>
                  <a:close/>
                  <a:moveTo>
                    <a:pt x="57" y="29"/>
                  </a:moveTo>
                  <a:lnTo>
                    <a:pt x="57" y="29"/>
                  </a:lnTo>
                  <a:lnTo>
                    <a:pt x="54" y="33"/>
                  </a:lnTo>
                  <a:lnTo>
                    <a:pt x="50" y="33"/>
                  </a:lnTo>
                  <a:lnTo>
                    <a:pt x="54" y="29"/>
                  </a:lnTo>
                  <a:lnTo>
                    <a:pt x="57" y="29"/>
                  </a:lnTo>
                  <a:close/>
                  <a:moveTo>
                    <a:pt x="11" y="29"/>
                  </a:moveTo>
                  <a:lnTo>
                    <a:pt x="15" y="29"/>
                  </a:lnTo>
                  <a:lnTo>
                    <a:pt x="15" y="36"/>
                  </a:lnTo>
                  <a:lnTo>
                    <a:pt x="11" y="36"/>
                  </a:lnTo>
                  <a:lnTo>
                    <a:pt x="15" y="36"/>
                  </a:lnTo>
                  <a:lnTo>
                    <a:pt x="11" y="29"/>
                  </a:lnTo>
                  <a:close/>
                  <a:moveTo>
                    <a:pt x="29" y="43"/>
                  </a:moveTo>
                  <a:lnTo>
                    <a:pt x="25" y="47"/>
                  </a:lnTo>
                  <a:lnTo>
                    <a:pt x="25" y="43"/>
                  </a:lnTo>
                  <a:lnTo>
                    <a:pt x="36" y="43"/>
                  </a:lnTo>
                  <a:lnTo>
                    <a:pt x="36" y="36"/>
                  </a:lnTo>
                  <a:lnTo>
                    <a:pt x="32" y="36"/>
                  </a:lnTo>
                  <a:lnTo>
                    <a:pt x="36" y="33"/>
                  </a:lnTo>
                  <a:lnTo>
                    <a:pt x="36" y="29"/>
                  </a:lnTo>
                  <a:lnTo>
                    <a:pt x="32" y="29"/>
                  </a:lnTo>
                  <a:lnTo>
                    <a:pt x="43" y="29"/>
                  </a:lnTo>
                  <a:lnTo>
                    <a:pt x="40" y="29"/>
                  </a:lnTo>
                  <a:lnTo>
                    <a:pt x="40" y="36"/>
                  </a:lnTo>
                  <a:lnTo>
                    <a:pt x="43" y="36"/>
                  </a:lnTo>
                  <a:lnTo>
                    <a:pt x="47" y="36"/>
                  </a:lnTo>
                  <a:lnTo>
                    <a:pt x="43" y="40"/>
                  </a:lnTo>
                  <a:lnTo>
                    <a:pt x="36" y="40"/>
                  </a:lnTo>
                  <a:lnTo>
                    <a:pt x="40" y="47"/>
                  </a:lnTo>
                  <a:lnTo>
                    <a:pt x="32" y="54"/>
                  </a:lnTo>
                  <a:lnTo>
                    <a:pt x="40" y="58"/>
                  </a:lnTo>
                  <a:lnTo>
                    <a:pt x="47" y="47"/>
                  </a:lnTo>
                  <a:lnTo>
                    <a:pt x="43" y="47"/>
                  </a:lnTo>
                  <a:lnTo>
                    <a:pt x="50" y="47"/>
                  </a:lnTo>
                  <a:lnTo>
                    <a:pt x="50" y="58"/>
                  </a:lnTo>
                  <a:lnTo>
                    <a:pt x="57" y="58"/>
                  </a:lnTo>
                  <a:lnTo>
                    <a:pt x="57" y="47"/>
                  </a:lnTo>
                  <a:lnTo>
                    <a:pt x="68" y="47"/>
                  </a:lnTo>
                  <a:lnTo>
                    <a:pt x="75" y="47"/>
                  </a:lnTo>
                  <a:lnTo>
                    <a:pt x="68" y="33"/>
                  </a:lnTo>
                  <a:lnTo>
                    <a:pt x="61" y="36"/>
                  </a:lnTo>
                  <a:lnTo>
                    <a:pt x="64" y="40"/>
                  </a:lnTo>
                  <a:lnTo>
                    <a:pt x="54" y="40"/>
                  </a:lnTo>
                  <a:lnTo>
                    <a:pt x="64" y="33"/>
                  </a:lnTo>
                  <a:lnTo>
                    <a:pt x="68" y="29"/>
                  </a:lnTo>
                  <a:lnTo>
                    <a:pt x="64" y="29"/>
                  </a:lnTo>
                  <a:lnTo>
                    <a:pt x="75" y="29"/>
                  </a:lnTo>
                  <a:lnTo>
                    <a:pt x="75" y="22"/>
                  </a:lnTo>
                  <a:lnTo>
                    <a:pt x="57" y="22"/>
                  </a:lnTo>
                  <a:lnTo>
                    <a:pt x="64" y="4"/>
                  </a:lnTo>
                  <a:lnTo>
                    <a:pt x="29" y="4"/>
                  </a:lnTo>
                  <a:lnTo>
                    <a:pt x="29" y="0"/>
                  </a:lnTo>
                  <a:lnTo>
                    <a:pt x="18" y="0"/>
                  </a:lnTo>
                  <a:lnTo>
                    <a:pt x="18" y="4"/>
                  </a:lnTo>
                  <a:lnTo>
                    <a:pt x="15" y="8"/>
                  </a:lnTo>
                  <a:lnTo>
                    <a:pt x="11" y="11"/>
                  </a:lnTo>
                  <a:lnTo>
                    <a:pt x="11" y="18"/>
                  </a:lnTo>
                  <a:lnTo>
                    <a:pt x="47" y="18"/>
                  </a:lnTo>
                  <a:lnTo>
                    <a:pt x="47" y="22"/>
                  </a:lnTo>
                  <a:lnTo>
                    <a:pt x="0" y="22"/>
                  </a:lnTo>
                  <a:lnTo>
                    <a:pt x="0" y="29"/>
                  </a:lnTo>
                  <a:lnTo>
                    <a:pt x="7" y="29"/>
                  </a:lnTo>
                  <a:lnTo>
                    <a:pt x="4" y="29"/>
                  </a:lnTo>
                  <a:lnTo>
                    <a:pt x="7" y="36"/>
                  </a:lnTo>
                  <a:lnTo>
                    <a:pt x="0" y="36"/>
                  </a:lnTo>
                  <a:lnTo>
                    <a:pt x="0" y="43"/>
                  </a:lnTo>
                  <a:lnTo>
                    <a:pt x="7" y="43"/>
                  </a:lnTo>
                  <a:lnTo>
                    <a:pt x="0" y="50"/>
                  </a:lnTo>
                  <a:lnTo>
                    <a:pt x="4" y="58"/>
                  </a:lnTo>
                  <a:lnTo>
                    <a:pt x="15" y="47"/>
                  </a:lnTo>
                  <a:lnTo>
                    <a:pt x="15" y="58"/>
                  </a:lnTo>
                  <a:lnTo>
                    <a:pt x="22" y="58"/>
                  </a:lnTo>
                  <a:lnTo>
                    <a:pt x="22" y="61"/>
                  </a:lnTo>
                  <a:lnTo>
                    <a:pt x="0" y="61"/>
                  </a:lnTo>
                  <a:lnTo>
                    <a:pt x="0" y="68"/>
                  </a:lnTo>
                  <a:lnTo>
                    <a:pt x="22" y="68"/>
                  </a:lnTo>
                  <a:lnTo>
                    <a:pt x="11" y="72"/>
                  </a:lnTo>
                  <a:lnTo>
                    <a:pt x="7" y="72"/>
                  </a:lnTo>
                  <a:lnTo>
                    <a:pt x="11" y="79"/>
                  </a:lnTo>
                  <a:lnTo>
                    <a:pt x="25" y="75"/>
                  </a:lnTo>
                  <a:lnTo>
                    <a:pt x="32" y="72"/>
                  </a:lnTo>
                  <a:lnTo>
                    <a:pt x="32" y="68"/>
                  </a:lnTo>
                  <a:lnTo>
                    <a:pt x="47" y="68"/>
                  </a:lnTo>
                  <a:lnTo>
                    <a:pt x="47" y="79"/>
                  </a:lnTo>
                  <a:lnTo>
                    <a:pt x="57" y="79"/>
                  </a:lnTo>
                  <a:lnTo>
                    <a:pt x="57" y="68"/>
                  </a:lnTo>
                  <a:lnTo>
                    <a:pt x="75" y="68"/>
                  </a:lnTo>
                  <a:lnTo>
                    <a:pt x="75" y="61"/>
                  </a:lnTo>
                  <a:lnTo>
                    <a:pt x="57" y="61"/>
                  </a:lnTo>
                  <a:lnTo>
                    <a:pt x="57" y="58"/>
                  </a:lnTo>
                  <a:lnTo>
                    <a:pt x="47" y="58"/>
                  </a:lnTo>
                  <a:lnTo>
                    <a:pt x="47" y="61"/>
                  </a:lnTo>
                  <a:lnTo>
                    <a:pt x="32" y="61"/>
                  </a:lnTo>
                  <a:lnTo>
                    <a:pt x="32" y="58"/>
                  </a:lnTo>
                  <a:lnTo>
                    <a:pt x="29" y="58"/>
                  </a:lnTo>
                  <a:lnTo>
                    <a:pt x="25" y="58"/>
                  </a:lnTo>
                  <a:lnTo>
                    <a:pt x="25" y="50"/>
                  </a:lnTo>
                  <a:lnTo>
                    <a:pt x="29" y="54"/>
                  </a:lnTo>
                  <a:lnTo>
                    <a:pt x="36" y="50"/>
                  </a:lnTo>
                  <a:lnTo>
                    <a:pt x="29" y="43"/>
                  </a:lnTo>
                  <a:close/>
                  <a:moveTo>
                    <a:pt x="64" y="47"/>
                  </a:moveTo>
                  <a:lnTo>
                    <a:pt x="61" y="50"/>
                  </a:lnTo>
                  <a:lnTo>
                    <a:pt x="64" y="58"/>
                  </a:lnTo>
                  <a:lnTo>
                    <a:pt x="68" y="58"/>
                  </a:lnTo>
                  <a:lnTo>
                    <a:pt x="72" y="54"/>
                  </a:lnTo>
                  <a:lnTo>
                    <a:pt x="64" y="47"/>
                  </a:lnTo>
                  <a:close/>
                  <a:moveTo>
                    <a:pt x="25" y="33"/>
                  </a:moveTo>
                  <a:lnTo>
                    <a:pt x="29" y="36"/>
                  </a:lnTo>
                  <a:lnTo>
                    <a:pt x="25" y="36"/>
                  </a:lnTo>
                  <a:lnTo>
                    <a:pt x="25" y="29"/>
                  </a:lnTo>
                  <a:lnTo>
                    <a:pt x="29" y="29"/>
                  </a:lnTo>
                  <a:lnTo>
                    <a:pt x="25"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3" name="Freeform 119"/>
            <p:cNvSpPr>
              <a:spLocks noEditPoints="1"/>
            </p:cNvSpPr>
            <p:nvPr/>
          </p:nvSpPr>
          <p:spPr bwMode="auto">
            <a:xfrm>
              <a:off x="1989" y="3083"/>
              <a:ext cx="79" cy="79"/>
            </a:xfrm>
            <a:custGeom>
              <a:avLst/>
              <a:gdLst>
                <a:gd name="T0" fmla="*/ 11 w 79"/>
                <a:gd name="T1" fmla="*/ 15 h 79"/>
                <a:gd name="T2" fmla="*/ 22 w 79"/>
                <a:gd name="T3" fmla="*/ 11 h 79"/>
                <a:gd name="T4" fmla="*/ 22 w 79"/>
                <a:gd name="T5" fmla="*/ 0 h 79"/>
                <a:gd name="T6" fmla="*/ 7 w 79"/>
                <a:gd name="T7" fmla="*/ 4 h 79"/>
                <a:gd name="T8" fmla="*/ 11 w 79"/>
                <a:gd name="T9" fmla="*/ 15 h 79"/>
                <a:gd name="T10" fmla="*/ 32 w 79"/>
                <a:gd name="T11" fmla="*/ 72 h 79"/>
                <a:gd name="T12" fmla="*/ 18 w 79"/>
                <a:gd name="T13" fmla="*/ 29 h 79"/>
                <a:gd name="T14" fmla="*/ 29 w 79"/>
                <a:gd name="T15" fmla="*/ 22 h 79"/>
                <a:gd name="T16" fmla="*/ 29 w 79"/>
                <a:gd name="T17" fmla="*/ 25 h 79"/>
                <a:gd name="T18" fmla="*/ 36 w 79"/>
                <a:gd name="T19" fmla="*/ 29 h 79"/>
                <a:gd name="T20" fmla="*/ 75 w 79"/>
                <a:gd name="T21" fmla="*/ 18 h 79"/>
                <a:gd name="T22" fmla="*/ 47 w 79"/>
                <a:gd name="T23" fmla="*/ 11 h 79"/>
                <a:gd name="T24" fmla="*/ 50 w 79"/>
                <a:gd name="T25" fmla="*/ 8 h 79"/>
                <a:gd name="T26" fmla="*/ 50 w 79"/>
                <a:gd name="T27" fmla="*/ 4 h 79"/>
                <a:gd name="T28" fmla="*/ 39 w 79"/>
                <a:gd name="T29" fmla="*/ 0 h 79"/>
                <a:gd name="T30" fmla="*/ 39 w 79"/>
                <a:gd name="T31" fmla="*/ 4 h 79"/>
                <a:gd name="T32" fmla="*/ 32 w 79"/>
                <a:gd name="T33" fmla="*/ 18 h 79"/>
                <a:gd name="T34" fmla="*/ 0 w 79"/>
                <a:gd name="T35" fmla="*/ 15 h 79"/>
                <a:gd name="T36" fmla="*/ 7 w 79"/>
                <a:gd name="T37" fmla="*/ 22 h 79"/>
                <a:gd name="T38" fmla="*/ 7 w 79"/>
                <a:gd name="T39" fmla="*/ 40 h 79"/>
                <a:gd name="T40" fmla="*/ 0 w 79"/>
                <a:gd name="T41" fmla="*/ 72 h 79"/>
                <a:gd name="T42" fmla="*/ 0 w 79"/>
                <a:gd name="T43" fmla="*/ 75 h 79"/>
                <a:gd name="T44" fmla="*/ 7 w 79"/>
                <a:gd name="T45" fmla="*/ 79 h 79"/>
                <a:gd name="T46" fmla="*/ 14 w 79"/>
                <a:gd name="T47" fmla="*/ 61 h 79"/>
                <a:gd name="T48" fmla="*/ 22 w 79"/>
                <a:gd name="T49" fmla="*/ 40 h 79"/>
                <a:gd name="T50" fmla="*/ 22 w 79"/>
                <a:gd name="T51" fmla="*/ 65 h 79"/>
                <a:gd name="T52" fmla="*/ 14 w 79"/>
                <a:gd name="T53" fmla="*/ 68 h 79"/>
                <a:gd name="T54" fmla="*/ 14 w 79"/>
                <a:gd name="T55" fmla="*/ 75 h 79"/>
                <a:gd name="T56" fmla="*/ 25 w 79"/>
                <a:gd name="T57" fmla="*/ 75 h 79"/>
                <a:gd name="T58" fmla="*/ 32 w 79"/>
                <a:gd name="T59" fmla="*/ 72 h 79"/>
                <a:gd name="T60" fmla="*/ 39 w 79"/>
                <a:gd name="T61" fmla="*/ 79 h 79"/>
                <a:gd name="T62" fmla="*/ 54 w 79"/>
                <a:gd name="T63" fmla="*/ 61 h 79"/>
                <a:gd name="T64" fmla="*/ 61 w 79"/>
                <a:gd name="T65" fmla="*/ 72 h 79"/>
                <a:gd name="T66" fmla="*/ 72 w 79"/>
                <a:gd name="T67" fmla="*/ 79 h 79"/>
                <a:gd name="T68" fmla="*/ 79 w 79"/>
                <a:gd name="T69" fmla="*/ 68 h 79"/>
                <a:gd name="T70" fmla="*/ 61 w 79"/>
                <a:gd name="T71" fmla="*/ 54 h 79"/>
                <a:gd name="T72" fmla="*/ 75 w 79"/>
                <a:gd name="T73" fmla="*/ 47 h 79"/>
                <a:gd name="T74" fmla="*/ 61 w 79"/>
                <a:gd name="T75" fmla="*/ 36 h 79"/>
                <a:gd name="T76" fmla="*/ 72 w 79"/>
                <a:gd name="T77" fmla="*/ 25 h 79"/>
                <a:gd name="T78" fmla="*/ 54 w 79"/>
                <a:gd name="T79" fmla="*/ 25 h 79"/>
                <a:gd name="T80" fmla="*/ 54 w 79"/>
                <a:gd name="T81" fmla="*/ 22 h 79"/>
                <a:gd name="T82" fmla="*/ 43 w 79"/>
                <a:gd name="T83" fmla="*/ 22 h 79"/>
                <a:gd name="T84" fmla="*/ 39 w 79"/>
                <a:gd name="T85" fmla="*/ 29 h 79"/>
                <a:gd name="T86" fmla="*/ 32 w 79"/>
                <a:gd name="T87" fmla="*/ 40 h 79"/>
                <a:gd name="T88" fmla="*/ 36 w 79"/>
                <a:gd name="T89" fmla="*/ 43 h 79"/>
                <a:gd name="T90" fmla="*/ 39 w 79"/>
                <a:gd name="T91" fmla="*/ 43 h 79"/>
                <a:gd name="T92" fmla="*/ 50 w 79"/>
                <a:gd name="T93" fmla="*/ 36 h 79"/>
                <a:gd name="T94" fmla="*/ 36 w 79"/>
                <a:gd name="T95" fmla="*/ 47 h 79"/>
                <a:gd name="T96" fmla="*/ 50 w 79"/>
                <a:gd name="T97" fmla="*/ 54 h 79"/>
                <a:gd name="T98" fmla="*/ 50 w 79"/>
                <a:gd name="T99" fmla="*/ 54 h 79"/>
                <a:gd name="T100" fmla="*/ 32 w 79"/>
                <a:gd name="T101" fmla="*/ 72 h 79"/>
                <a:gd name="T102" fmla="*/ 32 w 79"/>
                <a:gd name="T103" fmla="*/ 72 h 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
                <a:gd name="T157" fmla="*/ 0 h 79"/>
                <a:gd name="T158" fmla="*/ 79 w 79"/>
                <a:gd name="T159" fmla="*/ 79 h 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 h="79">
                  <a:moveTo>
                    <a:pt x="11" y="15"/>
                  </a:moveTo>
                  <a:lnTo>
                    <a:pt x="11" y="15"/>
                  </a:lnTo>
                  <a:lnTo>
                    <a:pt x="22" y="11"/>
                  </a:lnTo>
                  <a:lnTo>
                    <a:pt x="22" y="0"/>
                  </a:lnTo>
                  <a:lnTo>
                    <a:pt x="7" y="4"/>
                  </a:lnTo>
                  <a:lnTo>
                    <a:pt x="11" y="15"/>
                  </a:lnTo>
                  <a:close/>
                  <a:moveTo>
                    <a:pt x="32" y="72"/>
                  </a:moveTo>
                  <a:lnTo>
                    <a:pt x="32" y="29"/>
                  </a:lnTo>
                  <a:lnTo>
                    <a:pt x="18" y="29"/>
                  </a:lnTo>
                  <a:lnTo>
                    <a:pt x="18" y="22"/>
                  </a:lnTo>
                  <a:lnTo>
                    <a:pt x="29" y="22"/>
                  </a:lnTo>
                  <a:lnTo>
                    <a:pt x="29" y="25"/>
                  </a:lnTo>
                  <a:lnTo>
                    <a:pt x="36" y="29"/>
                  </a:lnTo>
                  <a:lnTo>
                    <a:pt x="43" y="18"/>
                  </a:lnTo>
                  <a:lnTo>
                    <a:pt x="75" y="18"/>
                  </a:lnTo>
                  <a:lnTo>
                    <a:pt x="75" y="11"/>
                  </a:lnTo>
                  <a:lnTo>
                    <a:pt x="47" y="11"/>
                  </a:lnTo>
                  <a:lnTo>
                    <a:pt x="50" y="8"/>
                  </a:lnTo>
                  <a:lnTo>
                    <a:pt x="50" y="4"/>
                  </a:lnTo>
                  <a:lnTo>
                    <a:pt x="39" y="0"/>
                  </a:lnTo>
                  <a:lnTo>
                    <a:pt x="39" y="4"/>
                  </a:lnTo>
                  <a:lnTo>
                    <a:pt x="32" y="18"/>
                  </a:lnTo>
                  <a:lnTo>
                    <a:pt x="32" y="15"/>
                  </a:lnTo>
                  <a:lnTo>
                    <a:pt x="0" y="15"/>
                  </a:lnTo>
                  <a:lnTo>
                    <a:pt x="0" y="22"/>
                  </a:lnTo>
                  <a:lnTo>
                    <a:pt x="7" y="22"/>
                  </a:lnTo>
                  <a:lnTo>
                    <a:pt x="7" y="40"/>
                  </a:lnTo>
                  <a:lnTo>
                    <a:pt x="4" y="58"/>
                  </a:lnTo>
                  <a:lnTo>
                    <a:pt x="0" y="72"/>
                  </a:lnTo>
                  <a:lnTo>
                    <a:pt x="0" y="75"/>
                  </a:lnTo>
                  <a:lnTo>
                    <a:pt x="7" y="79"/>
                  </a:lnTo>
                  <a:lnTo>
                    <a:pt x="14" y="61"/>
                  </a:lnTo>
                  <a:lnTo>
                    <a:pt x="18" y="40"/>
                  </a:lnTo>
                  <a:lnTo>
                    <a:pt x="22" y="40"/>
                  </a:lnTo>
                  <a:lnTo>
                    <a:pt x="22" y="65"/>
                  </a:lnTo>
                  <a:lnTo>
                    <a:pt x="22" y="68"/>
                  </a:lnTo>
                  <a:lnTo>
                    <a:pt x="14" y="68"/>
                  </a:lnTo>
                  <a:lnTo>
                    <a:pt x="14" y="75"/>
                  </a:lnTo>
                  <a:lnTo>
                    <a:pt x="25" y="75"/>
                  </a:lnTo>
                  <a:lnTo>
                    <a:pt x="32" y="72"/>
                  </a:lnTo>
                  <a:lnTo>
                    <a:pt x="39" y="79"/>
                  </a:lnTo>
                  <a:lnTo>
                    <a:pt x="50" y="72"/>
                  </a:lnTo>
                  <a:lnTo>
                    <a:pt x="54" y="61"/>
                  </a:lnTo>
                  <a:lnTo>
                    <a:pt x="61" y="72"/>
                  </a:lnTo>
                  <a:lnTo>
                    <a:pt x="72" y="79"/>
                  </a:lnTo>
                  <a:lnTo>
                    <a:pt x="79" y="68"/>
                  </a:lnTo>
                  <a:lnTo>
                    <a:pt x="68" y="61"/>
                  </a:lnTo>
                  <a:lnTo>
                    <a:pt x="61" y="54"/>
                  </a:lnTo>
                  <a:lnTo>
                    <a:pt x="75" y="54"/>
                  </a:lnTo>
                  <a:lnTo>
                    <a:pt x="75" y="47"/>
                  </a:lnTo>
                  <a:lnTo>
                    <a:pt x="61" y="47"/>
                  </a:lnTo>
                  <a:lnTo>
                    <a:pt x="61" y="36"/>
                  </a:lnTo>
                  <a:lnTo>
                    <a:pt x="72" y="36"/>
                  </a:lnTo>
                  <a:lnTo>
                    <a:pt x="72" y="25"/>
                  </a:lnTo>
                  <a:lnTo>
                    <a:pt x="50" y="25"/>
                  </a:lnTo>
                  <a:lnTo>
                    <a:pt x="54" y="25"/>
                  </a:lnTo>
                  <a:lnTo>
                    <a:pt x="54" y="22"/>
                  </a:lnTo>
                  <a:lnTo>
                    <a:pt x="43" y="22"/>
                  </a:lnTo>
                  <a:lnTo>
                    <a:pt x="39" y="29"/>
                  </a:lnTo>
                  <a:lnTo>
                    <a:pt x="32" y="40"/>
                  </a:lnTo>
                  <a:lnTo>
                    <a:pt x="36" y="43"/>
                  </a:lnTo>
                  <a:lnTo>
                    <a:pt x="39" y="43"/>
                  </a:lnTo>
                  <a:lnTo>
                    <a:pt x="47" y="36"/>
                  </a:lnTo>
                  <a:lnTo>
                    <a:pt x="50" y="36"/>
                  </a:lnTo>
                  <a:lnTo>
                    <a:pt x="50" y="47"/>
                  </a:lnTo>
                  <a:lnTo>
                    <a:pt x="36" y="47"/>
                  </a:lnTo>
                  <a:lnTo>
                    <a:pt x="36" y="54"/>
                  </a:lnTo>
                  <a:lnTo>
                    <a:pt x="50" y="54"/>
                  </a:lnTo>
                  <a:lnTo>
                    <a:pt x="43" y="65"/>
                  </a:lnTo>
                  <a:lnTo>
                    <a:pt x="32" y="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4" name="Freeform 120"/>
            <p:cNvSpPr>
              <a:spLocks noEditPoints="1"/>
            </p:cNvSpPr>
            <p:nvPr/>
          </p:nvSpPr>
          <p:spPr bwMode="auto">
            <a:xfrm>
              <a:off x="2132" y="3083"/>
              <a:ext cx="57" cy="79"/>
            </a:xfrm>
            <a:custGeom>
              <a:avLst/>
              <a:gdLst>
                <a:gd name="T0" fmla="*/ 10 w 57"/>
                <a:gd name="T1" fmla="*/ 79 h 79"/>
                <a:gd name="T2" fmla="*/ 10 w 57"/>
                <a:gd name="T3" fmla="*/ 75 h 79"/>
                <a:gd name="T4" fmla="*/ 46 w 57"/>
                <a:gd name="T5" fmla="*/ 75 h 79"/>
                <a:gd name="T6" fmla="*/ 46 w 57"/>
                <a:gd name="T7" fmla="*/ 79 h 79"/>
                <a:gd name="T8" fmla="*/ 57 w 57"/>
                <a:gd name="T9" fmla="*/ 79 h 79"/>
                <a:gd name="T10" fmla="*/ 57 w 57"/>
                <a:gd name="T11" fmla="*/ 15 h 79"/>
                <a:gd name="T12" fmla="*/ 28 w 57"/>
                <a:gd name="T13" fmla="*/ 15 h 79"/>
                <a:gd name="T14" fmla="*/ 28 w 57"/>
                <a:gd name="T15" fmla="*/ 15 h 79"/>
                <a:gd name="T16" fmla="*/ 32 w 57"/>
                <a:gd name="T17" fmla="*/ 8 h 79"/>
                <a:gd name="T18" fmla="*/ 32 w 57"/>
                <a:gd name="T19" fmla="*/ 8 h 79"/>
                <a:gd name="T20" fmla="*/ 32 w 57"/>
                <a:gd name="T21" fmla="*/ 8 h 79"/>
                <a:gd name="T22" fmla="*/ 32 w 57"/>
                <a:gd name="T23" fmla="*/ 4 h 79"/>
                <a:gd name="T24" fmla="*/ 32 w 57"/>
                <a:gd name="T25" fmla="*/ 4 h 79"/>
                <a:gd name="T26" fmla="*/ 21 w 57"/>
                <a:gd name="T27" fmla="*/ 0 h 79"/>
                <a:gd name="T28" fmla="*/ 21 w 57"/>
                <a:gd name="T29" fmla="*/ 0 h 79"/>
                <a:gd name="T30" fmla="*/ 18 w 57"/>
                <a:gd name="T31" fmla="*/ 4 h 79"/>
                <a:gd name="T32" fmla="*/ 18 w 57"/>
                <a:gd name="T33" fmla="*/ 4 h 79"/>
                <a:gd name="T34" fmla="*/ 18 w 57"/>
                <a:gd name="T35" fmla="*/ 15 h 79"/>
                <a:gd name="T36" fmla="*/ 0 w 57"/>
                <a:gd name="T37" fmla="*/ 15 h 79"/>
                <a:gd name="T38" fmla="*/ 0 w 57"/>
                <a:gd name="T39" fmla="*/ 79 h 79"/>
                <a:gd name="T40" fmla="*/ 0 w 57"/>
                <a:gd name="T41" fmla="*/ 79 h 79"/>
                <a:gd name="T42" fmla="*/ 10 w 57"/>
                <a:gd name="T43" fmla="*/ 79 h 79"/>
                <a:gd name="T44" fmla="*/ 10 w 57"/>
                <a:gd name="T45" fmla="*/ 79 h 79"/>
                <a:gd name="T46" fmla="*/ 46 w 57"/>
                <a:gd name="T47" fmla="*/ 22 h 79"/>
                <a:gd name="T48" fmla="*/ 46 w 57"/>
                <a:gd name="T49" fmla="*/ 33 h 79"/>
                <a:gd name="T50" fmla="*/ 10 w 57"/>
                <a:gd name="T51" fmla="*/ 33 h 79"/>
                <a:gd name="T52" fmla="*/ 10 w 57"/>
                <a:gd name="T53" fmla="*/ 22 h 79"/>
                <a:gd name="T54" fmla="*/ 46 w 57"/>
                <a:gd name="T55" fmla="*/ 22 h 79"/>
                <a:gd name="T56" fmla="*/ 46 w 57"/>
                <a:gd name="T57" fmla="*/ 22 h 79"/>
                <a:gd name="T58" fmla="*/ 46 w 57"/>
                <a:gd name="T59" fmla="*/ 47 h 79"/>
                <a:gd name="T60" fmla="*/ 10 w 57"/>
                <a:gd name="T61" fmla="*/ 47 h 79"/>
                <a:gd name="T62" fmla="*/ 10 w 57"/>
                <a:gd name="T63" fmla="*/ 40 h 79"/>
                <a:gd name="T64" fmla="*/ 46 w 57"/>
                <a:gd name="T65" fmla="*/ 40 h 79"/>
                <a:gd name="T66" fmla="*/ 46 w 57"/>
                <a:gd name="T67" fmla="*/ 47 h 79"/>
                <a:gd name="T68" fmla="*/ 46 w 57"/>
                <a:gd name="T69" fmla="*/ 47 h 79"/>
                <a:gd name="T70" fmla="*/ 46 w 57"/>
                <a:gd name="T71" fmla="*/ 58 h 79"/>
                <a:gd name="T72" fmla="*/ 46 w 57"/>
                <a:gd name="T73" fmla="*/ 65 h 79"/>
                <a:gd name="T74" fmla="*/ 10 w 57"/>
                <a:gd name="T75" fmla="*/ 65 h 79"/>
                <a:gd name="T76" fmla="*/ 10 w 57"/>
                <a:gd name="T77" fmla="*/ 58 h 79"/>
                <a:gd name="T78" fmla="*/ 46 w 57"/>
                <a:gd name="T79" fmla="*/ 58 h 79"/>
                <a:gd name="T80" fmla="*/ 46 w 57"/>
                <a:gd name="T81" fmla="*/ 58 h 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79"/>
                <a:gd name="T125" fmla="*/ 57 w 57"/>
                <a:gd name="T126" fmla="*/ 79 h 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79">
                  <a:moveTo>
                    <a:pt x="10" y="79"/>
                  </a:moveTo>
                  <a:lnTo>
                    <a:pt x="10" y="75"/>
                  </a:lnTo>
                  <a:lnTo>
                    <a:pt x="46" y="75"/>
                  </a:lnTo>
                  <a:lnTo>
                    <a:pt x="46" y="79"/>
                  </a:lnTo>
                  <a:lnTo>
                    <a:pt x="57" y="79"/>
                  </a:lnTo>
                  <a:lnTo>
                    <a:pt x="57" y="15"/>
                  </a:lnTo>
                  <a:lnTo>
                    <a:pt x="28" y="15"/>
                  </a:lnTo>
                  <a:lnTo>
                    <a:pt x="32" y="8"/>
                  </a:lnTo>
                  <a:lnTo>
                    <a:pt x="32" y="4"/>
                  </a:lnTo>
                  <a:lnTo>
                    <a:pt x="21" y="0"/>
                  </a:lnTo>
                  <a:lnTo>
                    <a:pt x="18" y="4"/>
                  </a:lnTo>
                  <a:lnTo>
                    <a:pt x="18" y="15"/>
                  </a:lnTo>
                  <a:lnTo>
                    <a:pt x="0" y="15"/>
                  </a:lnTo>
                  <a:lnTo>
                    <a:pt x="0" y="79"/>
                  </a:lnTo>
                  <a:lnTo>
                    <a:pt x="10" y="79"/>
                  </a:lnTo>
                  <a:close/>
                  <a:moveTo>
                    <a:pt x="46" y="22"/>
                  </a:moveTo>
                  <a:lnTo>
                    <a:pt x="46" y="33"/>
                  </a:lnTo>
                  <a:lnTo>
                    <a:pt x="10" y="33"/>
                  </a:lnTo>
                  <a:lnTo>
                    <a:pt x="10" y="22"/>
                  </a:lnTo>
                  <a:lnTo>
                    <a:pt x="46" y="22"/>
                  </a:lnTo>
                  <a:close/>
                  <a:moveTo>
                    <a:pt x="46" y="47"/>
                  </a:moveTo>
                  <a:lnTo>
                    <a:pt x="10" y="47"/>
                  </a:lnTo>
                  <a:lnTo>
                    <a:pt x="10" y="40"/>
                  </a:lnTo>
                  <a:lnTo>
                    <a:pt x="46" y="40"/>
                  </a:lnTo>
                  <a:lnTo>
                    <a:pt x="46" y="47"/>
                  </a:lnTo>
                  <a:close/>
                  <a:moveTo>
                    <a:pt x="46" y="58"/>
                  </a:moveTo>
                  <a:lnTo>
                    <a:pt x="46" y="65"/>
                  </a:lnTo>
                  <a:lnTo>
                    <a:pt x="10" y="65"/>
                  </a:lnTo>
                  <a:lnTo>
                    <a:pt x="10" y="58"/>
                  </a:lnTo>
                  <a:lnTo>
                    <a:pt x="46" y="5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5" name="Freeform 121"/>
            <p:cNvSpPr>
              <a:spLocks noEditPoints="1"/>
            </p:cNvSpPr>
            <p:nvPr/>
          </p:nvSpPr>
          <p:spPr bwMode="auto">
            <a:xfrm>
              <a:off x="2253" y="3083"/>
              <a:ext cx="82" cy="79"/>
            </a:xfrm>
            <a:custGeom>
              <a:avLst/>
              <a:gdLst>
                <a:gd name="T0" fmla="*/ 57 w 82"/>
                <a:gd name="T1" fmla="*/ 8 h 79"/>
                <a:gd name="T2" fmla="*/ 61 w 82"/>
                <a:gd name="T3" fmla="*/ 4 h 79"/>
                <a:gd name="T4" fmla="*/ 46 w 82"/>
                <a:gd name="T5" fmla="*/ 0 h 79"/>
                <a:gd name="T6" fmla="*/ 39 w 82"/>
                <a:gd name="T7" fmla="*/ 15 h 79"/>
                <a:gd name="T8" fmla="*/ 29 w 82"/>
                <a:gd name="T9" fmla="*/ 29 h 79"/>
                <a:gd name="T10" fmla="*/ 29 w 82"/>
                <a:gd name="T11" fmla="*/ 40 h 79"/>
                <a:gd name="T12" fmla="*/ 68 w 82"/>
                <a:gd name="T13" fmla="*/ 36 h 79"/>
                <a:gd name="T14" fmla="*/ 71 w 82"/>
                <a:gd name="T15" fmla="*/ 40 h 79"/>
                <a:gd name="T16" fmla="*/ 75 w 82"/>
                <a:gd name="T17" fmla="*/ 36 h 79"/>
                <a:gd name="T18" fmla="*/ 82 w 82"/>
                <a:gd name="T19" fmla="*/ 36 h 79"/>
                <a:gd name="T20" fmla="*/ 64 w 82"/>
                <a:gd name="T21" fmla="*/ 11 h 79"/>
                <a:gd name="T22" fmla="*/ 57 w 82"/>
                <a:gd name="T23" fmla="*/ 18 h 79"/>
                <a:gd name="T24" fmla="*/ 46 w 82"/>
                <a:gd name="T25" fmla="*/ 25 h 79"/>
                <a:gd name="T26" fmla="*/ 57 w 82"/>
                <a:gd name="T27" fmla="*/ 8 h 79"/>
                <a:gd name="T28" fmla="*/ 57 w 82"/>
                <a:gd name="T29" fmla="*/ 8 h 79"/>
                <a:gd name="T30" fmla="*/ 32 w 82"/>
                <a:gd name="T31" fmla="*/ 15 h 79"/>
                <a:gd name="T32" fmla="*/ 18 w 82"/>
                <a:gd name="T33" fmla="*/ 0 h 79"/>
                <a:gd name="T34" fmla="*/ 11 w 82"/>
                <a:gd name="T35" fmla="*/ 11 h 79"/>
                <a:gd name="T36" fmla="*/ 14 w 82"/>
                <a:gd name="T37" fmla="*/ 15 h 79"/>
                <a:gd name="T38" fmla="*/ 21 w 82"/>
                <a:gd name="T39" fmla="*/ 22 h 79"/>
                <a:gd name="T40" fmla="*/ 32 w 82"/>
                <a:gd name="T41" fmla="*/ 15 h 79"/>
                <a:gd name="T42" fmla="*/ 21 w 82"/>
                <a:gd name="T43" fmla="*/ 29 h 79"/>
                <a:gd name="T44" fmla="*/ 7 w 82"/>
                <a:gd name="T45" fmla="*/ 22 h 79"/>
                <a:gd name="T46" fmla="*/ 0 w 82"/>
                <a:gd name="T47" fmla="*/ 29 h 79"/>
                <a:gd name="T48" fmla="*/ 14 w 82"/>
                <a:gd name="T49" fmla="*/ 40 h 79"/>
                <a:gd name="T50" fmla="*/ 21 w 82"/>
                <a:gd name="T51" fmla="*/ 29 h 79"/>
                <a:gd name="T52" fmla="*/ 21 w 82"/>
                <a:gd name="T53" fmla="*/ 29 h 79"/>
                <a:gd name="T54" fmla="*/ 11 w 82"/>
                <a:gd name="T55" fmla="*/ 75 h 79"/>
                <a:gd name="T56" fmla="*/ 14 w 82"/>
                <a:gd name="T57" fmla="*/ 79 h 79"/>
                <a:gd name="T58" fmla="*/ 25 w 82"/>
                <a:gd name="T59" fmla="*/ 47 h 79"/>
                <a:gd name="T60" fmla="*/ 21 w 82"/>
                <a:gd name="T61" fmla="*/ 43 h 79"/>
                <a:gd name="T62" fmla="*/ 14 w 82"/>
                <a:gd name="T63" fmla="*/ 43 h 79"/>
                <a:gd name="T64" fmla="*/ 4 w 82"/>
                <a:gd name="T65" fmla="*/ 72 h 79"/>
                <a:gd name="T66" fmla="*/ 11 w 82"/>
                <a:gd name="T67" fmla="*/ 75 h 79"/>
                <a:gd name="T68" fmla="*/ 43 w 82"/>
                <a:gd name="T69" fmla="*/ 72 h 79"/>
                <a:gd name="T70" fmla="*/ 61 w 82"/>
                <a:gd name="T71" fmla="*/ 79 h 79"/>
                <a:gd name="T72" fmla="*/ 71 w 82"/>
                <a:gd name="T73" fmla="*/ 43 h 79"/>
                <a:gd name="T74" fmla="*/ 32 w 82"/>
                <a:gd name="T75" fmla="*/ 79 h 79"/>
                <a:gd name="T76" fmla="*/ 43 w 82"/>
                <a:gd name="T77" fmla="*/ 72 h 79"/>
                <a:gd name="T78" fmla="*/ 61 w 82"/>
                <a:gd name="T79" fmla="*/ 50 h 79"/>
                <a:gd name="T80" fmla="*/ 43 w 82"/>
                <a:gd name="T81" fmla="*/ 65 h 79"/>
                <a:gd name="T82" fmla="*/ 61 w 82"/>
                <a:gd name="T83" fmla="*/ 50 h 79"/>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79"/>
                <a:gd name="T128" fmla="*/ 82 w 82"/>
                <a:gd name="T129" fmla="*/ 79 h 79"/>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79">
                  <a:moveTo>
                    <a:pt x="57" y="8"/>
                  </a:moveTo>
                  <a:lnTo>
                    <a:pt x="57" y="8"/>
                  </a:lnTo>
                  <a:lnTo>
                    <a:pt x="61" y="4"/>
                  </a:lnTo>
                  <a:lnTo>
                    <a:pt x="46" y="0"/>
                  </a:lnTo>
                  <a:lnTo>
                    <a:pt x="39" y="15"/>
                  </a:lnTo>
                  <a:lnTo>
                    <a:pt x="32" y="25"/>
                  </a:lnTo>
                  <a:lnTo>
                    <a:pt x="29" y="29"/>
                  </a:lnTo>
                  <a:lnTo>
                    <a:pt x="29" y="40"/>
                  </a:lnTo>
                  <a:lnTo>
                    <a:pt x="53" y="36"/>
                  </a:lnTo>
                  <a:lnTo>
                    <a:pt x="68" y="36"/>
                  </a:lnTo>
                  <a:lnTo>
                    <a:pt x="71" y="40"/>
                  </a:lnTo>
                  <a:lnTo>
                    <a:pt x="75" y="36"/>
                  </a:lnTo>
                  <a:lnTo>
                    <a:pt x="82" y="36"/>
                  </a:lnTo>
                  <a:lnTo>
                    <a:pt x="64" y="11"/>
                  </a:lnTo>
                  <a:lnTo>
                    <a:pt x="57" y="18"/>
                  </a:lnTo>
                  <a:lnTo>
                    <a:pt x="61" y="25"/>
                  </a:lnTo>
                  <a:lnTo>
                    <a:pt x="46" y="25"/>
                  </a:lnTo>
                  <a:lnTo>
                    <a:pt x="57" y="8"/>
                  </a:lnTo>
                  <a:close/>
                  <a:moveTo>
                    <a:pt x="32" y="15"/>
                  </a:moveTo>
                  <a:lnTo>
                    <a:pt x="32" y="15"/>
                  </a:lnTo>
                  <a:lnTo>
                    <a:pt x="18" y="0"/>
                  </a:lnTo>
                  <a:lnTo>
                    <a:pt x="11" y="11"/>
                  </a:lnTo>
                  <a:lnTo>
                    <a:pt x="14" y="15"/>
                  </a:lnTo>
                  <a:lnTo>
                    <a:pt x="21" y="22"/>
                  </a:lnTo>
                  <a:lnTo>
                    <a:pt x="32" y="15"/>
                  </a:lnTo>
                  <a:close/>
                  <a:moveTo>
                    <a:pt x="21" y="29"/>
                  </a:moveTo>
                  <a:lnTo>
                    <a:pt x="21" y="29"/>
                  </a:lnTo>
                  <a:lnTo>
                    <a:pt x="7" y="22"/>
                  </a:lnTo>
                  <a:lnTo>
                    <a:pt x="0" y="29"/>
                  </a:lnTo>
                  <a:lnTo>
                    <a:pt x="14" y="40"/>
                  </a:lnTo>
                  <a:lnTo>
                    <a:pt x="21" y="29"/>
                  </a:lnTo>
                  <a:close/>
                  <a:moveTo>
                    <a:pt x="11" y="75"/>
                  </a:moveTo>
                  <a:lnTo>
                    <a:pt x="11" y="75"/>
                  </a:lnTo>
                  <a:lnTo>
                    <a:pt x="14" y="79"/>
                  </a:lnTo>
                  <a:lnTo>
                    <a:pt x="25" y="47"/>
                  </a:lnTo>
                  <a:lnTo>
                    <a:pt x="21" y="43"/>
                  </a:lnTo>
                  <a:lnTo>
                    <a:pt x="14" y="43"/>
                  </a:lnTo>
                  <a:lnTo>
                    <a:pt x="4" y="72"/>
                  </a:lnTo>
                  <a:lnTo>
                    <a:pt x="11" y="75"/>
                  </a:lnTo>
                  <a:close/>
                  <a:moveTo>
                    <a:pt x="43" y="72"/>
                  </a:moveTo>
                  <a:lnTo>
                    <a:pt x="61" y="72"/>
                  </a:lnTo>
                  <a:lnTo>
                    <a:pt x="61" y="79"/>
                  </a:lnTo>
                  <a:lnTo>
                    <a:pt x="71" y="79"/>
                  </a:lnTo>
                  <a:lnTo>
                    <a:pt x="71" y="43"/>
                  </a:lnTo>
                  <a:lnTo>
                    <a:pt x="32" y="43"/>
                  </a:lnTo>
                  <a:lnTo>
                    <a:pt x="32" y="79"/>
                  </a:lnTo>
                  <a:lnTo>
                    <a:pt x="43" y="79"/>
                  </a:lnTo>
                  <a:lnTo>
                    <a:pt x="43" y="72"/>
                  </a:lnTo>
                  <a:close/>
                  <a:moveTo>
                    <a:pt x="61" y="50"/>
                  </a:moveTo>
                  <a:lnTo>
                    <a:pt x="61" y="65"/>
                  </a:lnTo>
                  <a:lnTo>
                    <a:pt x="43" y="65"/>
                  </a:lnTo>
                  <a:lnTo>
                    <a:pt x="43" y="50"/>
                  </a:lnTo>
                  <a:lnTo>
                    <a:pt x="61"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6" name="Freeform 122"/>
            <p:cNvSpPr>
              <a:spLocks noEditPoints="1"/>
            </p:cNvSpPr>
            <p:nvPr/>
          </p:nvSpPr>
          <p:spPr bwMode="auto">
            <a:xfrm>
              <a:off x="2388" y="3087"/>
              <a:ext cx="72" cy="75"/>
            </a:xfrm>
            <a:custGeom>
              <a:avLst/>
              <a:gdLst>
                <a:gd name="T0" fmla="*/ 58 w 72"/>
                <a:gd name="T1" fmla="*/ 18 h 75"/>
                <a:gd name="T2" fmla="*/ 47 w 72"/>
                <a:gd name="T3" fmla="*/ 11 h 75"/>
                <a:gd name="T4" fmla="*/ 47 w 72"/>
                <a:gd name="T5" fmla="*/ 4 h 75"/>
                <a:gd name="T6" fmla="*/ 50 w 72"/>
                <a:gd name="T7" fmla="*/ 4 h 75"/>
                <a:gd name="T8" fmla="*/ 47 w 72"/>
                <a:gd name="T9" fmla="*/ 4 h 75"/>
                <a:gd name="T10" fmla="*/ 40 w 72"/>
                <a:gd name="T11" fmla="*/ 4 h 75"/>
                <a:gd name="T12" fmla="*/ 40 w 72"/>
                <a:gd name="T13" fmla="*/ 36 h 75"/>
                <a:gd name="T14" fmla="*/ 33 w 72"/>
                <a:gd name="T15" fmla="*/ 18 h 75"/>
                <a:gd name="T16" fmla="*/ 25 w 72"/>
                <a:gd name="T17" fmla="*/ 7 h 75"/>
                <a:gd name="T18" fmla="*/ 25 w 72"/>
                <a:gd name="T19" fmla="*/ 0 h 75"/>
                <a:gd name="T20" fmla="*/ 25 w 72"/>
                <a:gd name="T21" fmla="*/ 0 h 75"/>
                <a:gd name="T22" fmla="*/ 25 w 72"/>
                <a:gd name="T23" fmla="*/ 0 h 75"/>
                <a:gd name="T24" fmla="*/ 15 w 72"/>
                <a:gd name="T25" fmla="*/ 0 h 75"/>
                <a:gd name="T26" fmla="*/ 15 w 72"/>
                <a:gd name="T27" fmla="*/ 43 h 75"/>
                <a:gd name="T28" fmla="*/ 11 w 72"/>
                <a:gd name="T29" fmla="*/ 57 h 75"/>
                <a:gd name="T30" fmla="*/ 0 w 72"/>
                <a:gd name="T31" fmla="*/ 68 h 75"/>
                <a:gd name="T32" fmla="*/ 11 w 72"/>
                <a:gd name="T33" fmla="*/ 75 h 75"/>
                <a:gd name="T34" fmla="*/ 18 w 72"/>
                <a:gd name="T35" fmla="*/ 64 h 75"/>
                <a:gd name="T36" fmla="*/ 22 w 72"/>
                <a:gd name="T37" fmla="*/ 57 h 75"/>
                <a:gd name="T38" fmla="*/ 25 w 72"/>
                <a:gd name="T39" fmla="*/ 25 h 75"/>
                <a:gd name="T40" fmla="*/ 29 w 72"/>
                <a:gd name="T41" fmla="*/ 46 h 75"/>
                <a:gd name="T42" fmla="*/ 36 w 72"/>
                <a:gd name="T43" fmla="*/ 43 h 75"/>
                <a:gd name="T44" fmla="*/ 40 w 72"/>
                <a:gd name="T45" fmla="*/ 43 h 75"/>
                <a:gd name="T46" fmla="*/ 47 w 72"/>
                <a:gd name="T47" fmla="*/ 71 h 75"/>
                <a:gd name="T48" fmla="*/ 47 w 72"/>
                <a:gd name="T49" fmla="*/ 21 h 75"/>
                <a:gd name="T50" fmla="*/ 54 w 72"/>
                <a:gd name="T51" fmla="*/ 46 h 75"/>
                <a:gd name="T52" fmla="*/ 61 w 72"/>
                <a:gd name="T53" fmla="*/ 75 h 75"/>
                <a:gd name="T54" fmla="*/ 72 w 72"/>
                <a:gd name="T55" fmla="*/ 4 h 75"/>
                <a:gd name="T56" fmla="*/ 72 w 72"/>
                <a:gd name="T57" fmla="*/ 0 h 75"/>
                <a:gd name="T58" fmla="*/ 72 w 72"/>
                <a:gd name="T59" fmla="*/ 0 h 75"/>
                <a:gd name="T60" fmla="*/ 72 w 72"/>
                <a:gd name="T61" fmla="*/ 0 h 75"/>
                <a:gd name="T62" fmla="*/ 61 w 72"/>
                <a:gd name="T63" fmla="*/ 0 h 75"/>
                <a:gd name="T64" fmla="*/ 61 w 72"/>
                <a:gd name="T65" fmla="*/ 36 h 75"/>
                <a:gd name="T66" fmla="*/ 58 w 72"/>
                <a:gd name="T67" fmla="*/ 18 h 75"/>
                <a:gd name="T68" fmla="*/ 11 w 72"/>
                <a:gd name="T69" fmla="*/ 36 h 75"/>
                <a:gd name="T70" fmla="*/ 15 w 72"/>
                <a:gd name="T71" fmla="*/ 21 h 75"/>
                <a:gd name="T72" fmla="*/ 4 w 72"/>
                <a:gd name="T73" fmla="*/ 18 h 75"/>
                <a:gd name="T74" fmla="*/ 4 w 72"/>
                <a:gd name="T75" fmla="*/ 21 h 75"/>
                <a:gd name="T76" fmla="*/ 0 w 72"/>
                <a:gd name="T77" fmla="*/ 43 h 75"/>
                <a:gd name="T78" fmla="*/ 11 w 72"/>
                <a:gd name="T79" fmla="*/ 46 h 75"/>
                <a:gd name="T80" fmla="*/ 11 w 72"/>
                <a:gd name="T81" fmla="*/ 36 h 75"/>
                <a:gd name="T82" fmla="*/ 11 w 72"/>
                <a:gd name="T83" fmla="*/ 36 h 7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2"/>
                <a:gd name="T127" fmla="*/ 0 h 75"/>
                <a:gd name="T128" fmla="*/ 72 w 72"/>
                <a:gd name="T129" fmla="*/ 75 h 7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2" h="75">
                  <a:moveTo>
                    <a:pt x="58" y="18"/>
                  </a:moveTo>
                  <a:lnTo>
                    <a:pt x="58" y="18"/>
                  </a:lnTo>
                  <a:lnTo>
                    <a:pt x="47" y="18"/>
                  </a:lnTo>
                  <a:lnTo>
                    <a:pt x="47" y="11"/>
                  </a:lnTo>
                  <a:lnTo>
                    <a:pt x="47" y="4"/>
                  </a:lnTo>
                  <a:lnTo>
                    <a:pt x="50" y="4"/>
                  </a:lnTo>
                  <a:lnTo>
                    <a:pt x="47" y="4"/>
                  </a:lnTo>
                  <a:lnTo>
                    <a:pt x="40" y="4"/>
                  </a:lnTo>
                  <a:lnTo>
                    <a:pt x="40" y="36"/>
                  </a:lnTo>
                  <a:lnTo>
                    <a:pt x="33" y="18"/>
                  </a:lnTo>
                  <a:lnTo>
                    <a:pt x="25" y="18"/>
                  </a:lnTo>
                  <a:lnTo>
                    <a:pt x="25" y="7"/>
                  </a:lnTo>
                  <a:lnTo>
                    <a:pt x="25" y="0"/>
                  </a:lnTo>
                  <a:lnTo>
                    <a:pt x="15" y="0"/>
                  </a:lnTo>
                  <a:lnTo>
                    <a:pt x="15" y="43"/>
                  </a:lnTo>
                  <a:lnTo>
                    <a:pt x="15" y="50"/>
                  </a:lnTo>
                  <a:lnTo>
                    <a:pt x="11" y="57"/>
                  </a:lnTo>
                  <a:lnTo>
                    <a:pt x="0" y="68"/>
                  </a:lnTo>
                  <a:lnTo>
                    <a:pt x="11" y="75"/>
                  </a:lnTo>
                  <a:lnTo>
                    <a:pt x="18" y="64"/>
                  </a:lnTo>
                  <a:lnTo>
                    <a:pt x="22" y="57"/>
                  </a:lnTo>
                  <a:lnTo>
                    <a:pt x="25" y="39"/>
                  </a:lnTo>
                  <a:lnTo>
                    <a:pt x="25" y="25"/>
                  </a:lnTo>
                  <a:lnTo>
                    <a:pt x="29" y="46"/>
                  </a:lnTo>
                  <a:lnTo>
                    <a:pt x="36" y="43"/>
                  </a:lnTo>
                  <a:lnTo>
                    <a:pt x="40" y="43"/>
                  </a:lnTo>
                  <a:lnTo>
                    <a:pt x="40" y="71"/>
                  </a:lnTo>
                  <a:lnTo>
                    <a:pt x="47" y="71"/>
                  </a:lnTo>
                  <a:lnTo>
                    <a:pt x="47" y="21"/>
                  </a:lnTo>
                  <a:lnTo>
                    <a:pt x="54" y="46"/>
                  </a:lnTo>
                  <a:lnTo>
                    <a:pt x="61" y="43"/>
                  </a:lnTo>
                  <a:lnTo>
                    <a:pt x="61" y="75"/>
                  </a:lnTo>
                  <a:lnTo>
                    <a:pt x="72" y="75"/>
                  </a:lnTo>
                  <a:lnTo>
                    <a:pt x="72" y="4"/>
                  </a:lnTo>
                  <a:lnTo>
                    <a:pt x="72" y="0"/>
                  </a:lnTo>
                  <a:lnTo>
                    <a:pt x="61" y="0"/>
                  </a:lnTo>
                  <a:lnTo>
                    <a:pt x="61" y="36"/>
                  </a:lnTo>
                  <a:lnTo>
                    <a:pt x="58" y="18"/>
                  </a:lnTo>
                  <a:close/>
                  <a:moveTo>
                    <a:pt x="11" y="36"/>
                  </a:moveTo>
                  <a:lnTo>
                    <a:pt x="11" y="36"/>
                  </a:lnTo>
                  <a:lnTo>
                    <a:pt x="15" y="21"/>
                  </a:lnTo>
                  <a:lnTo>
                    <a:pt x="4" y="18"/>
                  </a:lnTo>
                  <a:lnTo>
                    <a:pt x="4" y="21"/>
                  </a:lnTo>
                  <a:lnTo>
                    <a:pt x="0" y="43"/>
                  </a:lnTo>
                  <a:lnTo>
                    <a:pt x="11" y="46"/>
                  </a:lnTo>
                  <a:lnTo>
                    <a:pt x="1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7" name="Freeform 123"/>
            <p:cNvSpPr>
              <a:spLocks noEditPoints="1"/>
            </p:cNvSpPr>
            <p:nvPr/>
          </p:nvSpPr>
          <p:spPr bwMode="auto">
            <a:xfrm>
              <a:off x="1472" y="995"/>
              <a:ext cx="72" cy="74"/>
            </a:xfrm>
            <a:custGeom>
              <a:avLst/>
              <a:gdLst>
                <a:gd name="T0" fmla="*/ 11 w 72"/>
                <a:gd name="T1" fmla="*/ 49 h 74"/>
                <a:gd name="T2" fmla="*/ 15 w 72"/>
                <a:gd name="T3" fmla="*/ 57 h 74"/>
                <a:gd name="T4" fmla="*/ 25 w 72"/>
                <a:gd name="T5" fmla="*/ 57 h 74"/>
                <a:gd name="T6" fmla="*/ 25 w 72"/>
                <a:gd name="T7" fmla="*/ 49 h 74"/>
                <a:gd name="T8" fmla="*/ 29 w 72"/>
                <a:gd name="T9" fmla="*/ 42 h 74"/>
                <a:gd name="T10" fmla="*/ 22 w 72"/>
                <a:gd name="T11" fmla="*/ 28 h 74"/>
                <a:gd name="T12" fmla="*/ 29 w 72"/>
                <a:gd name="T13" fmla="*/ 0 h 74"/>
                <a:gd name="T14" fmla="*/ 0 w 72"/>
                <a:gd name="T15" fmla="*/ 71 h 74"/>
                <a:gd name="T16" fmla="*/ 11 w 72"/>
                <a:gd name="T17" fmla="*/ 71 h 74"/>
                <a:gd name="T18" fmla="*/ 18 w 72"/>
                <a:gd name="T19" fmla="*/ 10 h 74"/>
                <a:gd name="T20" fmla="*/ 11 w 72"/>
                <a:gd name="T21" fmla="*/ 10 h 74"/>
                <a:gd name="T22" fmla="*/ 18 w 72"/>
                <a:gd name="T23" fmla="*/ 10 h 74"/>
                <a:gd name="T24" fmla="*/ 47 w 72"/>
                <a:gd name="T25" fmla="*/ 49 h 74"/>
                <a:gd name="T26" fmla="*/ 54 w 72"/>
                <a:gd name="T27" fmla="*/ 53 h 74"/>
                <a:gd name="T28" fmla="*/ 29 w 72"/>
                <a:gd name="T29" fmla="*/ 17 h 74"/>
                <a:gd name="T30" fmla="*/ 40 w 72"/>
                <a:gd name="T31" fmla="*/ 57 h 74"/>
                <a:gd name="T32" fmla="*/ 40 w 72"/>
                <a:gd name="T33" fmla="*/ 49 h 74"/>
                <a:gd name="T34" fmla="*/ 40 w 72"/>
                <a:gd name="T35" fmla="*/ 42 h 74"/>
                <a:gd name="T36" fmla="*/ 47 w 72"/>
                <a:gd name="T37" fmla="*/ 25 h 74"/>
                <a:gd name="T38" fmla="*/ 47 w 72"/>
                <a:gd name="T39" fmla="*/ 42 h 74"/>
                <a:gd name="T40" fmla="*/ 11 w 72"/>
                <a:gd name="T41" fmla="*/ 28 h 74"/>
                <a:gd name="T42" fmla="*/ 15 w 72"/>
                <a:gd name="T43" fmla="*/ 35 h 74"/>
                <a:gd name="T44" fmla="*/ 15 w 72"/>
                <a:gd name="T45" fmla="*/ 46 h 74"/>
                <a:gd name="T46" fmla="*/ 11 w 72"/>
                <a:gd name="T47" fmla="*/ 46 h 74"/>
                <a:gd name="T48" fmla="*/ 29 w 72"/>
                <a:gd name="T49" fmla="*/ 10 h 74"/>
                <a:gd name="T50" fmla="*/ 57 w 72"/>
                <a:gd name="T51" fmla="*/ 57 h 74"/>
                <a:gd name="T52" fmla="*/ 57 w 72"/>
                <a:gd name="T53" fmla="*/ 64 h 74"/>
                <a:gd name="T54" fmla="*/ 47 w 72"/>
                <a:gd name="T55" fmla="*/ 64 h 74"/>
                <a:gd name="T56" fmla="*/ 50 w 72"/>
                <a:gd name="T57" fmla="*/ 74 h 74"/>
                <a:gd name="T58" fmla="*/ 64 w 72"/>
                <a:gd name="T59" fmla="*/ 71 h 74"/>
                <a:gd name="T60" fmla="*/ 68 w 72"/>
                <a:gd name="T61" fmla="*/ 64 h 74"/>
                <a:gd name="T62" fmla="*/ 72 w 72"/>
                <a:gd name="T63" fmla="*/ 10 h 74"/>
                <a:gd name="T64" fmla="*/ 29 w 72"/>
                <a:gd name="T65" fmla="*/ 3 h 74"/>
                <a:gd name="T66" fmla="*/ 29 w 72"/>
                <a:gd name="T67" fmla="*/ 10 h 7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72"/>
                <a:gd name="T103" fmla="*/ 0 h 74"/>
                <a:gd name="T104" fmla="*/ 72 w 72"/>
                <a:gd name="T105" fmla="*/ 74 h 7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72" h="74">
                  <a:moveTo>
                    <a:pt x="11" y="71"/>
                  </a:moveTo>
                  <a:lnTo>
                    <a:pt x="11" y="49"/>
                  </a:lnTo>
                  <a:lnTo>
                    <a:pt x="15" y="57"/>
                  </a:lnTo>
                  <a:lnTo>
                    <a:pt x="25" y="57"/>
                  </a:lnTo>
                  <a:lnTo>
                    <a:pt x="25" y="49"/>
                  </a:lnTo>
                  <a:lnTo>
                    <a:pt x="29" y="42"/>
                  </a:lnTo>
                  <a:lnTo>
                    <a:pt x="25" y="35"/>
                  </a:lnTo>
                  <a:lnTo>
                    <a:pt x="22" y="28"/>
                  </a:lnTo>
                  <a:lnTo>
                    <a:pt x="29" y="0"/>
                  </a:lnTo>
                  <a:lnTo>
                    <a:pt x="0" y="0"/>
                  </a:lnTo>
                  <a:lnTo>
                    <a:pt x="0" y="71"/>
                  </a:lnTo>
                  <a:lnTo>
                    <a:pt x="11" y="71"/>
                  </a:lnTo>
                  <a:close/>
                  <a:moveTo>
                    <a:pt x="18" y="10"/>
                  </a:moveTo>
                  <a:lnTo>
                    <a:pt x="18" y="10"/>
                  </a:lnTo>
                  <a:lnTo>
                    <a:pt x="11" y="28"/>
                  </a:lnTo>
                  <a:lnTo>
                    <a:pt x="11" y="10"/>
                  </a:lnTo>
                  <a:lnTo>
                    <a:pt x="18" y="10"/>
                  </a:lnTo>
                  <a:close/>
                  <a:moveTo>
                    <a:pt x="40" y="49"/>
                  </a:moveTo>
                  <a:lnTo>
                    <a:pt x="47" y="49"/>
                  </a:lnTo>
                  <a:lnTo>
                    <a:pt x="47" y="53"/>
                  </a:lnTo>
                  <a:lnTo>
                    <a:pt x="54" y="53"/>
                  </a:lnTo>
                  <a:lnTo>
                    <a:pt x="54" y="17"/>
                  </a:lnTo>
                  <a:lnTo>
                    <a:pt x="29" y="17"/>
                  </a:lnTo>
                  <a:lnTo>
                    <a:pt x="29" y="57"/>
                  </a:lnTo>
                  <a:lnTo>
                    <a:pt x="40" y="57"/>
                  </a:lnTo>
                  <a:lnTo>
                    <a:pt x="40" y="49"/>
                  </a:lnTo>
                  <a:close/>
                  <a:moveTo>
                    <a:pt x="47" y="42"/>
                  </a:moveTo>
                  <a:lnTo>
                    <a:pt x="40" y="42"/>
                  </a:lnTo>
                  <a:lnTo>
                    <a:pt x="40" y="25"/>
                  </a:lnTo>
                  <a:lnTo>
                    <a:pt x="47" y="25"/>
                  </a:lnTo>
                  <a:lnTo>
                    <a:pt x="47" y="42"/>
                  </a:lnTo>
                  <a:close/>
                  <a:moveTo>
                    <a:pt x="11" y="46"/>
                  </a:moveTo>
                  <a:lnTo>
                    <a:pt x="11" y="28"/>
                  </a:lnTo>
                  <a:lnTo>
                    <a:pt x="15" y="35"/>
                  </a:lnTo>
                  <a:lnTo>
                    <a:pt x="18" y="42"/>
                  </a:lnTo>
                  <a:lnTo>
                    <a:pt x="15" y="46"/>
                  </a:lnTo>
                  <a:lnTo>
                    <a:pt x="11" y="46"/>
                  </a:lnTo>
                  <a:close/>
                  <a:moveTo>
                    <a:pt x="29" y="10"/>
                  </a:moveTo>
                  <a:lnTo>
                    <a:pt x="57" y="10"/>
                  </a:lnTo>
                  <a:lnTo>
                    <a:pt x="57" y="57"/>
                  </a:lnTo>
                  <a:lnTo>
                    <a:pt x="57" y="64"/>
                  </a:lnTo>
                  <a:lnTo>
                    <a:pt x="47" y="64"/>
                  </a:lnTo>
                  <a:lnTo>
                    <a:pt x="50" y="74"/>
                  </a:lnTo>
                  <a:lnTo>
                    <a:pt x="64" y="71"/>
                  </a:lnTo>
                  <a:lnTo>
                    <a:pt x="68" y="71"/>
                  </a:lnTo>
                  <a:lnTo>
                    <a:pt x="68" y="64"/>
                  </a:lnTo>
                  <a:lnTo>
                    <a:pt x="68" y="10"/>
                  </a:lnTo>
                  <a:lnTo>
                    <a:pt x="72" y="10"/>
                  </a:lnTo>
                  <a:lnTo>
                    <a:pt x="72" y="3"/>
                  </a:lnTo>
                  <a:lnTo>
                    <a:pt x="29" y="3"/>
                  </a:lnTo>
                  <a:lnTo>
                    <a:pt x="29"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8" name="Freeform 124"/>
            <p:cNvSpPr>
              <a:spLocks noEditPoints="1"/>
            </p:cNvSpPr>
            <p:nvPr/>
          </p:nvSpPr>
          <p:spPr bwMode="auto">
            <a:xfrm>
              <a:off x="1601" y="995"/>
              <a:ext cx="82" cy="74"/>
            </a:xfrm>
            <a:custGeom>
              <a:avLst/>
              <a:gdLst>
                <a:gd name="T0" fmla="*/ 3 w 82"/>
                <a:gd name="T1" fmla="*/ 28 h 74"/>
                <a:gd name="T2" fmla="*/ 10 w 82"/>
                <a:gd name="T3" fmla="*/ 49 h 74"/>
                <a:gd name="T4" fmla="*/ 0 w 82"/>
                <a:gd name="T5" fmla="*/ 49 h 74"/>
                <a:gd name="T6" fmla="*/ 3 w 82"/>
                <a:gd name="T7" fmla="*/ 57 h 74"/>
                <a:gd name="T8" fmla="*/ 3 w 82"/>
                <a:gd name="T9" fmla="*/ 60 h 74"/>
                <a:gd name="T10" fmla="*/ 17 w 82"/>
                <a:gd name="T11" fmla="*/ 57 h 74"/>
                <a:gd name="T12" fmla="*/ 32 w 82"/>
                <a:gd name="T13" fmla="*/ 53 h 74"/>
                <a:gd name="T14" fmla="*/ 28 w 82"/>
                <a:gd name="T15" fmla="*/ 49 h 74"/>
                <a:gd name="T16" fmla="*/ 28 w 82"/>
                <a:gd name="T17" fmla="*/ 42 h 74"/>
                <a:gd name="T18" fmla="*/ 21 w 82"/>
                <a:gd name="T19" fmla="*/ 46 h 74"/>
                <a:gd name="T20" fmla="*/ 32 w 82"/>
                <a:gd name="T21" fmla="*/ 28 h 74"/>
                <a:gd name="T22" fmla="*/ 21 w 82"/>
                <a:gd name="T23" fmla="*/ 17 h 74"/>
                <a:gd name="T24" fmla="*/ 21 w 82"/>
                <a:gd name="T25" fmla="*/ 3 h 74"/>
                <a:gd name="T26" fmla="*/ 21 w 82"/>
                <a:gd name="T27" fmla="*/ 0 h 74"/>
                <a:gd name="T28" fmla="*/ 21 w 82"/>
                <a:gd name="T29" fmla="*/ 0 h 74"/>
                <a:gd name="T30" fmla="*/ 17 w 82"/>
                <a:gd name="T31" fmla="*/ 0 h 74"/>
                <a:gd name="T32" fmla="*/ 10 w 82"/>
                <a:gd name="T33" fmla="*/ 17 h 74"/>
                <a:gd name="T34" fmla="*/ 3 w 82"/>
                <a:gd name="T35" fmla="*/ 17 h 74"/>
                <a:gd name="T36" fmla="*/ 42 w 82"/>
                <a:gd name="T37" fmla="*/ 10 h 74"/>
                <a:gd name="T38" fmla="*/ 64 w 82"/>
                <a:gd name="T39" fmla="*/ 53 h 74"/>
                <a:gd name="T40" fmla="*/ 74 w 82"/>
                <a:gd name="T41" fmla="*/ 0 h 74"/>
                <a:gd name="T42" fmla="*/ 32 w 82"/>
                <a:gd name="T43" fmla="*/ 53 h 74"/>
                <a:gd name="T44" fmla="*/ 42 w 82"/>
                <a:gd name="T45" fmla="*/ 53 h 74"/>
                <a:gd name="T46" fmla="*/ 21 w 82"/>
                <a:gd name="T47" fmla="*/ 64 h 74"/>
                <a:gd name="T48" fmla="*/ 28 w 82"/>
                <a:gd name="T49" fmla="*/ 74 h 74"/>
                <a:gd name="T50" fmla="*/ 53 w 82"/>
                <a:gd name="T51" fmla="*/ 60 h 74"/>
                <a:gd name="T52" fmla="*/ 74 w 82"/>
                <a:gd name="T53" fmla="*/ 74 h 74"/>
                <a:gd name="T54" fmla="*/ 82 w 82"/>
                <a:gd name="T55" fmla="*/ 64 h 74"/>
                <a:gd name="T56" fmla="*/ 57 w 82"/>
                <a:gd name="T57" fmla="*/ 49 h 74"/>
                <a:gd name="T58" fmla="*/ 57 w 82"/>
                <a:gd name="T59" fmla="*/ 39 h 74"/>
                <a:gd name="T60" fmla="*/ 57 w 82"/>
                <a:gd name="T61" fmla="*/ 21 h 74"/>
                <a:gd name="T62" fmla="*/ 60 w 82"/>
                <a:gd name="T63" fmla="*/ 17 h 74"/>
                <a:gd name="T64" fmla="*/ 60 w 82"/>
                <a:gd name="T65" fmla="*/ 14 h 74"/>
                <a:gd name="T66" fmla="*/ 57 w 82"/>
                <a:gd name="T67" fmla="*/ 14 h 74"/>
                <a:gd name="T68" fmla="*/ 46 w 82"/>
                <a:gd name="T69" fmla="*/ 14 h 74"/>
                <a:gd name="T70" fmla="*/ 46 w 82"/>
                <a:gd name="T71" fmla="*/ 42 h 74"/>
                <a:gd name="T72" fmla="*/ 42 w 82"/>
                <a:gd name="T73" fmla="*/ 57 h 74"/>
                <a:gd name="T74" fmla="*/ 21 w 82"/>
                <a:gd name="T75" fmla="*/ 64 h 74"/>
                <a:gd name="T76" fmla="*/ 21 w 82"/>
                <a:gd name="T77" fmla="*/ 64 h 7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82"/>
                <a:gd name="T118" fmla="*/ 0 h 74"/>
                <a:gd name="T119" fmla="*/ 82 w 82"/>
                <a:gd name="T120" fmla="*/ 74 h 7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82" h="74">
                  <a:moveTo>
                    <a:pt x="3" y="17"/>
                  </a:moveTo>
                  <a:lnTo>
                    <a:pt x="3" y="28"/>
                  </a:lnTo>
                  <a:lnTo>
                    <a:pt x="10" y="28"/>
                  </a:lnTo>
                  <a:lnTo>
                    <a:pt x="10" y="49"/>
                  </a:lnTo>
                  <a:lnTo>
                    <a:pt x="0" y="49"/>
                  </a:lnTo>
                  <a:lnTo>
                    <a:pt x="3" y="57"/>
                  </a:lnTo>
                  <a:lnTo>
                    <a:pt x="3" y="60"/>
                  </a:lnTo>
                  <a:lnTo>
                    <a:pt x="17" y="57"/>
                  </a:lnTo>
                  <a:lnTo>
                    <a:pt x="32" y="53"/>
                  </a:lnTo>
                  <a:lnTo>
                    <a:pt x="28" y="49"/>
                  </a:lnTo>
                  <a:lnTo>
                    <a:pt x="28" y="42"/>
                  </a:lnTo>
                  <a:lnTo>
                    <a:pt x="21" y="46"/>
                  </a:lnTo>
                  <a:lnTo>
                    <a:pt x="21" y="28"/>
                  </a:lnTo>
                  <a:lnTo>
                    <a:pt x="32" y="28"/>
                  </a:lnTo>
                  <a:lnTo>
                    <a:pt x="32" y="17"/>
                  </a:lnTo>
                  <a:lnTo>
                    <a:pt x="21" y="17"/>
                  </a:lnTo>
                  <a:lnTo>
                    <a:pt x="21" y="3"/>
                  </a:lnTo>
                  <a:lnTo>
                    <a:pt x="21" y="0"/>
                  </a:lnTo>
                  <a:lnTo>
                    <a:pt x="17" y="0"/>
                  </a:lnTo>
                  <a:lnTo>
                    <a:pt x="10" y="0"/>
                  </a:lnTo>
                  <a:lnTo>
                    <a:pt x="10" y="17"/>
                  </a:lnTo>
                  <a:lnTo>
                    <a:pt x="3" y="17"/>
                  </a:lnTo>
                  <a:close/>
                  <a:moveTo>
                    <a:pt x="42" y="53"/>
                  </a:moveTo>
                  <a:lnTo>
                    <a:pt x="42" y="10"/>
                  </a:lnTo>
                  <a:lnTo>
                    <a:pt x="64" y="10"/>
                  </a:lnTo>
                  <a:lnTo>
                    <a:pt x="64" y="53"/>
                  </a:lnTo>
                  <a:lnTo>
                    <a:pt x="74" y="53"/>
                  </a:lnTo>
                  <a:lnTo>
                    <a:pt x="74" y="0"/>
                  </a:lnTo>
                  <a:lnTo>
                    <a:pt x="32" y="0"/>
                  </a:lnTo>
                  <a:lnTo>
                    <a:pt x="32" y="53"/>
                  </a:lnTo>
                  <a:lnTo>
                    <a:pt x="42" y="53"/>
                  </a:lnTo>
                  <a:close/>
                  <a:moveTo>
                    <a:pt x="21" y="64"/>
                  </a:moveTo>
                  <a:lnTo>
                    <a:pt x="21" y="64"/>
                  </a:lnTo>
                  <a:lnTo>
                    <a:pt x="28" y="74"/>
                  </a:lnTo>
                  <a:lnTo>
                    <a:pt x="42" y="67"/>
                  </a:lnTo>
                  <a:lnTo>
                    <a:pt x="53" y="60"/>
                  </a:lnTo>
                  <a:lnTo>
                    <a:pt x="74" y="74"/>
                  </a:lnTo>
                  <a:lnTo>
                    <a:pt x="82" y="64"/>
                  </a:lnTo>
                  <a:lnTo>
                    <a:pt x="57" y="49"/>
                  </a:lnTo>
                  <a:lnTo>
                    <a:pt x="57" y="39"/>
                  </a:lnTo>
                  <a:lnTo>
                    <a:pt x="57" y="21"/>
                  </a:lnTo>
                  <a:lnTo>
                    <a:pt x="60" y="17"/>
                  </a:lnTo>
                  <a:lnTo>
                    <a:pt x="60" y="14"/>
                  </a:lnTo>
                  <a:lnTo>
                    <a:pt x="57" y="14"/>
                  </a:lnTo>
                  <a:lnTo>
                    <a:pt x="46" y="14"/>
                  </a:lnTo>
                  <a:lnTo>
                    <a:pt x="46" y="42"/>
                  </a:lnTo>
                  <a:lnTo>
                    <a:pt x="46" y="49"/>
                  </a:lnTo>
                  <a:lnTo>
                    <a:pt x="42" y="57"/>
                  </a:lnTo>
                  <a:lnTo>
                    <a:pt x="32" y="60"/>
                  </a:lnTo>
                  <a:lnTo>
                    <a:pt x="21" y="6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29" name="Freeform 125"/>
            <p:cNvSpPr>
              <a:spLocks noEditPoints="1"/>
            </p:cNvSpPr>
            <p:nvPr/>
          </p:nvSpPr>
          <p:spPr bwMode="auto">
            <a:xfrm>
              <a:off x="1733" y="991"/>
              <a:ext cx="82" cy="78"/>
            </a:xfrm>
            <a:custGeom>
              <a:avLst/>
              <a:gdLst>
                <a:gd name="T0" fmla="*/ 35 w 82"/>
                <a:gd name="T1" fmla="*/ 14 h 78"/>
                <a:gd name="T2" fmla="*/ 53 w 82"/>
                <a:gd name="T3" fmla="*/ 18 h 78"/>
                <a:gd name="T4" fmla="*/ 17 w 82"/>
                <a:gd name="T5" fmla="*/ 32 h 78"/>
                <a:gd name="T6" fmla="*/ 14 w 82"/>
                <a:gd name="T7" fmla="*/ 25 h 78"/>
                <a:gd name="T8" fmla="*/ 14 w 82"/>
                <a:gd name="T9" fmla="*/ 18 h 78"/>
                <a:gd name="T10" fmla="*/ 7 w 82"/>
                <a:gd name="T11" fmla="*/ 39 h 78"/>
                <a:gd name="T12" fmla="*/ 3 w 82"/>
                <a:gd name="T13" fmla="*/ 43 h 78"/>
                <a:gd name="T14" fmla="*/ 7 w 82"/>
                <a:gd name="T15" fmla="*/ 50 h 78"/>
                <a:gd name="T16" fmla="*/ 0 w 82"/>
                <a:gd name="T17" fmla="*/ 71 h 78"/>
                <a:gd name="T18" fmla="*/ 14 w 82"/>
                <a:gd name="T19" fmla="*/ 64 h 78"/>
                <a:gd name="T20" fmla="*/ 17 w 82"/>
                <a:gd name="T21" fmla="*/ 53 h 78"/>
                <a:gd name="T22" fmla="*/ 10 w 82"/>
                <a:gd name="T23" fmla="*/ 75 h 78"/>
                <a:gd name="T24" fmla="*/ 17 w 82"/>
                <a:gd name="T25" fmla="*/ 78 h 78"/>
                <a:gd name="T26" fmla="*/ 28 w 82"/>
                <a:gd name="T27" fmla="*/ 29 h 78"/>
                <a:gd name="T28" fmla="*/ 28 w 82"/>
                <a:gd name="T29" fmla="*/ 32 h 78"/>
                <a:gd name="T30" fmla="*/ 35 w 82"/>
                <a:gd name="T31" fmla="*/ 71 h 78"/>
                <a:gd name="T32" fmla="*/ 46 w 82"/>
                <a:gd name="T33" fmla="*/ 71 h 78"/>
                <a:gd name="T34" fmla="*/ 46 w 82"/>
                <a:gd name="T35" fmla="*/ 75 h 78"/>
                <a:gd name="T36" fmla="*/ 57 w 82"/>
                <a:gd name="T37" fmla="*/ 78 h 78"/>
                <a:gd name="T38" fmla="*/ 64 w 82"/>
                <a:gd name="T39" fmla="*/ 71 h 78"/>
                <a:gd name="T40" fmla="*/ 74 w 82"/>
                <a:gd name="T41" fmla="*/ 78 h 78"/>
                <a:gd name="T42" fmla="*/ 82 w 82"/>
                <a:gd name="T43" fmla="*/ 64 h 78"/>
                <a:gd name="T44" fmla="*/ 71 w 82"/>
                <a:gd name="T45" fmla="*/ 64 h 78"/>
                <a:gd name="T46" fmla="*/ 71 w 82"/>
                <a:gd name="T47" fmla="*/ 61 h 78"/>
                <a:gd name="T48" fmla="*/ 78 w 82"/>
                <a:gd name="T49" fmla="*/ 39 h 78"/>
                <a:gd name="T50" fmla="*/ 78 w 82"/>
                <a:gd name="T51" fmla="*/ 36 h 78"/>
                <a:gd name="T52" fmla="*/ 67 w 82"/>
                <a:gd name="T53" fmla="*/ 32 h 78"/>
                <a:gd name="T54" fmla="*/ 64 w 82"/>
                <a:gd name="T55" fmla="*/ 46 h 78"/>
                <a:gd name="T56" fmla="*/ 78 w 82"/>
                <a:gd name="T57" fmla="*/ 29 h 78"/>
                <a:gd name="T58" fmla="*/ 71 w 82"/>
                <a:gd name="T59" fmla="*/ 21 h 78"/>
                <a:gd name="T60" fmla="*/ 71 w 82"/>
                <a:gd name="T61" fmla="*/ 14 h 78"/>
                <a:gd name="T62" fmla="*/ 57 w 82"/>
                <a:gd name="T63" fmla="*/ 7 h 78"/>
                <a:gd name="T64" fmla="*/ 57 w 82"/>
                <a:gd name="T65" fmla="*/ 4 h 78"/>
                <a:gd name="T66" fmla="*/ 57 w 82"/>
                <a:gd name="T67" fmla="*/ 0 h 78"/>
                <a:gd name="T68" fmla="*/ 35 w 82"/>
                <a:gd name="T69" fmla="*/ 7 h 78"/>
                <a:gd name="T70" fmla="*/ 39 w 82"/>
                <a:gd name="T71" fmla="*/ 4 h 78"/>
                <a:gd name="T72" fmla="*/ 39 w 82"/>
                <a:gd name="T73" fmla="*/ 0 h 78"/>
                <a:gd name="T74" fmla="*/ 3 w 82"/>
                <a:gd name="T75" fmla="*/ 7 h 78"/>
                <a:gd name="T76" fmla="*/ 24 w 82"/>
                <a:gd name="T77" fmla="*/ 18 h 78"/>
                <a:gd name="T78" fmla="*/ 42 w 82"/>
                <a:gd name="T79" fmla="*/ 43 h 78"/>
                <a:gd name="T80" fmla="*/ 42 w 82"/>
                <a:gd name="T81" fmla="*/ 39 h 78"/>
                <a:gd name="T82" fmla="*/ 57 w 82"/>
                <a:gd name="T83" fmla="*/ 61 h 78"/>
                <a:gd name="T84" fmla="*/ 49 w 82"/>
                <a:gd name="T85" fmla="*/ 64 h 78"/>
                <a:gd name="T86" fmla="*/ 53 w 82"/>
                <a:gd name="T87" fmla="*/ 43 h 78"/>
                <a:gd name="T88" fmla="*/ 53 w 82"/>
                <a:gd name="T89" fmla="*/ 39 h 78"/>
                <a:gd name="T90" fmla="*/ 57 w 82"/>
                <a:gd name="T91" fmla="*/ 61 h 78"/>
                <a:gd name="T92" fmla="*/ 46 w 82"/>
                <a:gd name="T93" fmla="*/ 53 h 78"/>
                <a:gd name="T94" fmla="*/ 46 w 82"/>
                <a:gd name="T95" fmla="*/ 50 h 78"/>
                <a:gd name="T96" fmla="*/ 39 w 82"/>
                <a:gd name="T97" fmla="*/ 64 h 78"/>
                <a:gd name="T98" fmla="*/ 39 w 82"/>
                <a:gd name="T99" fmla="*/ 61 h 78"/>
                <a:gd name="T100" fmla="*/ 64 w 82"/>
                <a:gd name="T101" fmla="*/ 18 h 78"/>
                <a:gd name="T102" fmla="*/ 57 w 82"/>
                <a:gd name="T103" fmla="*/ 18 h 78"/>
                <a:gd name="T104" fmla="*/ 64 w 82"/>
                <a:gd name="T105" fmla="*/ 18 h 78"/>
                <a:gd name="T106" fmla="*/ 67 w 82"/>
                <a:gd name="T107" fmla="*/ 18 h 78"/>
                <a:gd name="T108" fmla="*/ 64 w 82"/>
                <a:gd name="T109" fmla="*/ 21 h 78"/>
                <a:gd name="T110" fmla="*/ 64 w 82"/>
                <a:gd name="T111" fmla="*/ 18 h 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2"/>
                <a:gd name="T169" fmla="*/ 0 h 78"/>
                <a:gd name="T170" fmla="*/ 82 w 82"/>
                <a:gd name="T171" fmla="*/ 78 h 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2" h="78">
                  <a:moveTo>
                    <a:pt x="24" y="18"/>
                  </a:moveTo>
                  <a:lnTo>
                    <a:pt x="35" y="18"/>
                  </a:lnTo>
                  <a:lnTo>
                    <a:pt x="35" y="14"/>
                  </a:lnTo>
                  <a:lnTo>
                    <a:pt x="46" y="14"/>
                  </a:lnTo>
                  <a:lnTo>
                    <a:pt x="46" y="18"/>
                  </a:lnTo>
                  <a:lnTo>
                    <a:pt x="53" y="18"/>
                  </a:lnTo>
                  <a:lnTo>
                    <a:pt x="53" y="21"/>
                  </a:lnTo>
                  <a:lnTo>
                    <a:pt x="17" y="21"/>
                  </a:lnTo>
                  <a:lnTo>
                    <a:pt x="17" y="32"/>
                  </a:lnTo>
                  <a:lnTo>
                    <a:pt x="14" y="32"/>
                  </a:lnTo>
                  <a:lnTo>
                    <a:pt x="14" y="25"/>
                  </a:lnTo>
                  <a:lnTo>
                    <a:pt x="14" y="21"/>
                  </a:lnTo>
                  <a:lnTo>
                    <a:pt x="14" y="18"/>
                  </a:lnTo>
                  <a:lnTo>
                    <a:pt x="7" y="18"/>
                  </a:lnTo>
                  <a:lnTo>
                    <a:pt x="7" y="39"/>
                  </a:lnTo>
                  <a:lnTo>
                    <a:pt x="17" y="39"/>
                  </a:lnTo>
                  <a:lnTo>
                    <a:pt x="17" y="43"/>
                  </a:lnTo>
                  <a:lnTo>
                    <a:pt x="3" y="43"/>
                  </a:lnTo>
                  <a:lnTo>
                    <a:pt x="3" y="50"/>
                  </a:lnTo>
                  <a:lnTo>
                    <a:pt x="7" y="50"/>
                  </a:lnTo>
                  <a:lnTo>
                    <a:pt x="7" y="61"/>
                  </a:lnTo>
                  <a:lnTo>
                    <a:pt x="0" y="71"/>
                  </a:lnTo>
                  <a:lnTo>
                    <a:pt x="10" y="75"/>
                  </a:lnTo>
                  <a:lnTo>
                    <a:pt x="14" y="64"/>
                  </a:lnTo>
                  <a:lnTo>
                    <a:pt x="14" y="50"/>
                  </a:lnTo>
                  <a:lnTo>
                    <a:pt x="17" y="50"/>
                  </a:lnTo>
                  <a:lnTo>
                    <a:pt x="17" y="53"/>
                  </a:lnTo>
                  <a:lnTo>
                    <a:pt x="17" y="64"/>
                  </a:lnTo>
                  <a:lnTo>
                    <a:pt x="10" y="75"/>
                  </a:lnTo>
                  <a:lnTo>
                    <a:pt x="17" y="78"/>
                  </a:lnTo>
                  <a:lnTo>
                    <a:pt x="24" y="68"/>
                  </a:lnTo>
                  <a:lnTo>
                    <a:pt x="28" y="53"/>
                  </a:lnTo>
                  <a:lnTo>
                    <a:pt x="28" y="29"/>
                  </a:lnTo>
                  <a:lnTo>
                    <a:pt x="53" y="29"/>
                  </a:lnTo>
                  <a:lnTo>
                    <a:pt x="53" y="32"/>
                  </a:lnTo>
                  <a:lnTo>
                    <a:pt x="28" y="32"/>
                  </a:lnTo>
                  <a:lnTo>
                    <a:pt x="28" y="75"/>
                  </a:lnTo>
                  <a:lnTo>
                    <a:pt x="35" y="75"/>
                  </a:lnTo>
                  <a:lnTo>
                    <a:pt x="35" y="71"/>
                  </a:lnTo>
                  <a:lnTo>
                    <a:pt x="49" y="71"/>
                  </a:lnTo>
                  <a:lnTo>
                    <a:pt x="46" y="71"/>
                  </a:lnTo>
                  <a:lnTo>
                    <a:pt x="46" y="75"/>
                  </a:lnTo>
                  <a:lnTo>
                    <a:pt x="53" y="78"/>
                  </a:lnTo>
                  <a:lnTo>
                    <a:pt x="57" y="78"/>
                  </a:lnTo>
                  <a:lnTo>
                    <a:pt x="64" y="71"/>
                  </a:lnTo>
                  <a:lnTo>
                    <a:pt x="67" y="75"/>
                  </a:lnTo>
                  <a:lnTo>
                    <a:pt x="74" y="78"/>
                  </a:lnTo>
                  <a:lnTo>
                    <a:pt x="78" y="75"/>
                  </a:lnTo>
                  <a:lnTo>
                    <a:pt x="82" y="64"/>
                  </a:lnTo>
                  <a:lnTo>
                    <a:pt x="71" y="57"/>
                  </a:lnTo>
                  <a:lnTo>
                    <a:pt x="71" y="64"/>
                  </a:lnTo>
                  <a:lnTo>
                    <a:pt x="71" y="61"/>
                  </a:lnTo>
                  <a:lnTo>
                    <a:pt x="74" y="46"/>
                  </a:lnTo>
                  <a:lnTo>
                    <a:pt x="78" y="39"/>
                  </a:lnTo>
                  <a:lnTo>
                    <a:pt x="78" y="36"/>
                  </a:lnTo>
                  <a:lnTo>
                    <a:pt x="67" y="32"/>
                  </a:lnTo>
                  <a:lnTo>
                    <a:pt x="64" y="46"/>
                  </a:lnTo>
                  <a:lnTo>
                    <a:pt x="64" y="32"/>
                  </a:lnTo>
                  <a:lnTo>
                    <a:pt x="64" y="29"/>
                  </a:lnTo>
                  <a:lnTo>
                    <a:pt x="78" y="29"/>
                  </a:lnTo>
                  <a:lnTo>
                    <a:pt x="78" y="21"/>
                  </a:lnTo>
                  <a:lnTo>
                    <a:pt x="71" y="21"/>
                  </a:lnTo>
                  <a:lnTo>
                    <a:pt x="78" y="18"/>
                  </a:lnTo>
                  <a:lnTo>
                    <a:pt x="71" y="14"/>
                  </a:lnTo>
                  <a:lnTo>
                    <a:pt x="78" y="14"/>
                  </a:lnTo>
                  <a:lnTo>
                    <a:pt x="78" y="7"/>
                  </a:lnTo>
                  <a:lnTo>
                    <a:pt x="57" y="7"/>
                  </a:lnTo>
                  <a:lnTo>
                    <a:pt x="57" y="4"/>
                  </a:lnTo>
                  <a:lnTo>
                    <a:pt x="57" y="0"/>
                  </a:lnTo>
                  <a:lnTo>
                    <a:pt x="46" y="0"/>
                  </a:lnTo>
                  <a:lnTo>
                    <a:pt x="46" y="7"/>
                  </a:lnTo>
                  <a:lnTo>
                    <a:pt x="35" y="7"/>
                  </a:lnTo>
                  <a:lnTo>
                    <a:pt x="35" y="4"/>
                  </a:lnTo>
                  <a:lnTo>
                    <a:pt x="39" y="4"/>
                  </a:lnTo>
                  <a:lnTo>
                    <a:pt x="39" y="0"/>
                  </a:lnTo>
                  <a:lnTo>
                    <a:pt x="24" y="0"/>
                  </a:lnTo>
                  <a:lnTo>
                    <a:pt x="24" y="7"/>
                  </a:lnTo>
                  <a:lnTo>
                    <a:pt x="3" y="7"/>
                  </a:lnTo>
                  <a:lnTo>
                    <a:pt x="3" y="14"/>
                  </a:lnTo>
                  <a:lnTo>
                    <a:pt x="24" y="14"/>
                  </a:lnTo>
                  <a:lnTo>
                    <a:pt x="24" y="18"/>
                  </a:lnTo>
                  <a:close/>
                  <a:moveTo>
                    <a:pt x="42" y="39"/>
                  </a:moveTo>
                  <a:lnTo>
                    <a:pt x="42" y="43"/>
                  </a:lnTo>
                  <a:lnTo>
                    <a:pt x="39" y="43"/>
                  </a:lnTo>
                  <a:lnTo>
                    <a:pt x="39" y="39"/>
                  </a:lnTo>
                  <a:lnTo>
                    <a:pt x="42" y="39"/>
                  </a:lnTo>
                  <a:close/>
                  <a:moveTo>
                    <a:pt x="57" y="61"/>
                  </a:moveTo>
                  <a:lnTo>
                    <a:pt x="57" y="61"/>
                  </a:lnTo>
                  <a:lnTo>
                    <a:pt x="53" y="64"/>
                  </a:lnTo>
                  <a:lnTo>
                    <a:pt x="49" y="64"/>
                  </a:lnTo>
                  <a:lnTo>
                    <a:pt x="49" y="61"/>
                  </a:lnTo>
                  <a:lnTo>
                    <a:pt x="53" y="61"/>
                  </a:lnTo>
                  <a:lnTo>
                    <a:pt x="53" y="43"/>
                  </a:lnTo>
                  <a:lnTo>
                    <a:pt x="49" y="43"/>
                  </a:lnTo>
                  <a:lnTo>
                    <a:pt x="49" y="39"/>
                  </a:lnTo>
                  <a:lnTo>
                    <a:pt x="53" y="39"/>
                  </a:lnTo>
                  <a:lnTo>
                    <a:pt x="57" y="61"/>
                  </a:lnTo>
                  <a:close/>
                  <a:moveTo>
                    <a:pt x="46" y="50"/>
                  </a:moveTo>
                  <a:lnTo>
                    <a:pt x="46" y="53"/>
                  </a:lnTo>
                  <a:lnTo>
                    <a:pt x="39" y="53"/>
                  </a:lnTo>
                  <a:lnTo>
                    <a:pt x="39" y="50"/>
                  </a:lnTo>
                  <a:lnTo>
                    <a:pt x="46" y="50"/>
                  </a:lnTo>
                  <a:close/>
                  <a:moveTo>
                    <a:pt x="39" y="61"/>
                  </a:moveTo>
                  <a:lnTo>
                    <a:pt x="39" y="64"/>
                  </a:lnTo>
                  <a:lnTo>
                    <a:pt x="35" y="64"/>
                  </a:lnTo>
                  <a:lnTo>
                    <a:pt x="35" y="61"/>
                  </a:lnTo>
                  <a:lnTo>
                    <a:pt x="39" y="61"/>
                  </a:lnTo>
                  <a:close/>
                  <a:moveTo>
                    <a:pt x="64" y="18"/>
                  </a:moveTo>
                  <a:lnTo>
                    <a:pt x="64" y="18"/>
                  </a:lnTo>
                  <a:lnTo>
                    <a:pt x="57" y="18"/>
                  </a:lnTo>
                  <a:lnTo>
                    <a:pt x="57" y="14"/>
                  </a:lnTo>
                  <a:lnTo>
                    <a:pt x="67" y="14"/>
                  </a:lnTo>
                  <a:lnTo>
                    <a:pt x="64" y="18"/>
                  </a:lnTo>
                  <a:lnTo>
                    <a:pt x="67" y="18"/>
                  </a:lnTo>
                  <a:lnTo>
                    <a:pt x="71" y="21"/>
                  </a:lnTo>
                  <a:lnTo>
                    <a:pt x="64" y="21"/>
                  </a:lnTo>
                  <a:lnTo>
                    <a:pt x="6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0" name="Freeform 126"/>
            <p:cNvSpPr>
              <a:spLocks noEditPoints="1"/>
            </p:cNvSpPr>
            <p:nvPr/>
          </p:nvSpPr>
          <p:spPr bwMode="auto">
            <a:xfrm>
              <a:off x="1868" y="991"/>
              <a:ext cx="78" cy="78"/>
            </a:xfrm>
            <a:custGeom>
              <a:avLst/>
              <a:gdLst>
                <a:gd name="T0" fmla="*/ 11 w 78"/>
                <a:gd name="T1" fmla="*/ 14 h 78"/>
                <a:gd name="T2" fmla="*/ 21 w 78"/>
                <a:gd name="T3" fmla="*/ 11 h 78"/>
                <a:gd name="T4" fmla="*/ 21 w 78"/>
                <a:gd name="T5" fmla="*/ 0 h 78"/>
                <a:gd name="T6" fmla="*/ 11 w 78"/>
                <a:gd name="T7" fmla="*/ 4 h 78"/>
                <a:gd name="T8" fmla="*/ 11 w 78"/>
                <a:gd name="T9" fmla="*/ 14 h 78"/>
                <a:gd name="T10" fmla="*/ 32 w 78"/>
                <a:gd name="T11" fmla="*/ 71 h 78"/>
                <a:gd name="T12" fmla="*/ 18 w 78"/>
                <a:gd name="T13" fmla="*/ 29 h 78"/>
                <a:gd name="T14" fmla="*/ 32 w 78"/>
                <a:gd name="T15" fmla="*/ 21 h 78"/>
                <a:gd name="T16" fmla="*/ 29 w 78"/>
                <a:gd name="T17" fmla="*/ 25 h 78"/>
                <a:gd name="T18" fmla="*/ 36 w 78"/>
                <a:gd name="T19" fmla="*/ 29 h 78"/>
                <a:gd name="T20" fmla="*/ 75 w 78"/>
                <a:gd name="T21" fmla="*/ 18 h 78"/>
                <a:gd name="T22" fmla="*/ 46 w 78"/>
                <a:gd name="T23" fmla="*/ 7 h 78"/>
                <a:gd name="T24" fmla="*/ 50 w 78"/>
                <a:gd name="T25" fmla="*/ 7 h 78"/>
                <a:gd name="T26" fmla="*/ 50 w 78"/>
                <a:gd name="T27" fmla="*/ 4 h 78"/>
                <a:gd name="T28" fmla="*/ 39 w 78"/>
                <a:gd name="T29" fmla="*/ 0 h 78"/>
                <a:gd name="T30" fmla="*/ 39 w 78"/>
                <a:gd name="T31" fmla="*/ 4 h 78"/>
                <a:gd name="T32" fmla="*/ 32 w 78"/>
                <a:gd name="T33" fmla="*/ 18 h 78"/>
                <a:gd name="T34" fmla="*/ 0 w 78"/>
                <a:gd name="T35" fmla="*/ 14 h 78"/>
                <a:gd name="T36" fmla="*/ 7 w 78"/>
                <a:gd name="T37" fmla="*/ 21 h 78"/>
                <a:gd name="T38" fmla="*/ 7 w 78"/>
                <a:gd name="T39" fmla="*/ 39 h 78"/>
                <a:gd name="T40" fmla="*/ 0 w 78"/>
                <a:gd name="T41" fmla="*/ 71 h 78"/>
                <a:gd name="T42" fmla="*/ 0 w 78"/>
                <a:gd name="T43" fmla="*/ 75 h 78"/>
                <a:gd name="T44" fmla="*/ 7 w 78"/>
                <a:gd name="T45" fmla="*/ 78 h 78"/>
                <a:gd name="T46" fmla="*/ 14 w 78"/>
                <a:gd name="T47" fmla="*/ 61 h 78"/>
                <a:gd name="T48" fmla="*/ 21 w 78"/>
                <a:gd name="T49" fmla="*/ 39 h 78"/>
                <a:gd name="T50" fmla="*/ 21 w 78"/>
                <a:gd name="T51" fmla="*/ 64 h 78"/>
                <a:gd name="T52" fmla="*/ 14 w 78"/>
                <a:gd name="T53" fmla="*/ 68 h 78"/>
                <a:gd name="T54" fmla="*/ 18 w 78"/>
                <a:gd name="T55" fmla="*/ 75 h 78"/>
                <a:gd name="T56" fmla="*/ 25 w 78"/>
                <a:gd name="T57" fmla="*/ 75 h 78"/>
                <a:gd name="T58" fmla="*/ 32 w 78"/>
                <a:gd name="T59" fmla="*/ 71 h 78"/>
                <a:gd name="T60" fmla="*/ 39 w 78"/>
                <a:gd name="T61" fmla="*/ 78 h 78"/>
                <a:gd name="T62" fmla="*/ 57 w 78"/>
                <a:gd name="T63" fmla="*/ 61 h 78"/>
                <a:gd name="T64" fmla="*/ 64 w 78"/>
                <a:gd name="T65" fmla="*/ 71 h 78"/>
                <a:gd name="T66" fmla="*/ 71 w 78"/>
                <a:gd name="T67" fmla="*/ 78 h 78"/>
                <a:gd name="T68" fmla="*/ 78 w 78"/>
                <a:gd name="T69" fmla="*/ 68 h 78"/>
                <a:gd name="T70" fmla="*/ 61 w 78"/>
                <a:gd name="T71" fmla="*/ 53 h 78"/>
                <a:gd name="T72" fmla="*/ 78 w 78"/>
                <a:gd name="T73" fmla="*/ 43 h 78"/>
                <a:gd name="T74" fmla="*/ 61 w 78"/>
                <a:gd name="T75" fmla="*/ 36 h 78"/>
                <a:gd name="T76" fmla="*/ 71 w 78"/>
                <a:gd name="T77" fmla="*/ 25 h 78"/>
                <a:gd name="T78" fmla="*/ 53 w 78"/>
                <a:gd name="T79" fmla="*/ 25 h 78"/>
                <a:gd name="T80" fmla="*/ 53 w 78"/>
                <a:gd name="T81" fmla="*/ 21 h 78"/>
                <a:gd name="T82" fmla="*/ 43 w 78"/>
                <a:gd name="T83" fmla="*/ 21 h 78"/>
                <a:gd name="T84" fmla="*/ 39 w 78"/>
                <a:gd name="T85" fmla="*/ 29 h 78"/>
                <a:gd name="T86" fmla="*/ 32 w 78"/>
                <a:gd name="T87" fmla="*/ 39 h 78"/>
                <a:gd name="T88" fmla="*/ 36 w 78"/>
                <a:gd name="T89" fmla="*/ 43 h 78"/>
                <a:gd name="T90" fmla="*/ 43 w 78"/>
                <a:gd name="T91" fmla="*/ 43 h 78"/>
                <a:gd name="T92" fmla="*/ 50 w 78"/>
                <a:gd name="T93" fmla="*/ 36 h 78"/>
                <a:gd name="T94" fmla="*/ 36 w 78"/>
                <a:gd name="T95" fmla="*/ 43 h 78"/>
                <a:gd name="T96" fmla="*/ 50 w 78"/>
                <a:gd name="T97" fmla="*/ 53 h 78"/>
                <a:gd name="T98" fmla="*/ 50 w 78"/>
                <a:gd name="T99" fmla="*/ 53 h 78"/>
                <a:gd name="T100" fmla="*/ 32 w 78"/>
                <a:gd name="T101" fmla="*/ 71 h 78"/>
                <a:gd name="T102" fmla="*/ 32 w 78"/>
                <a:gd name="T103" fmla="*/ 71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8"/>
                <a:gd name="T157" fmla="*/ 0 h 78"/>
                <a:gd name="T158" fmla="*/ 78 w 78"/>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8" h="78">
                  <a:moveTo>
                    <a:pt x="11" y="14"/>
                  </a:moveTo>
                  <a:lnTo>
                    <a:pt x="11" y="14"/>
                  </a:lnTo>
                  <a:lnTo>
                    <a:pt x="21" y="11"/>
                  </a:lnTo>
                  <a:lnTo>
                    <a:pt x="21" y="0"/>
                  </a:lnTo>
                  <a:lnTo>
                    <a:pt x="11" y="4"/>
                  </a:lnTo>
                  <a:lnTo>
                    <a:pt x="11" y="14"/>
                  </a:lnTo>
                  <a:close/>
                  <a:moveTo>
                    <a:pt x="32" y="71"/>
                  </a:moveTo>
                  <a:lnTo>
                    <a:pt x="32" y="29"/>
                  </a:lnTo>
                  <a:lnTo>
                    <a:pt x="18" y="29"/>
                  </a:lnTo>
                  <a:lnTo>
                    <a:pt x="18" y="21"/>
                  </a:lnTo>
                  <a:lnTo>
                    <a:pt x="32" y="21"/>
                  </a:lnTo>
                  <a:lnTo>
                    <a:pt x="29" y="25"/>
                  </a:lnTo>
                  <a:lnTo>
                    <a:pt x="36" y="29"/>
                  </a:lnTo>
                  <a:lnTo>
                    <a:pt x="43" y="18"/>
                  </a:lnTo>
                  <a:lnTo>
                    <a:pt x="75" y="18"/>
                  </a:lnTo>
                  <a:lnTo>
                    <a:pt x="75" y="7"/>
                  </a:lnTo>
                  <a:lnTo>
                    <a:pt x="46" y="7"/>
                  </a:lnTo>
                  <a:lnTo>
                    <a:pt x="50" y="7"/>
                  </a:lnTo>
                  <a:lnTo>
                    <a:pt x="50" y="4"/>
                  </a:lnTo>
                  <a:lnTo>
                    <a:pt x="39" y="0"/>
                  </a:lnTo>
                  <a:lnTo>
                    <a:pt x="39" y="4"/>
                  </a:lnTo>
                  <a:lnTo>
                    <a:pt x="32" y="18"/>
                  </a:lnTo>
                  <a:lnTo>
                    <a:pt x="32" y="14"/>
                  </a:lnTo>
                  <a:lnTo>
                    <a:pt x="0" y="14"/>
                  </a:lnTo>
                  <a:lnTo>
                    <a:pt x="0" y="21"/>
                  </a:lnTo>
                  <a:lnTo>
                    <a:pt x="7" y="21"/>
                  </a:lnTo>
                  <a:lnTo>
                    <a:pt x="7" y="39"/>
                  </a:lnTo>
                  <a:lnTo>
                    <a:pt x="7" y="57"/>
                  </a:lnTo>
                  <a:lnTo>
                    <a:pt x="0" y="71"/>
                  </a:lnTo>
                  <a:lnTo>
                    <a:pt x="0" y="75"/>
                  </a:lnTo>
                  <a:lnTo>
                    <a:pt x="7" y="78"/>
                  </a:lnTo>
                  <a:lnTo>
                    <a:pt x="14" y="61"/>
                  </a:lnTo>
                  <a:lnTo>
                    <a:pt x="18" y="39"/>
                  </a:lnTo>
                  <a:lnTo>
                    <a:pt x="21" y="39"/>
                  </a:lnTo>
                  <a:lnTo>
                    <a:pt x="21" y="64"/>
                  </a:lnTo>
                  <a:lnTo>
                    <a:pt x="21" y="68"/>
                  </a:lnTo>
                  <a:lnTo>
                    <a:pt x="14" y="68"/>
                  </a:lnTo>
                  <a:lnTo>
                    <a:pt x="18" y="75"/>
                  </a:lnTo>
                  <a:lnTo>
                    <a:pt x="25" y="75"/>
                  </a:lnTo>
                  <a:lnTo>
                    <a:pt x="32" y="71"/>
                  </a:lnTo>
                  <a:lnTo>
                    <a:pt x="39" y="78"/>
                  </a:lnTo>
                  <a:lnTo>
                    <a:pt x="50" y="71"/>
                  </a:lnTo>
                  <a:lnTo>
                    <a:pt x="57" y="61"/>
                  </a:lnTo>
                  <a:lnTo>
                    <a:pt x="64" y="71"/>
                  </a:lnTo>
                  <a:lnTo>
                    <a:pt x="71" y="78"/>
                  </a:lnTo>
                  <a:lnTo>
                    <a:pt x="78" y="68"/>
                  </a:lnTo>
                  <a:lnTo>
                    <a:pt x="68" y="61"/>
                  </a:lnTo>
                  <a:lnTo>
                    <a:pt x="61" y="53"/>
                  </a:lnTo>
                  <a:lnTo>
                    <a:pt x="78" y="53"/>
                  </a:lnTo>
                  <a:lnTo>
                    <a:pt x="78" y="43"/>
                  </a:lnTo>
                  <a:lnTo>
                    <a:pt x="61" y="43"/>
                  </a:lnTo>
                  <a:lnTo>
                    <a:pt x="61" y="36"/>
                  </a:lnTo>
                  <a:lnTo>
                    <a:pt x="71" y="36"/>
                  </a:lnTo>
                  <a:lnTo>
                    <a:pt x="71" y="25"/>
                  </a:lnTo>
                  <a:lnTo>
                    <a:pt x="53" y="25"/>
                  </a:lnTo>
                  <a:lnTo>
                    <a:pt x="53" y="21"/>
                  </a:lnTo>
                  <a:lnTo>
                    <a:pt x="43" y="21"/>
                  </a:lnTo>
                  <a:lnTo>
                    <a:pt x="39" y="29"/>
                  </a:lnTo>
                  <a:lnTo>
                    <a:pt x="32" y="39"/>
                  </a:lnTo>
                  <a:lnTo>
                    <a:pt x="36" y="43"/>
                  </a:lnTo>
                  <a:lnTo>
                    <a:pt x="43" y="43"/>
                  </a:lnTo>
                  <a:lnTo>
                    <a:pt x="46" y="36"/>
                  </a:lnTo>
                  <a:lnTo>
                    <a:pt x="50" y="36"/>
                  </a:lnTo>
                  <a:lnTo>
                    <a:pt x="50" y="43"/>
                  </a:lnTo>
                  <a:lnTo>
                    <a:pt x="36" y="43"/>
                  </a:lnTo>
                  <a:lnTo>
                    <a:pt x="36" y="53"/>
                  </a:lnTo>
                  <a:lnTo>
                    <a:pt x="50" y="53"/>
                  </a:lnTo>
                  <a:lnTo>
                    <a:pt x="43" y="64"/>
                  </a:lnTo>
                  <a:lnTo>
                    <a:pt x="32"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1" name="Freeform 127"/>
            <p:cNvSpPr>
              <a:spLocks/>
            </p:cNvSpPr>
            <p:nvPr/>
          </p:nvSpPr>
          <p:spPr bwMode="auto">
            <a:xfrm>
              <a:off x="2003" y="991"/>
              <a:ext cx="75" cy="78"/>
            </a:xfrm>
            <a:custGeom>
              <a:avLst/>
              <a:gdLst>
                <a:gd name="T0" fmla="*/ 33 w 75"/>
                <a:gd name="T1" fmla="*/ 14 h 78"/>
                <a:gd name="T2" fmla="*/ 36 w 75"/>
                <a:gd name="T3" fmla="*/ 11 h 78"/>
                <a:gd name="T4" fmla="*/ 29 w 75"/>
                <a:gd name="T5" fmla="*/ 0 h 78"/>
                <a:gd name="T6" fmla="*/ 18 w 75"/>
                <a:gd name="T7" fmla="*/ 4 h 78"/>
                <a:gd name="T8" fmla="*/ 18 w 75"/>
                <a:gd name="T9" fmla="*/ 4 h 78"/>
                <a:gd name="T10" fmla="*/ 4 w 75"/>
                <a:gd name="T11" fmla="*/ 14 h 78"/>
                <a:gd name="T12" fmla="*/ 29 w 75"/>
                <a:gd name="T13" fmla="*/ 21 h 78"/>
                <a:gd name="T14" fmla="*/ 8 w 75"/>
                <a:gd name="T15" fmla="*/ 29 h 78"/>
                <a:gd name="T16" fmla="*/ 29 w 75"/>
                <a:gd name="T17" fmla="*/ 36 h 78"/>
                <a:gd name="T18" fmla="*/ 29 w 75"/>
                <a:gd name="T19" fmla="*/ 43 h 78"/>
                <a:gd name="T20" fmla="*/ 0 w 75"/>
                <a:gd name="T21" fmla="*/ 50 h 78"/>
                <a:gd name="T22" fmla="*/ 25 w 75"/>
                <a:gd name="T23" fmla="*/ 50 h 78"/>
                <a:gd name="T24" fmla="*/ 0 w 75"/>
                <a:gd name="T25" fmla="*/ 71 h 78"/>
                <a:gd name="T26" fmla="*/ 8 w 75"/>
                <a:gd name="T27" fmla="*/ 78 h 78"/>
                <a:gd name="T28" fmla="*/ 25 w 75"/>
                <a:gd name="T29" fmla="*/ 68 h 78"/>
                <a:gd name="T30" fmla="*/ 40 w 75"/>
                <a:gd name="T31" fmla="*/ 50 h 78"/>
                <a:gd name="T32" fmla="*/ 40 w 75"/>
                <a:gd name="T33" fmla="*/ 71 h 78"/>
                <a:gd name="T34" fmla="*/ 47 w 75"/>
                <a:gd name="T35" fmla="*/ 78 h 78"/>
                <a:gd name="T36" fmla="*/ 65 w 75"/>
                <a:gd name="T37" fmla="*/ 78 h 78"/>
                <a:gd name="T38" fmla="*/ 72 w 75"/>
                <a:gd name="T39" fmla="*/ 75 h 78"/>
                <a:gd name="T40" fmla="*/ 75 w 75"/>
                <a:gd name="T41" fmla="*/ 61 h 78"/>
                <a:gd name="T42" fmla="*/ 75 w 75"/>
                <a:gd name="T43" fmla="*/ 61 h 78"/>
                <a:gd name="T44" fmla="*/ 65 w 75"/>
                <a:gd name="T45" fmla="*/ 57 h 78"/>
                <a:gd name="T46" fmla="*/ 58 w 75"/>
                <a:gd name="T47" fmla="*/ 68 h 78"/>
                <a:gd name="T48" fmla="*/ 54 w 75"/>
                <a:gd name="T49" fmla="*/ 68 h 78"/>
                <a:gd name="T50" fmla="*/ 50 w 75"/>
                <a:gd name="T51" fmla="*/ 64 h 78"/>
                <a:gd name="T52" fmla="*/ 75 w 75"/>
                <a:gd name="T53" fmla="*/ 50 h 78"/>
                <a:gd name="T54" fmla="*/ 40 w 75"/>
                <a:gd name="T55" fmla="*/ 43 h 78"/>
                <a:gd name="T56" fmla="*/ 40 w 75"/>
                <a:gd name="T57" fmla="*/ 36 h 78"/>
                <a:gd name="T58" fmla="*/ 68 w 75"/>
                <a:gd name="T59" fmla="*/ 29 h 78"/>
                <a:gd name="T60" fmla="*/ 43 w 75"/>
                <a:gd name="T61" fmla="*/ 21 h 78"/>
                <a:gd name="T62" fmla="*/ 72 w 75"/>
                <a:gd name="T63" fmla="*/ 14 h 78"/>
                <a:gd name="T64" fmla="*/ 50 w 75"/>
                <a:gd name="T65" fmla="*/ 14 h 78"/>
                <a:gd name="T66" fmla="*/ 58 w 75"/>
                <a:gd name="T67" fmla="*/ 7 h 78"/>
                <a:gd name="T68" fmla="*/ 61 w 75"/>
                <a:gd name="T69" fmla="*/ 4 h 78"/>
                <a:gd name="T70" fmla="*/ 50 w 75"/>
                <a:gd name="T71" fmla="*/ 0 h 78"/>
                <a:gd name="T72" fmla="*/ 47 w 75"/>
                <a:gd name="T73" fmla="*/ 0 h 78"/>
                <a:gd name="T74" fmla="*/ 29 w 75"/>
                <a:gd name="T75" fmla="*/ 14 h 78"/>
                <a:gd name="T76" fmla="*/ 33 w 75"/>
                <a:gd name="T77" fmla="*/ 14 h 78"/>
                <a:gd name="T78" fmla="*/ 33 w 75"/>
                <a:gd name="T79" fmla="*/ 14 h 78"/>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75"/>
                <a:gd name="T121" fmla="*/ 0 h 78"/>
                <a:gd name="T122" fmla="*/ 75 w 75"/>
                <a:gd name="T123" fmla="*/ 78 h 78"/>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75" h="78">
                  <a:moveTo>
                    <a:pt x="33" y="14"/>
                  </a:moveTo>
                  <a:lnTo>
                    <a:pt x="33" y="14"/>
                  </a:lnTo>
                  <a:lnTo>
                    <a:pt x="36" y="11"/>
                  </a:lnTo>
                  <a:lnTo>
                    <a:pt x="29" y="0"/>
                  </a:lnTo>
                  <a:lnTo>
                    <a:pt x="18" y="4"/>
                  </a:lnTo>
                  <a:lnTo>
                    <a:pt x="22" y="14"/>
                  </a:lnTo>
                  <a:lnTo>
                    <a:pt x="4" y="14"/>
                  </a:lnTo>
                  <a:lnTo>
                    <a:pt x="4" y="21"/>
                  </a:lnTo>
                  <a:lnTo>
                    <a:pt x="29" y="21"/>
                  </a:lnTo>
                  <a:lnTo>
                    <a:pt x="29" y="29"/>
                  </a:lnTo>
                  <a:lnTo>
                    <a:pt x="8" y="29"/>
                  </a:lnTo>
                  <a:lnTo>
                    <a:pt x="8" y="36"/>
                  </a:lnTo>
                  <a:lnTo>
                    <a:pt x="29" y="36"/>
                  </a:lnTo>
                  <a:lnTo>
                    <a:pt x="29" y="43"/>
                  </a:lnTo>
                  <a:lnTo>
                    <a:pt x="0" y="43"/>
                  </a:lnTo>
                  <a:lnTo>
                    <a:pt x="0" y="50"/>
                  </a:lnTo>
                  <a:lnTo>
                    <a:pt x="25" y="50"/>
                  </a:lnTo>
                  <a:lnTo>
                    <a:pt x="15" y="64"/>
                  </a:lnTo>
                  <a:lnTo>
                    <a:pt x="0" y="71"/>
                  </a:lnTo>
                  <a:lnTo>
                    <a:pt x="8" y="78"/>
                  </a:lnTo>
                  <a:lnTo>
                    <a:pt x="25" y="68"/>
                  </a:lnTo>
                  <a:lnTo>
                    <a:pt x="36" y="50"/>
                  </a:lnTo>
                  <a:lnTo>
                    <a:pt x="40" y="50"/>
                  </a:lnTo>
                  <a:lnTo>
                    <a:pt x="40" y="71"/>
                  </a:lnTo>
                  <a:lnTo>
                    <a:pt x="40" y="75"/>
                  </a:lnTo>
                  <a:lnTo>
                    <a:pt x="47" y="78"/>
                  </a:lnTo>
                  <a:lnTo>
                    <a:pt x="65" y="78"/>
                  </a:lnTo>
                  <a:lnTo>
                    <a:pt x="68" y="75"/>
                  </a:lnTo>
                  <a:lnTo>
                    <a:pt x="72" y="75"/>
                  </a:lnTo>
                  <a:lnTo>
                    <a:pt x="75" y="61"/>
                  </a:lnTo>
                  <a:lnTo>
                    <a:pt x="65" y="57"/>
                  </a:lnTo>
                  <a:lnTo>
                    <a:pt x="65" y="64"/>
                  </a:lnTo>
                  <a:lnTo>
                    <a:pt x="58" y="68"/>
                  </a:lnTo>
                  <a:lnTo>
                    <a:pt x="54" y="68"/>
                  </a:lnTo>
                  <a:lnTo>
                    <a:pt x="50" y="68"/>
                  </a:lnTo>
                  <a:lnTo>
                    <a:pt x="50" y="64"/>
                  </a:lnTo>
                  <a:lnTo>
                    <a:pt x="50" y="50"/>
                  </a:lnTo>
                  <a:lnTo>
                    <a:pt x="75" y="50"/>
                  </a:lnTo>
                  <a:lnTo>
                    <a:pt x="75" y="43"/>
                  </a:lnTo>
                  <a:lnTo>
                    <a:pt x="40" y="43"/>
                  </a:lnTo>
                  <a:lnTo>
                    <a:pt x="40" y="36"/>
                  </a:lnTo>
                  <a:lnTo>
                    <a:pt x="68" y="36"/>
                  </a:lnTo>
                  <a:lnTo>
                    <a:pt x="68" y="29"/>
                  </a:lnTo>
                  <a:lnTo>
                    <a:pt x="40" y="29"/>
                  </a:lnTo>
                  <a:lnTo>
                    <a:pt x="43" y="21"/>
                  </a:lnTo>
                  <a:lnTo>
                    <a:pt x="72" y="21"/>
                  </a:lnTo>
                  <a:lnTo>
                    <a:pt x="72" y="14"/>
                  </a:lnTo>
                  <a:lnTo>
                    <a:pt x="50" y="14"/>
                  </a:lnTo>
                  <a:lnTo>
                    <a:pt x="58" y="7"/>
                  </a:lnTo>
                  <a:lnTo>
                    <a:pt x="61" y="4"/>
                  </a:lnTo>
                  <a:lnTo>
                    <a:pt x="50" y="0"/>
                  </a:lnTo>
                  <a:lnTo>
                    <a:pt x="47" y="0"/>
                  </a:lnTo>
                  <a:lnTo>
                    <a:pt x="40" y="14"/>
                  </a:lnTo>
                  <a:lnTo>
                    <a:pt x="29" y="14"/>
                  </a:lnTo>
                  <a:lnTo>
                    <a:pt x="3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2" name="Freeform 128"/>
            <p:cNvSpPr>
              <a:spLocks noEditPoints="1"/>
            </p:cNvSpPr>
            <p:nvPr/>
          </p:nvSpPr>
          <p:spPr bwMode="auto">
            <a:xfrm>
              <a:off x="2132" y="991"/>
              <a:ext cx="82" cy="78"/>
            </a:xfrm>
            <a:custGeom>
              <a:avLst/>
              <a:gdLst>
                <a:gd name="T0" fmla="*/ 14 w 82"/>
                <a:gd name="T1" fmla="*/ 14 h 78"/>
                <a:gd name="T2" fmla="*/ 25 w 82"/>
                <a:gd name="T3" fmla="*/ 11 h 78"/>
                <a:gd name="T4" fmla="*/ 21 w 82"/>
                <a:gd name="T5" fmla="*/ 0 h 78"/>
                <a:gd name="T6" fmla="*/ 10 w 82"/>
                <a:gd name="T7" fmla="*/ 4 h 78"/>
                <a:gd name="T8" fmla="*/ 14 w 82"/>
                <a:gd name="T9" fmla="*/ 14 h 78"/>
                <a:gd name="T10" fmla="*/ 35 w 82"/>
                <a:gd name="T11" fmla="*/ 71 h 78"/>
                <a:gd name="T12" fmla="*/ 21 w 82"/>
                <a:gd name="T13" fmla="*/ 29 h 78"/>
                <a:gd name="T14" fmla="*/ 32 w 82"/>
                <a:gd name="T15" fmla="*/ 21 h 78"/>
                <a:gd name="T16" fmla="*/ 28 w 82"/>
                <a:gd name="T17" fmla="*/ 25 h 78"/>
                <a:gd name="T18" fmla="*/ 39 w 82"/>
                <a:gd name="T19" fmla="*/ 29 h 78"/>
                <a:gd name="T20" fmla="*/ 78 w 82"/>
                <a:gd name="T21" fmla="*/ 18 h 78"/>
                <a:gd name="T22" fmla="*/ 50 w 82"/>
                <a:gd name="T23" fmla="*/ 7 h 78"/>
                <a:gd name="T24" fmla="*/ 53 w 82"/>
                <a:gd name="T25" fmla="*/ 7 h 78"/>
                <a:gd name="T26" fmla="*/ 53 w 82"/>
                <a:gd name="T27" fmla="*/ 4 h 78"/>
                <a:gd name="T28" fmla="*/ 43 w 82"/>
                <a:gd name="T29" fmla="*/ 0 h 78"/>
                <a:gd name="T30" fmla="*/ 39 w 82"/>
                <a:gd name="T31" fmla="*/ 4 h 78"/>
                <a:gd name="T32" fmla="*/ 35 w 82"/>
                <a:gd name="T33" fmla="*/ 18 h 78"/>
                <a:gd name="T34" fmla="*/ 3 w 82"/>
                <a:gd name="T35" fmla="*/ 14 h 78"/>
                <a:gd name="T36" fmla="*/ 10 w 82"/>
                <a:gd name="T37" fmla="*/ 21 h 78"/>
                <a:gd name="T38" fmla="*/ 10 w 82"/>
                <a:gd name="T39" fmla="*/ 39 h 78"/>
                <a:gd name="T40" fmla="*/ 0 w 82"/>
                <a:gd name="T41" fmla="*/ 71 h 78"/>
                <a:gd name="T42" fmla="*/ 3 w 82"/>
                <a:gd name="T43" fmla="*/ 75 h 78"/>
                <a:gd name="T44" fmla="*/ 10 w 82"/>
                <a:gd name="T45" fmla="*/ 78 h 78"/>
                <a:gd name="T46" fmla="*/ 18 w 82"/>
                <a:gd name="T47" fmla="*/ 61 h 78"/>
                <a:gd name="T48" fmla="*/ 25 w 82"/>
                <a:gd name="T49" fmla="*/ 39 h 78"/>
                <a:gd name="T50" fmla="*/ 25 w 82"/>
                <a:gd name="T51" fmla="*/ 64 h 78"/>
                <a:gd name="T52" fmla="*/ 18 w 82"/>
                <a:gd name="T53" fmla="*/ 68 h 78"/>
                <a:gd name="T54" fmla="*/ 18 w 82"/>
                <a:gd name="T55" fmla="*/ 75 h 78"/>
                <a:gd name="T56" fmla="*/ 28 w 82"/>
                <a:gd name="T57" fmla="*/ 75 h 78"/>
                <a:gd name="T58" fmla="*/ 32 w 82"/>
                <a:gd name="T59" fmla="*/ 71 h 78"/>
                <a:gd name="T60" fmla="*/ 43 w 82"/>
                <a:gd name="T61" fmla="*/ 78 h 78"/>
                <a:gd name="T62" fmla="*/ 57 w 82"/>
                <a:gd name="T63" fmla="*/ 61 h 78"/>
                <a:gd name="T64" fmla="*/ 64 w 82"/>
                <a:gd name="T65" fmla="*/ 71 h 78"/>
                <a:gd name="T66" fmla="*/ 75 w 82"/>
                <a:gd name="T67" fmla="*/ 78 h 78"/>
                <a:gd name="T68" fmla="*/ 82 w 82"/>
                <a:gd name="T69" fmla="*/ 68 h 78"/>
                <a:gd name="T70" fmla="*/ 64 w 82"/>
                <a:gd name="T71" fmla="*/ 53 h 78"/>
                <a:gd name="T72" fmla="*/ 78 w 82"/>
                <a:gd name="T73" fmla="*/ 46 h 78"/>
                <a:gd name="T74" fmla="*/ 64 w 82"/>
                <a:gd name="T75" fmla="*/ 36 h 78"/>
                <a:gd name="T76" fmla="*/ 75 w 82"/>
                <a:gd name="T77" fmla="*/ 25 h 78"/>
                <a:gd name="T78" fmla="*/ 53 w 82"/>
                <a:gd name="T79" fmla="*/ 25 h 78"/>
                <a:gd name="T80" fmla="*/ 57 w 82"/>
                <a:gd name="T81" fmla="*/ 21 h 78"/>
                <a:gd name="T82" fmla="*/ 46 w 82"/>
                <a:gd name="T83" fmla="*/ 21 h 78"/>
                <a:gd name="T84" fmla="*/ 43 w 82"/>
                <a:gd name="T85" fmla="*/ 29 h 78"/>
                <a:gd name="T86" fmla="*/ 35 w 82"/>
                <a:gd name="T87" fmla="*/ 39 h 78"/>
                <a:gd name="T88" fmla="*/ 39 w 82"/>
                <a:gd name="T89" fmla="*/ 43 h 78"/>
                <a:gd name="T90" fmla="*/ 43 w 82"/>
                <a:gd name="T91" fmla="*/ 43 h 78"/>
                <a:gd name="T92" fmla="*/ 53 w 82"/>
                <a:gd name="T93" fmla="*/ 36 h 78"/>
                <a:gd name="T94" fmla="*/ 35 w 82"/>
                <a:gd name="T95" fmla="*/ 43 h 78"/>
                <a:gd name="T96" fmla="*/ 50 w 82"/>
                <a:gd name="T97" fmla="*/ 53 h 78"/>
                <a:gd name="T98" fmla="*/ 50 w 82"/>
                <a:gd name="T99" fmla="*/ 53 h 78"/>
                <a:gd name="T100" fmla="*/ 35 w 82"/>
                <a:gd name="T101" fmla="*/ 71 h 78"/>
                <a:gd name="T102" fmla="*/ 35 w 82"/>
                <a:gd name="T103" fmla="*/ 71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2"/>
                <a:gd name="T157" fmla="*/ 0 h 78"/>
                <a:gd name="T158" fmla="*/ 82 w 82"/>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2" h="78">
                  <a:moveTo>
                    <a:pt x="14" y="14"/>
                  </a:moveTo>
                  <a:lnTo>
                    <a:pt x="14" y="14"/>
                  </a:lnTo>
                  <a:lnTo>
                    <a:pt x="25" y="11"/>
                  </a:lnTo>
                  <a:lnTo>
                    <a:pt x="21" y="0"/>
                  </a:lnTo>
                  <a:lnTo>
                    <a:pt x="10" y="4"/>
                  </a:lnTo>
                  <a:lnTo>
                    <a:pt x="14" y="14"/>
                  </a:lnTo>
                  <a:close/>
                  <a:moveTo>
                    <a:pt x="35" y="71"/>
                  </a:moveTo>
                  <a:lnTo>
                    <a:pt x="35" y="29"/>
                  </a:lnTo>
                  <a:lnTo>
                    <a:pt x="21" y="29"/>
                  </a:lnTo>
                  <a:lnTo>
                    <a:pt x="21" y="21"/>
                  </a:lnTo>
                  <a:lnTo>
                    <a:pt x="32" y="21"/>
                  </a:lnTo>
                  <a:lnTo>
                    <a:pt x="28" y="25"/>
                  </a:lnTo>
                  <a:lnTo>
                    <a:pt x="39" y="29"/>
                  </a:lnTo>
                  <a:lnTo>
                    <a:pt x="46" y="18"/>
                  </a:lnTo>
                  <a:lnTo>
                    <a:pt x="78" y="18"/>
                  </a:lnTo>
                  <a:lnTo>
                    <a:pt x="78" y="7"/>
                  </a:lnTo>
                  <a:lnTo>
                    <a:pt x="50" y="7"/>
                  </a:lnTo>
                  <a:lnTo>
                    <a:pt x="53" y="7"/>
                  </a:lnTo>
                  <a:lnTo>
                    <a:pt x="53" y="4"/>
                  </a:lnTo>
                  <a:lnTo>
                    <a:pt x="43" y="0"/>
                  </a:lnTo>
                  <a:lnTo>
                    <a:pt x="39" y="4"/>
                  </a:lnTo>
                  <a:lnTo>
                    <a:pt x="35" y="18"/>
                  </a:lnTo>
                  <a:lnTo>
                    <a:pt x="35" y="14"/>
                  </a:lnTo>
                  <a:lnTo>
                    <a:pt x="3" y="14"/>
                  </a:lnTo>
                  <a:lnTo>
                    <a:pt x="3" y="21"/>
                  </a:lnTo>
                  <a:lnTo>
                    <a:pt x="10" y="21"/>
                  </a:lnTo>
                  <a:lnTo>
                    <a:pt x="10" y="39"/>
                  </a:lnTo>
                  <a:lnTo>
                    <a:pt x="7" y="57"/>
                  </a:lnTo>
                  <a:lnTo>
                    <a:pt x="0" y="71"/>
                  </a:lnTo>
                  <a:lnTo>
                    <a:pt x="3" y="75"/>
                  </a:lnTo>
                  <a:lnTo>
                    <a:pt x="10" y="78"/>
                  </a:lnTo>
                  <a:lnTo>
                    <a:pt x="18" y="61"/>
                  </a:lnTo>
                  <a:lnTo>
                    <a:pt x="21" y="39"/>
                  </a:lnTo>
                  <a:lnTo>
                    <a:pt x="25" y="39"/>
                  </a:lnTo>
                  <a:lnTo>
                    <a:pt x="25" y="64"/>
                  </a:lnTo>
                  <a:lnTo>
                    <a:pt x="21" y="68"/>
                  </a:lnTo>
                  <a:lnTo>
                    <a:pt x="18" y="68"/>
                  </a:lnTo>
                  <a:lnTo>
                    <a:pt x="18" y="75"/>
                  </a:lnTo>
                  <a:lnTo>
                    <a:pt x="28" y="75"/>
                  </a:lnTo>
                  <a:lnTo>
                    <a:pt x="32" y="71"/>
                  </a:lnTo>
                  <a:lnTo>
                    <a:pt x="43" y="78"/>
                  </a:lnTo>
                  <a:lnTo>
                    <a:pt x="53" y="71"/>
                  </a:lnTo>
                  <a:lnTo>
                    <a:pt x="57" y="61"/>
                  </a:lnTo>
                  <a:lnTo>
                    <a:pt x="64" y="71"/>
                  </a:lnTo>
                  <a:lnTo>
                    <a:pt x="75" y="78"/>
                  </a:lnTo>
                  <a:lnTo>
                    <a:pt x="82" y="68"/>
                  </a:lnTo>
                  <a:lnTo>
                    <a:pt x="71" y="61"/>
                  </a:lnTo>
                  <a:lnTo>
                    <a:pt x="64" y="53"/>
                  </a:lnTo>
                  <a:lnTo>
                    <a:pt x="78" y="53"/>
                  </a:lnTo>
                  <a:lnTo>
                    <a:pt x="78" y="46"/>
                  </a:lnTo>
                  <a:lnTo>
                    <a:pt x="64" y="46"/>
                  </a:lnTo>
                  <a:lnTo>
                    <a:pt x="64" y="36"/>
                  </a:lnTo>
                  <a:lnTo>
                    <a:pt x="75" y="36"/>
                  </a:lnTo>
                  <a:lnTo>
                    <a:pt x="75" y="25"/>
                  </a:lnTo>
                  <a:lnTo>
                    <a:pt x="53" y="25"/>
                  </a:lnTo>
                  <a:lnTo>
                    <a:pt x="57" y="21"/>
                  </a:lnTo>
                  <a:lnTo>
                    <a:pt x="46" y="21"/>
                  </a:lnTo>
                  <a:lnTo>
                    <a:pt x="43" y="29"/>
                  </a:lnTo>
                  <a:lnTo>
                    <a:pt x="35" y="39"/>
                  </a:lnTo>
                  <a:lnTo>
                    <a:pt x="39" y="43"/>
                  </a:lnTo>
                  <a:lnTo>
                    <a:pt x="43" y="43"/>
                  </a:lnTo>
                  <a:lnTo>
                    <a:pt x="50" y="36"/>
                  </a:lnTo>
                  <a:lnTo>
                    <a:pt x="53" y="36"/>
                  </a:lnTo>
                  <a:lnTo>
                    <a:pt x="53" y="46"/>
                  </a:lnTo>
                  <a:lnTo>
                    <a:pt x="35" y="43"/>
                  </a:lnTo>
                  <a:lnTo>
                    <a:pt x="35" y="53"/>
                  </a:lnTo>
                  <a:lnTo>
                    <a:pt x="50" y="53"/>
                  </a:lnTo>
                  <a:lnTo>
                    <a:pt x="46" y="64"/>
                  </a:lnTo>
                  <a:lnTo>
                    <a:pt x="35"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3" name="Freeform 129"/>
            <p:cNvSpPr>
              <a:spLocks noEditPoints="1"/>
            </p:cNvSpPr>
            <p:nvPr/>
          </p:nvSpPr>
          <p:spPr bwMode="auto">
            <a:xfrm>
              <a:off x="2278" y="991"/>
              <a:ext cx="57" cy="78"/>
            </a:xfrm>
            <a:custGeom>
              <a:avLst/>
              <a:gdLst>
                <a:gd name="T0" fmla="*/ 11 w 57"/>
                <a:gd name="T1" fmla="*/ 78 h 78"/>
                <a:gd name="T2" fmla="*/ 11 w 57"/>
                <a:gd name="T3" fmla="*/ 75 h 78"/>
                <a:gd name="T4" fmla="*/ 43 w 57"/>
                <a:gd name="T5" fmla="*/ 75 h 78"/>
                <a:gd name="T6" fmla="*/ 43 w 57"/>
                <a:gd name="T7" fmla="*/ 78 h 78"/>
                <a:gd name="T8" fmla="*/ 57 w 57"/>
                <a:gd name="T9" fmla="*/ 78 h 78"/>
                <a:gd name="T10" fmla="*/ 57 w 57"/>
                <a:gd name="T11" fmla="*/ 14 h 78"/>
                <a:gd name="T12" fmla="*/ 28 w 57"/>
                <a:gd name="T13" fmla="*/ 14 h 78"/>
                <a:gd name="T14" fmla="*/ 28 w 57"/>
                <a:gd name="T15" fmla="*/ 14 h 78"/>
                <a:gd name="T16" fmla="*/ 32 w 57"/>
                <a:gd name="T17" fmla="*/ 7 h 78"/>
                <a:gd name="T18" fmla="*/ 32 w 57"/>
                <a:gd name="T19" fmla="*/ 7 h 78"/>
                <a:gd name="T20" fmla="*/ 32 w 57"/>
                <a:gd name="T21" fmla="*/ 7 h 78"/>
                <a:gd name="T22" fmla="*/ 32 w 57"/>
                <a:gd name="T23" fmla="*/ 4 h 78"/>
                <a:gd name="T24" fmla="*/ 32 w 57"/>
                <a:gd name="T25" fmla="*/ 4 h 78"/>
                <a:gd name="T26" fmla="*/ 18 w 57"/>
                <a:gd name="T27" fmla="*/ 0 h 78"/>
                <a:gd name="T28" fmla="*/ 18 w 57"/>
                <a:gd name="T29" fmla="*/ 0 h 78"/>
                <a:gd name="T30" fmla="*/ 18 w 57"/>
                <a:gd name="T31" fmla="*/ 4 h 78"/>
                <a:gd name="T32" fmla="*/ 18 w 57"/>
                <a:gd name="T33" fmla="*/ 4 h 78"/>
                <a:gd name="T34" fmla="*/ 18 w 57"/>
                <a:gd name="T35" fmla="*/ 14 h 78"/>
                <a:gd name="T36" fmla="*/ 0 w 57"/>
                <a:gd name="T37" fmla="*/ 14 h 78"/>
                <a:gd name="T38" fmla="*/ 0 w 57"/>
                <a:gd name="T39" fmla="*/ 78 h 78"/>
                <a:gd name="T40" fmla="*/ 0 w 57"/>
                <a:gd name="T41" fmla="*/ 78 h 78"/>
                <a:gd name="T42" fmla="*/ 11 w 57"/>
                <a:gd name="T43" fmla="*/ 78 h 78"/>
                <a:gd name="T44" fmla="*/ 11 w 57"/>
                <a:gd name="T45" fmla="*/ 78 h 78"/>
                <a:gd name="T46" fmla="*/ 43 w 57"/>
                <a:gd name="T47" fmla="*/ 21 h 78"/>
                <a:gd name="T48" fmla="*/ 43 w 57"/>
                <a:gd name="T49" fmla="*/ 32 h 78"/>
                <a:gd name="T50" fmla="*/ 11 w 57"/>
                <a:gd name="T51" fmla="*/ 32 h 78"/>
                <a:gd name="T52" fmla="*/ 11 w 57"/>
                <a:gd name="T53" fmla="*/ 21 h 78"/>
                <a:gd name="T54" fmla="*/ 43 w 57"/>
                <a:gd name="T55" fmla="*/ 21 h 78"/>
                <a:gd name="T56" fmla="*/ 43 w 57"/>
                <a:gd name="T57" fmla="*/ 21 h 78"/>
                <a:gd name="T58" fmla="*/ 46 w 57"/>
                <a:gd name="T59" fmla="*/ 46 h 78"/>
                <a:gd name="T60" fmla="*/ 11 w 57"/>
                <a:gd name="T61" fmla="*/ 46 h 78"/>
                <a:gd name="T62" fmla="*/ 11 w 57"/>
                <a:gd name="T63" fmla="*/ 39 h 78"/>
                <a:gd name="T64" fmla="*/ 46 w 57"/>
                <a:gd name="T65" fmla="*/ 39 h 78"/>
                <a:gd name="T66" fmla="*/ 46 w 57"/>
                <a:gd name="T67" fmla="*/ 46 h 78"/>
                <a:gd name="T68" fmla="*/ 46 w 57"/>
                <a:gd name="T69" fmla="*/ 46 h 78"/>
                <a:gd name="T70" fmla="*/ 46 w 57"/>
                <a:gd name="T71" fmla="*/ 57 h 78"/>
                <a:gd name="T72" fmla="*/ 46 w 57"/>
                <a:gd name="T73" fmla="*/ 64 h 78"/>
                <a:gd name="T74" fmla="*/ 11 w 57"/>
                <a:gd name="T75" fmla="*/ 64 h 78"/>
                <a:gd name="T76" fmla="*/ 11 w 57"/>
                <a:gd name="T77" fmla="*/ 57 h 78"/>
                <a:gd name="T78" fmla="*/ 46 w 57"/>
                <a:gd name="T79" fmla="*/ 57 h 78"/>
                <a:gd name="T80" fmla="*/ 46 w 57"/>
                <a:gd name="T81" fmla="*/ 57 h 7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78"/>
                <a:gd name="T125" fmla="*/ 57 w 57"/>
                <a:gd name="T126" fmla="*/ 78 h 7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78">
                  <a:moveTo>
                    <a:pt x="11" y="78"/>
                  </a:moveTo>
                  <a:lnTo>
                    <a:pt x="11" y="75"/>
                  </a:lnTo>
                  <a:lnTo>
                    <a:pt x="43" y="75"/>
                  </a:lnTo>
                  <a:lnTo>
                    <a:pt x="43" y="78"/>
                  </a:lnTo>
                  <a:lnTo>
                    <a:pt x="57" y="78"/>
                  </a:lnTo>
                  <a:lnTo>
                    <a:pt x="57" y="14"/>
                  </a:lnTo>
                  <a:lnTo>
                    <a:pt x="28" y="14"/>
                  </a:lnTo>
                  <a:lnTo>
                    <a:pt x="32" y="7"/>
                  </a:lnTo>
                  <a:lnTo>
                    <a:pt x="32" y="4"/>
                  </a:lnTo>
                  <a:lnTo>
                    <a:pt x="18" y="0"/>
                  </a:lnTo>
                  <a:lnTo>
                    <a:pt x="18" y="4"/>
                  </a:lnTo>
                  <a:lnTo>
                    <a:pt x="18" y="14"/>
                  </a:lnTo>
                  <a:lnTo>
                    <a:pt x="0" y="14"/>
                  </a:lnTo>
                  <a:lnTo>
                    <a:pt x="0" y="78"/>
                  </a:lnTo>
                  <a:lnTo>
                    <a:pt x="11" y="78"/>
                  </a:lnTo>
                  <a:close/>
                  <a:moveTo>
                    <a:pt x="43" y="21"/>
                  </a:moveTo>
                  <a:lnTo>
                    <a:pt x="43" y="32"/>
                  </a:lnTo>
                  <a:lnTo>
                    <a:pt x="11" y="32"/>
                  </a:lnTo>
                  <a:lnTo>
                    <a:pt x="11" y="21"/>
                  </a:lnTo>
                  <a:lnTo>
                    <a:pt x="43" y="21"/>
                  </a:lnTo>
                  <a:close/>
                  <a:moveTo>
                    <a:pt x="46" y="46"/>
                  </a:moveTo>
                  <a:lnTo>
                    <a:pt x="11" y="46"/>
                  </a:lnTo>
                  <a:lnTo>
                    <a:pt x="11" y="39"/>
                  </a:lnTo>
                  <a:lnTo>
                    <a:pt x="46" y="39"/>
                  </a:lnTo>
                  <a:lnTo>
                    <a:pt x="46" y="46"/>
                  </a:lnTo>
                  <a:close/>
                  <a:moveTo>
                    <a:pt x="46" y="57"/>
                  </a:moveTo>
                  <a:lnTo>
                    <a:pt x="46" y="64"/>
                  </a:lnTo>
                  <a:lnTo>
                    <a:pt x="11" y="64"/>
                  </a:lnTo>
                  <a:lnTo>
                    <a:pt x="11" y="57"/>
                  </a:lnTo>
                  <a:lnTo>
                    <a:pt x="46"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4" name="Freeform 130"/>
            <p:cNvSpPr>
              <a:spLocks noEditPoints="1"/>
            </p:cNvSpPr>
            <p:nvPr/>
          </p:nvSpPr>
          <p:spPr bwMode="auto">
            <a:xfrm>
              <a:off x="2399" y="991"/>
              <a:ext cx="79" cy="78"/>
            </a:xfrm>
            <a:custGeom>
              <a:avLst/>
              <a:gdLst>
                <a:gd name="T0" fmla="*/ 57 w 79"/>
                <a:gd name="T1" fmla="*/ 7 h 78"/>
                <a:gd name="T2" fmla="*/ 57 w 79"/>
                <a:gd name="T3" fmla="*/ 4 h 78"/>
                <a:gd name="T4" fmla="*/ 47 w 79"/>
                <a:gd name="T5" fmla="*/ 0 h 78"/>
                <a:gd name="T6" fmla="*/ 39 w 79"/>
                <a:gd name="T7" fmla="*/ 14 h 78"/>
                <a:gd name="T8" fmla="*/ 29 w 79"/>
                <a:gd name="T9" fmla="*/ 29 h 78"/>
                <a:gd name="T10" fmla="*/ 29 w 79"/>
                <a:gd name="T11" fmla="*/ 39 h 78"/>
                <a:gd name="T12" fmla="*/ 68 w 79"/>
                <a:gd name="T13" fmla="*/ 36 h 78"/>
                <a:gd name="T14" fmla="*/ 71 w 79"/>
                <a:gd name="T15" fmla="*/ 39 h 78"/>
                <a:gd name="T16" fmla="*/ 75 w 79"/>
                <a:gd name="T17" fmla="*/ 36 h 78"/>
                <a:gd name="T18" fmla="*/ 79 w 79"/>
                <a:gd name="T19" fmla="*/ 36 h 78"/>
                <a:gd name="T20" fmla="*/ 64 w 79"/>
                <a:gd name="T21" fmla="*/ 11 h 78"/>
                <a:gd name="T22" fmla="*/ 57 w 79"/>
                <a:gd name="T23" fmla="*/ 18 h 78"/>
                <a:gd name="T24" fmla="*/ 47 w 79"/>
                <a:gd name="T25" fmla="*/ 25 h 78"/>
                <a:gd name="T26" fmla="*/ 57 w 79"/>
                <a:gd name="T27" fmla="*/ 7 h 78"/>
                <a:gd name="T28" fmla="*/ 57 w 79"/>
                <a:gd name="T29" fmla="*/ 7 h 78"/>
                <a:gd name="T30" fmla="*/ 32 w 79"/>
                <a:gd name="T31" fmla="*/ 14 h 78"/>
                <a:gd name="T32" fmla="*/ 18 w 79"/>
                <a:gd name="T33" fmla="*/ 0 h 78"/>
                <a:gd name="T34" fmla="*/ 7 w 79"/>
                <a:gd name="T35" fmla="*/ 11 h 78"/>
                <a:gd name="T36" fmla="*/ 14 w 79"/>
                <a:gd name="T37" fmla="*/ 14 h 78"/>
                <a:gd name="T38" fmla="*/ 22 w 79"/>
                <a:gd name="T39" fmla="*/ 21 h 78"/>
                <a:gd name="T40" fmla="*/ 32 w 79"/>
                <a:gd name="T41" fmla="*/ 14 h 78"/>
                <a:gd name="T42" fmla="*/ 22 w 79"/>
                <a:gd name="T43" fmla="*/ 29 h 78"/>
                <a:gd name="T44" fmla="*/ 7 w 79"/>
                <a:gd name="T45" fmla="*/ 21 h 78"/>
                <a:gd name="T46" fmla="*/ 0 w 79"/>
                <a:gd name="T47" fmla="*/ 29 h 78"/>
                <a:gd name="T48" fmla="*/ 14 w 79"/>
                <a:gd name="T49" fmla="*/ 39 h 78"/>
                <a:gd name="T50" fmla="*/ 22 w 79"/>
                <a:gd name="T51" fmla="*/ 29 h 78"/>
                <a:gd name="T52" fmla="*/ 22 w 79"/>
                <a:gd name="T53" fmla="*/ 29 h 78"/>
                <a:gd name="T54" fmla="*/ 11 w 79"/>
                <a:gd name="T55" fmla="*/ 75 h 78"/>
                <a:gd name="T56" fmla="*/ 14 w 79"/>
                <a:gd name="T57" fmla="*/ 78 h 78"/>
                <a:gd name="T58" fmla="*/ 25 w 79"/>
                <a:gd name="T59" fmla="*/ 46 h 78"/>
                <a:gd name="T60" fmla="*/ 18 w 79"/>
                <a:gd name="T61" fmla="*/ 43 h 78"/>
                <a:gd name="T62" fmla="*/ 14 w 79"/>
                <a:gd name="T63" fmla="*/ 43 h 78"/>
                <a:gd name="T64" fmla="*/ 4 w 79"/>
                <a:gd name="T65" fmla="*/ 71 h 78"/>
                <a:gd name="T66" fmla="*/ 11 w 79"/>
                <a:gd name="T67" fmla="*/ 75 h 78"/>
                <a:gd name="T68" fmla="*/ 43 w 79"/>
                <a:gd name="T69" fmla="*/ 71 h 78"/>
                <a:gd name="T70" fmla="*/ 61 w 79"/>
                <a:gd name="T71" fmla="*/ 78 h 78"/>
                <a:gd name="T72" fmla="*/ 71 w 79"/>
                <a:gd name="T73" fmla="*/ 43 h 78"/>
                <a:gd name="T74" fmla="*/ 32 w 79"/>
                <a:gd name="T75" fmla="*/ 78 h 78"/>
                <a:gd name="T76" fmla="*/ 43 w 79"/>
                <a:gd name="T77" fmla="*/ 71 h 78"/>
                <a:gd name="T78" fmla="*/ 61 w 79"/>
                <a:gd name="T79" fmla="*/ 50 h 78"/>
                <a:gd name="T80" fmla="*/ 43 w 79"/>
                <a:gd name="T81" fmla="*/ 64 h 78"/>
                <a:gd name="T82" fmla="*/ 61 w 79"/>
                <a:gd name="T83" fmla="*/ 50 h 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9"/>
                <a:gd name="T127" fmla="*/ 0 h 78"/>
                <a:gd name="T128" fmla="*/ 79 w 79"/>
                <a:gd name="T129" fmla="*/ 78 h 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9" h="78">
                  <a:moveTo>
                    <a:pt x="57" y="7"/>
                  </a:moveTo>
                  <a:lnTo>
                    <a:pt x="57" y="7"/>
                  </a:lnTo>
                  <a:lnTo>
                    <a:pt x="57" y="4"/>
                  </a:lnTo>
                  <a:lnTo>
                    <a:pt x="47" y="0"/>
                  </a:lnTo>
                  <a:lnTo>
                    <a:pt x="39" y="14"/>
                  </a:lnTo>
                  <a:lnTo>
                    <a:pt x="32" y="25"/>
                  </a:lnTo>
                  <a:lnTo>
                    <a:pt x="29" y="29"/>
                  </a:lnTo>
                  <a:lnTo>
                    <a:pt x="29" y="39"/>
                  </a:lnTo>
                  <a:lnTo>
                    <a:pt x="54" y="36"/>
                  </a:lnTo>
                  <a:lnTo>
                    <a:pt x="68" y="36"/>
                  </a:lnTo>
                  <a:lnTo>
                    <a:pt x="71" y="39"/>
                  </a:lnTo>
                  <a:lnTo>
                    <a:pt x="75" y="36"/>
                  </a:lnTo>
                  <a:lnTo>
                    <a:pt x="79" y="36"/>
                  </a:lnTo>
                  <a:lnTo>
                    <a:pt x="64" y="11"/>
                  </a:lnTo>
                  <a:lnTo>
                    <a:pt x="57" y="18"/>
                  </a:lnTo>
                  <a:lnTo>
                    <a:pt x="61" y="25"/>
                  </a:lnTo>
                  <a:lnTo>
                    <a:pt x="47" y="25"/>
                  </a:lnTo>
                  <a:lnTo>
                    <a:pt x="57" y="7"/>
                  </a:lnTo>
                  <a:close/>
                  <a:moveTo>
                    <a:pt x="32" y="14"/>
                  </a:moveTo>
                  <a:lnTo>
                    <a:pt x="32" y="14"/>
                  </a:lnTo>
                  <a:lnTo>
                    <a:pt x="18" y="0"/>
                  </a:lnTo>
                  <a:lnTo>
                    <a:pt x="7" y="11"/>
                  </a:lnTo>
                  <a:lnTo>
                    <a:pt x="14" y="14"/>
                  </a:lnTo>
                  <a:lnTo>
                    <a:pt x="22" y="21"/>
                  </a:lnTo>
                  <a:lnTo>
                    <a:pt x="32" y="14"/>
                  </a:lnTo>
                  <a:close/>
                  <a:moveTo>
                    <a:pt x="22" y="29"/>
                  </a:moveTo>
                  <a:lnTo>
                    <a:pt x="22" y="29"/>
                  </a:lnTo>
                  <a:lnTo>
                    <a:pt x="7" y="21"/>
                  </a:lnTo>
                  <a:lnTo>
                    <a:pt x="0" y="29"/>
                  </a:lnTo>
                  <a:lnTo>
                    <a:pt x="14" y="39"/>
                  </a:lnTo>
                  <a:lnTo>
                    <a:pt x="22" y="29"/>
                  </a:lnTo>
                  <a:close/>
                  <a:moveTo>
                    <a:pt x="11" y="75"/>
                  </a:moveTo>
                  <a:lnTo>
                    <a:pt x="11" y="75"/>
                  </a:lnTo>
                  <a:lnTo>
                    <a:pt x="14" y="78"/>
                  </a:lnTo>
                  <a:lnTo>
                    <a:pt x="25" y="46"/>
                  </a:lnTo>
                  <a:lnTo>
                    <a:pt x="18" y="43"/>
                  </a:lnTo>
                  <a:lnTo>
                    <a:pt x="14" y="43"/>
                  </a:lnTo>
                  <a:lnTo>
                    <a:pt x="4" y="71"/>
                  </a:lnTo>
                  <a:lnTo>
                    <a:pt x="11" y="75"/>
                  </a:lnTo>
                  <a:close/>
                  <a:moveTo>
                    <a:pt x="43" y="71"/>
                  </a:moveTo>
                  <a:lnTo>
                    <a:pt x="61" y="71"/>
                  </a:lnTo>
                  <a:lnTo>
                    <a:pt x="61" y="78"/>
                  </a:lnTo>
                  <a:lnTo>
                    <a:pt x="71" y="78"/>
                  </a:lnTo>
                  <a:lnTo>
                    <a:pt x="71" y="43"/>
                  </a:lnTo>
                  <a:lnTo>
                    <a:pt x="32" y="43"/>
                  </a:lnTo>
                  <a:lnTo>
                    <a:pt x="32" y="78"/>
                  </a:lnTo>
                  <a:lnTo>
                    <a:pt x="43" y="78"/>
                  </a:lnTo>
                  <a:lnTo>
                    <a:pt x="43" y="71"/>
                  </a:lnTo>
                  <a:close/>
                  <a:moveTo>
                    <a:pt x="61" y="50"/>
                  </a:moveTo>
                  <a:lnTo>
                    <a:pt x="61" y="64"/>
                  </a:lnTo>
                  <a:lnTo>
                    <a:pt x="43" y="64"/>
                  </a:lnTo>
                  <a:lnTo>
                    <a:pt x="43" y="50"/>
                  </a:lnTo>
                  <a:lnTo>
                    <a:pt x="61"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5" name="Freeform 131"/>
            <p:cNvSpPr>
              <a:spLocks noEditPoints="1"/>
            </p:cNvSpPr>
            <p:nvPr/>
          </p:nvSpPr>
          <p:spPr bwMode="auto">
            <a:xfrm>
              <a:off x="2535" y="995"/>
              <a:ext cx="71" cy="74"/>
            </a:xfrm>
            <a:custGeom>
              <a:avLst/>
              <a:gdLst>
                <a:gd name="T0" fmla="*/ 53 w 71"/>
                <a:gd name="T1" fmla="*/ 17 h 74"/>
                <a:gd name="T2" fmla="*/ 46 w 71"/>
                <a:gd name="T3" fmla="*/ 10 h 74"/>
                <a:gd name="T4" fmla="*/ 46 w 71"/>
                <a:gd name="T5" fmla="*/ 3 h 74"/>
                <a:gd name="T6" fmla="*/ 46 w 71"/>
                <a:gd name="T7" fmla="*/ 3 h 74"/>
                <a:gd name="T8" fmla="*/ 46 w 71"/>
                <a:gd name="T9" fmla="*/ 3 h 74"/>
                <a:gd name="T10" fmla="*/ 35 w 71"/>
                <a:gd name="T11" fmla="*/ 3 h 74"/>
                <a:gd name="T12" fmla="*/ 35 w 71"/>
                <a:gd name="T13" fmla="*/ 35 h 74"/>
                <a:gd name="T14" fmla="*/ 32 w 71"/>
                <a:gd name="T15" fmla="*/ 17 h 74"/>
                <a:gd name="T16" fmla="*/ 25 w 71"/>
                <a:gd name="T17" fmla="*/ 7 h 74"/>
                <a:gd name="T18" fmla="*/ 25 w 71"/>
                <a:gd name="T19" fmla="*/ 0 h 74"/>
                <a:gd name="T20" fmla="*/ 25 w 71"/>
                <a:gd name="T21" fmla="*/ 0 h 74"/>
                <a:gd name="T22" fmla="*/ 25 w 71"/>
                <a:gd name="T23" fmla="*/ 0 h 74"/>
                <a:gd name="T24" fmla="*/ 14 w 71"/>
                <a:gd name="T25" fmla="*/ 0 h 74"/>
                <a:gd name="T26" fmla="*/ 14 w 71"/>
                <a:gd name="T27" fmla="*/ 42 h 74"/>
                <a:gd name="T28" fmla="*/ 10 w 71"/>
                <a:gd name="T29" fmla="*/ 57 h 74"/>
                <a:gd name="T30" fmla="*/ 0 w 71"/>
                <a:gd name="T31" fmla="*/ 67 h 74"/>
                <a:gd name="T32" fmla="*/ 10 w 71"/>
                <a:gd name="T33" fmla="*/ 74 h 74"/>
                <a:gd name="T34" fmla="*/ 17 w 71"/>
                <a:gd name="T35" fmla="*/ 64 h 74"/>
                <a:gd name="T36" fmla="*/ 21 w 71"/>
                <a:gd name="T37" fmla="*/ 57 h 74"/>
                <a:gd name="T38" fmla="*/ 25 w 71"/>
                <a:gd name="T39" fmla="*/ 25 h 74"/>
                <a:gd name="T40" fmla="*/ 28 w 71"/>
                <a:gd name="T41" fmla="*/ 46 h 74"/>
                <a:gd name="T42" fmla="*/ 35 w 71"/>
                <a:gd name="T43" fmla="*/ 42 h 74"/>
                <a:gd name="T44" fmla="*/ 35 w 71"/>
                <a:gd name="T45" fmla="*/ 42 h 74"/>
                <a:gd name="T46" fmla="*/ 46 w 71"/>
                <a:gd name="T47" fmla="*/ 71 h 74"/>
                <a:gd name="T48" fmla="*/ 46 w 71"/>
                <a:gd name="T49" fmla="*/ 21 h 74"/>
                <a:gd name="T50" fmla="*/ 50 w 71"/>
                <a:gd name="T51" fmla="*/ 46 h 74"/>
                <a:gd name="T52" fmla="*/ 60 w 71"/>
                <a:gd name="T53" fmla="*/ 74 h 74"/>
                <a:gd name="T54" fmla="*/ 71 w 71"/>
                <a:gd name="T55" fmla="*/ 3 h 74"/>
                <a:gd name="T56" fmla="*/ 71 w 71"/>
                <a:gd name="T57" fmla="*/ 0 h 74"/>
                <a:gd name="T58" fmla="*/ 71 w 71"/>
                <a:gd name="T59" fmla="*/ 0 h 74"/>
                <a:gd name="T60" fmla="*/ 71 w 71"/>
                <a:gd name="T61" fmla="*/ 0 h 74"/>
                <a:gd name="T62" fmla="*/ 60 w 71"/>
                <a:gd name="T63" fmla="*/ 0 h 74"/>
                <a:gd name="T64" fmla="*/ 60 w 71"/>
                <a:gd name="T65" fmla="*/ 35 h 74"/>
                <a:gd name="T66" fmla="*/ 53 w 71"/>
                <a:gd name="T67" fmla="*/ 17 h 74"/>
                <a:gd name="T68" fmla="*/ 10 w 71"/>
                <a:gd name="T69" fmla="*/ 35 h 74"/>
                <a:gd name="T70" fmla="*/ 14 w 71"/>
                <a:gd name="T71" fmla="*/ 21 h 74"/>
                <a:gd name="T72" fmla="*/ 3 w 71"/>
                <a:gd name="T73" fmla="*/ 17 h 74"/>
                <a:gd name="T74" fmla="*/ 3 w 71"/>
                <a:gd name="T75" fmla="*/ 21 h 74"/>
                <a:gd name="T76" fmla="*/ 0 w 71"/>
                <a:gd name="T77" fmla="*/ 42 h 74"/>
                <a:gd name="T78" fmla="*/ 10 w 71"/>
                <a:gd name="T79" fmla="*/ 46 h 74"/>
                <a:gd name="T80" fmla="*/ 10 w 71"/>
                <a:gd name="T81" fmla="*/ 35 h 74"/>
                <a:gd name="T82" fmla="*/ 10 w 71"/>
                <a:gd name="T83" fmla="*/ 35 h 7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74"/>
                <a:gd name="T128" fmla="*/ 71 w 71"/>
                <a:gd name="T129" fmla="*/ 74 h 7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74">
                  <a:moveTo>
                    <a:pt x="53" y="17"/>
                  </a:moveTo>
                  <a:lnTo>
                    <a:pt x="53" y="17"/>
                  </a:lnTo>
                  <a:lnTo>
                    <a:pt x="46" y="17"/>
                  </a:lnTo>
                  <a:lnTo>
                    <a:pt x="46" y="10"/>
                  </a:lnTo>
                  <a:lnTo>
                    <a:pt x="46" y="3"/>
                  </a:lnTo>
                  <a:lnTo>
                    <a:pt x="35" y="3"/>
                  </a:lnTo>
                  <a:lnTo>
                    <a:pt x="35" y="35"/>
                  </a:lnTo>
                  <a:lnTo>
                    <a:pt x="32" y="17"/>
                  </a:lnTo>
                  <a:lnTo>
                    <a:pt x="25" y="17"/>
                  </a:lnTo>
                  <a:lnTo>
                    <a:pt x="25" y="7"/>
                  </a:lnTo>
                  <a:lnTo>
                    <a:pt x="25" y="0"/>
                  </a:lnTo>
                  <a:lnTo>
                    <a:pt x="14" y="0"/>
                  </a:lnTo>
                  <a:lnTo>
                    <a:pt x="14" y="42"/>
                  </a:lnTo>
                  <a:lnTo>
                    <a:pt x="14" y="49"/>
                  </a:lnTo>
                  <a:lnTo>
                    <a:pt x="10" y="57"/>
                  </a:lnTo>
                  <a:lnTo>
                    <a:pt x="0" y="67"/>
                  </a:lnTo>
                  <a:lnTo>
                    <a:pt x="10" y="74"/>
                  </a:lnTo>
                  <a:lnTo>
                    <a:pt x="17" y="64"/>
                  </a:lnTo>
                  <a:lnTo>
                    <a:pt x="21" y="57"/>
                  </a:lnTo>
                  <a:lnTo>
                    <a:pt x="25" y="39"/>
                  </a:lnTo>
                  <a:lnTo>
                    <a:pt x="25" y="25"/>
                  </a:lnTo>
                  <a:lnTo>
                    <a:pt x="28" y="46"/>
                  </a:lnTo>
                  <a:lnTo>
                    <a:pt x="35" y="42"/>
                  </a:lnTo>
                  <a:lnTo>
                    <a:pt x="35" y="71"/>
                  </a:lnTo>
                  <a:lnTo>
                    <a:pt x="46" y="71"/>
                  </a:lnTo>
                  <a:lnTo>
                    <a:pt x="46" y="21"/>
                  </a:lnTo>
                  <a:lnTo>
                    <a:pt x="50" y="46"/>
                  </a:lnTo>
                  <a:lnTo>
                    <a:pt x="60" y="42"/>
                  </a:lnTo>
                  <a:lnTo>
                    <a:pt x="60" y="74"/>
                  </a:lnTo>
                  <a:lnTo>
                    <a:pt x="71" y="74"/>
                  </a:lnTo>
                  <a:lnTo>
                    <a:pt x="71" y="3"/>
                  </a:lnTo>
                  <a:lnTo>
                    <a:pt x="71" y="0"/>
                  </a:lnTo>
                  <a:lnTo>
                    <a:pt x="60" y="0"/>
                  </a:lnTo>
                  <a:lnTo>
                    <a:pt x="60" y="35"/>
                  </a:lnTo>
                  <a:lnTo>
                    <a:pt x="53" y="17"/>
                  </a:lnTo>
                  <a:close/>
                  <a:moveTo>
                    <a:pt x="10" y="35"/>
                  </a:moveTo>
                  <a:lnTo>
                    <a:pt x="10" y="35"/>
                  </a:lnTo>
                  <a:lnTo>
                    <a:pt x="14" y="21"/>
                  </a:lnTo>
                  <a:lnTo>
                    <a:pt x="3" y="17"/>
                  </a:lnTo>
                  <a:lnTo>
                    <a:pt x="3" y="21"/>
                  </a:lnTo>
                  <a:lnTo>
                    <a:pt x="0" y="42"/>
                  </a:lnTo>
                  <a:lnTo>
                    <a:pt x="10" y="46"/>
                  </a:lnTo>
                  <a:lnTo>
                    <a:pt x="10"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6" name="Freeform 132"/>
            <p:cNvSpPr>
              <a:spLocks noEditPoints="1"/>
            </p:cNvSpPr>
            <p:nvPr/>
          </p:nvSpPr>
          <p:spPr bwMode="auto">
            <a:xfrm>
              <a:off x="2192" y="2260"/>
              <a:ext cx="79" cy="78"/>
            </a:xfrm>
            <a:custGeom>
              <a:avLst/>
              <a:gdLst>
                <a:gd name="T0" fmla="*/ 54 w 79"/>
                <a:gd name="T1" fmla="*/ 4 h 78"/>
                <a:gd name="T2" fmla="*/ 50 w 79"/>
                <a:gd name="T3" fmla="*/ 0 h 78"/>
                <a:gd name="T4" fmla="*/ 43 w 79"/>
                <a:gd name="T5" fmla="*/ 0 h 78"/>
                <a:gd name="T6" fmla="*/ 32 w 79"/>
                <a:gd name="T7" fmla="*/ 25 h 78"/>
                <a:gd name="T8" fmla="*/ 29 w 79"/>
                <a:gd name="T9" fmla="*/ 29 h 78"/>
                <a:gd name="T10" fmla="*/ 36 w 79"/>
                <a:gd name="T11" fmla="*/ 14 h 78"/>
                <a:gd name="T12" fmla="*/ 0 w 79"/>
                <a:gd name="T13" fmla="*/ 4 h 78"/>
                <a:gd name="T14" fmla="*/ 18 w 79"/>
                <a:gd name="T15" fmla="*/ 14 h 78"/>
                <a:gd name="T16" fmla="*/ 15 w 79"/>
                <a:gd name="T17" fmla="*/ 29 h 78"/>
                <a:gd name="T18" fmla="*/ 18 w 79"/>
                <a:gd name="T19" fmla="*/ 18 h 78"/>
                <a:gd name="T20" fmla="*/ 8 w 79"/>
                <a:gd name="T21" fmla="*/ 14 h 78"/>
                <a:gd name="T22" fmla="*/ 4 w 79"/>
                <a:gd name="T23" fmla="*/ 25 h 78"/>
                <a:gd name="T24" fmla="*/ 4 w 79"/>
                <a:gd name="T25" fmla="*/ 36 h 78"/>
                <a:gd name="T26" fmla="*/ 15 w 79"/>
                <a:gd name="T27" fmla="*/ 36 h 78"/>
                <a:gd name="T28" fmla="*/ 0 w 79"/>
                <a:gd name="T29" fmla="*/ 57 h 78"/>
                <a:gd name="T30" fmla="*/ 0 w 79"/>
                <a:gd name="T31" fmla="*/ 61 h 78"/>
                <a:gd name="T32" fmla="*/ 8 w 79"/>
                <a:gd name="T33" fmla="*/ 64 h 78"/>
                <a:gd name="T34" fmla="*/ 18 w 79"/>
                <a:gd name="T35" fmla="*/ 46 h 78"/>
                <a:gd name="T36" fmla="*/ 18 w 79"/>
                <a:gd name="T37" fmla="*/ 64 h 78"/>
                <a:gd name="T38" fmla="*/ 11 w 79"/>
                <a:gd name="T39" fmla="*/ 68 h 78"/>
                <a:gd name="T40" fmla="*/ 15 w 79"/>
                <a:gd name="T41" fmla="*/ 78 h 78"/>
                <a:gd name="T42" fmla="*/ 25 w 79"/>
                <a:gd name="T43" fmla="*/ 75 h 78"/>
                <a:gd name="T44" fmla="*/ 29 w 79"/>
                <a:gd name="T45" fmla="*/ 68 h 78"/>
                <a:gd name="T46" fmla="*/ 32 w 79"/>
                <a:gd name="T47" fmla="*/ 36 h 78"/>
                <a:gd name="T48" fmla="*/ 32 w 79"/>
                <a:gd name="T49" fmla="*/ 29 h 78"/>
                <a:gd name="T50" fmla="*/ 36 w 79"/>
                <a:gd name="T51" fmla="*/ 32 h 78"/>
                <a:gd name="T52" fmla="*/ 47 w 79"/>
                <a:gd name="T53" fmla="*/ 78 h 78"/>
                <a:gd name="T54" fmla="*/ 79 w 79"/>
                <a:gd name="T55" fmla="*/ 71 h 78"/>
                <a:gd name="T56" fmla="*/ 65 w 79"/>
                <a:gd name="T57" fmla="*/ 61 h 78"/>
                <a:gd name="T58" fmla="*/ 75 w 79"/>
                <a:gd name="T59" fmla="*/ 54 h 78"/>
                <a:gd name="T60" fmla="*/ 65 w 79"/>
                <a:gd name="T61" fmla="*/ 46 h 78"/>
                <a:gd name="T62" fmla="*/ 75 w 79"/>
                <a:gd name="T63" fmla="*/ 39 h 78"/>
                <a:gd name="T64" fmla="*/ 65 w 79"/>
                <a:gd name="T65" fmla="*/ 29 h 78"/>
                <a:gd name="T66" fmla="*/ 79 w 79"/>
                <a:gd name="T67" fmla="*/ 25 h 78"/>
                <a:gd name="T68" fmla="*/ 61 w 79"/>
                <a:gd name="T69" fmla="*/ 14 h 78"/>
                <a:gd name="T70" fmla="*/ 68 w 79"/>
                <a:gd name="T71" fmla="*/ 14 h 78"/>
                <a:gd name="T72" fmla="*/ 65 w 79"/>
                <a:gd name="T73" fmla="*/ 4 h 78"/>
                <a:gd name="T74" fmla="*/ 54 w 79"/>
                <a:gd name="T75" fmla="*/ 4 h 78"/>
                <a:gd name="T76" fmla="*/ 57 w 79"/>
                <a:gd name="T77" fmla="*/ 11 h 78"/>
                <a:gd name="T78" fmla="*/ 57 w 79"/>
                <a:gd name="T79" fmla="*/ 14 h 78"/>
                <a:gd name="T80" fmla="*/ 50 w 79"/>
                <a:gd name="T81" fmla="*/ 14 h 78"/>
                <a:gd name="T82" fmla="*/ 54 w 79"/>
                <a:gd name="T83" fmla="*/ 4 h 78"/>
                <a:gd name="T84" fmla="*/ 47 w 79"/>
                <a:gd name="T85" fmla="*/ 25 h 78"/>
                <a:gd name="T86" fmla="*/ 54 w 79"/>
                <a:gd name="T87" fmla="*/ 29 h 78"/>
                <a:gd name="T88" fmla="*/ 47 w 79"/>
                <a:gd name="T89" fmla="*/ 25 h 78"/>
                <a:gd name="T90" fmla="*/ 47 w 79"/>
                <a:gd name="T91" fmla="*/ 39 h 78"/>
                <a:gd name="T92" fmla="*/ 54 w 79"/>
                <a:gd name="T93" fmla="*/ 46 h 78"/>
                <a:gd name="T94" fmla="*/ 47 w 79"/>
                <a:gd name="T95" fmla="*/ 39 h 78"/>
                <a:gd name="T96" fmla="*/ 47 w 79"/>
                <a:gd name="T97" fmla="*/ 54 h 78"/>
                <a:gd name="T98" fmla="*/ 54 w 79"/>
                <a:gd name="T99" fmla="*/ 61 h 78"/>
                <a:gd name="T100" fmla="*/ 47 w 79"/>
                <a:gd name="T101" fmla="*/ 54 h 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9"/>
                <a:gd name="T154" fmla="*/ 0 h 78"/>
                <a:gd name="T155" fmla="*/ 79 w 79"/>
                <a:gd name="T156" fmla="*/ 78 h 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9" h="78">
                  <a:moveTo>
                    <a:pt x="54" y="4"/>
                  </a:moveTo>
                  <a:lnTo>
                    <a:pt x="54" y="4"/>
                  </a:lnTo>
                  <a:lnTo>
                    <a:pt x="50" y="0"/>
                  </a:lnTo>
                  <a:lnTo>
                    <a:pt x="43" y="0"/>
                  </a:lnTo>
                  <a:lnTo>
                    <a:pt x="40" y="14"/>
                  </a:lnTo>
                  <a:lnTo>
                    <a:pt x="32" y="25"/>
                  </a:lnTo>
                  <a:lnTo>
                    <a:pt x="32" y="29"/>
                  </a:lnTo>
                  <a:lnTo>
                    <a:pt x="29" y="29"/>
                  </a:lnTo>
                  <a:lnTo>
                    <a:pt x="29" y="14"/>
                  </a:lnTo>
                  <a:lnTo>
                    <a:pt x="36" y="14"/>
                  </a:lnTo>
                  <a:lnTo>
                    <a:pt x="36" y="4"/>
                  </a:lnTo>
                  <a:lnTo>
                    <a:pt x="0" y="4"/>
                  </a:lnTo>
                  <a:lnTo>
                    <a:pt x="0" y="14"/>
                  </a:lnTo>
                  <a:lnTo>
                    <a:pt x="18" y="14"/>
                  </a:lnTo>
                  <a:lnTo>
                    <a:pt x="18" y="29"/>
                  </a:lnTo>
                  <a:lnTo>
                    <a:pt x="15" y="29"/>
                  </a:lnTo>
                  <a:lnTo>
                    <a:pt x="18" y="18"/>
                  </a:lnTo>
                  <a:lnTo>
                    <a:pt x="8" y="14"/>
                  </a:lnTo>
                  <a:lnTo>
                    <a:pt x="4" y="25"/>
                  </a:lnTo>
                  <a:lnTo>
                    <a:pt x="0" y="29"/>
                  </a:lnTo>
                  <a:lnTo>
                    <a:pt x="4" y="36"/>
                  </a:lnTo>
                  <a:lnTo>
                    <a:pt x="15" y="36"/>
                  </a:lnTo>
                  <a:lnTo>
                    <a:pt x="8" y="46"/>
                  </a:lnTo>
                  <a:lnTo>
                    <a:pt x="0" y="57"/>
                  </a:lnTo>
                  <a:lnTo>
                    <a:pt x="0" y="61"/>
                  </a:lnTo>
                  <a:lnTo>
                    <a:pt x="8" y="64"/>
                  </a:lnTo>
                  <a:lnTo>
                    <a:pt x="18" y="46"/>
                  </a:lnTo>
                  <a:lnTo>
                    <a:pt x="18" y="64"/>
                  </a:lnTo>
                  <a:lnTo>
                    <a:pt x="18" y="68"/>
                  </a:lnTo>
                  <a:lnTo>
                    <a:pt x="11" y="68"/>
                  </a:lnTo>
                  <a:lnTo>
                    <a:pt x="15" y="78"/>
                  </a:lnTo>
                  <a:lnTo>
                    <a:pt x="25" y="75"/>
                  </a:lnTo>
                  <a:lnTo>
                    <a:pt x="29" y="68"/>
                  </a:lnTo>
                  <a:lnTo>
                    <a:pt x="29" y="36"/>
                  </a:lnTo>
                  <a:lnTo>
                    <a:pt x="32" y="36"/>
                  </a:lnTo>
                  <a:lnTo>
                    <a:pt x="32" y="29"/>
                  </a:lnTo>
                  <a:lnTo>
                    <a:pt x="36" y="32"/>
                  </a:lnTo>
                  <a:lnTo>
                    <a:pt x="36" y="78"/>
                  </a:lnTo>
                  <a:lnTo>
                    <a:pt x="47" y="78"/>
                  </a:lnTo>
                  <a:lnTo>
                    <a:pt x="47" y="71"/>
                  </a:lnTo>
                  <a:lnTo>
                    <a:pt x="79" y="71"/>
                  </a:lnTo>
                  <a:lnTo>
                    <a:pt x="79" y="61"/>
                  </a:lnTo>
                  <a:lnTo>
                    <a:pt x="65" y="61"/>
                  </a:lnTo>
                  <a:lnTo>
                    <a:pt x="65" y="54"/>
                  </a:lnTo>
                  <a:lnTo>
                    <a:pt x="75" y="54"/>
                  </a:lnTo>
                  <a:lnTo>
                    <a:pt x="75" y="46"/>
                  </a:lnTo>
                  <a:lnTo>
                    <a:pt x="65" y="46"/>
                  </a:lnTo>
                  <a:lnTo>
                    <a:pt x="65" y="39"/>
                  </a:lnTo>
                  <a:lnTo>
                    <a:pt x="75" y="39"/>
                  </a:lnTo>
                  <a:lnTo>
                    <a:pt x="75" y="29"/>
                  </a:lnTo>
                  <a:lnTo>
                    <a:pt x="65" y="29"/>
                  </a:lnTo>
                  <a:lnTo>
                    <a:pt x="65" y="25"/>
                  </a:lnTo>
                  <a:lnTo>
                    <a:pt x="79" y="25"/>
                  </a:lnTo>
                  <a:lnTo>
                    <a:pt x="79" y="14"/>
                  </a:lnTo>
                  <a:lnTo>
                    <a:pt x="61" y="14"/>
                  </a:lnTo>
                  <a:lnTo>
                    <a:pt x="68" y="14"/>
                  </a:lnTo>
                  <a:lnTo>
                    <a:pt x="65" y="4"/>
                  </a:lnTo>
                  <a:lnTo>
                    <a:pt x="54" y="4"/>
                  </a:lnTo>
                  <a:lnTo>
                    <a:pt x="57" y="11"/>
                  </a:lnTo>
                  <a:lnTo>
                    <a:pt x="57" y="14"/>
                  </a:lnTo>
                  <a:lnTo>
                    <a:pt x="50" y="14"/>
                  </a:lnTo>
                  <a:lnTo>
                    <a:pt x="54" y="4"/>
                  </a:lnTo>
                  <a:close/>
                  <a:moveTo>
                    <a:pt x="47" y="25"/>
                  </a:moveTo>
                  <a:lnTo>
                    <a:pt x="54" y="25"/>
                  </a:lnTo>
                  <a:lnTo>
                    <a:pt x="54" y="29"/>
                  </a:lnTo>
                  <a:lnTo>
                    <a:pt x="47" y="29"/>
                  </a:lnTo>
                  <a:lnTo>
                    <a:pt x="47" y="25"/>
                  </a:lnTo>
                  <a:close/>
                  <a:moveTo>
                    <a:pt x="47" y="39"/>
                  </a:moveTo>
                  <a:lnTo>
                    <a:pt x="54" y="39"/>
                  </a:lnTo>
                  <a:lnTo>
                    <a:pt x="54" y="46"/>
                  </a:lnTo>
                  <a:lnTo>
                    <a:pt x="47" y="46"/>
                  </a:lnTo>
                  <a:lnTo>
                    <a:pt x="47" y="39"/>
                  </a:lnTo>
                  <a:close/>
                  <a:moveTo>
                    <a:pt x="47" y="54"/>
                  </a:moveTo>
                  <a:lnTo>
                    <a:pt x="54" y="54"/>
                  </a:lnTo>
                  <a:lnTo>
                    <a:pt x="54" y="61"/>
                  </a:lnTo>
                  <a:lnTo>
                    <a:pt x="47" y="61"/>
                  </a:lnTo>
                  <a:lnTo>
                    <a:pt x="47"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7" name="Freeform 133"/>
            <p:cNvSpPr>
              <a:spLocks noEditPoints="1"/>
            </p:cNvSpPr>
            <p:nvPr/>
          </p:nvSpPr>
          <p:spPr bwMode="auto">
            <a:xfrm>
              <a:off x="2278" y="2260"/>
              <a:ext cx="78" cy="78"/>
            </a:xfrm>
            <a:custGeom>
              <a:avLst/>
              <a:gdLst>
                <a:gd name="T0" fmla="*/ 14 w 78"/>
                <a:gd name="T1" fmla="*/ 25 h 78"/>
                <a:gd name="T2" fmla="*/ 61 w 78"/>
                <a:gd name="T3" fmla="*/ 18 h 78"/>
                <a:gd name="T4" fmla="*/ 75 w 78"/>
                <a:gd name="T5" fmla="*/ 29 h 78"/>
                <a:gd name="T6" fmla="*/ 46 w 78"/>
                <a:gd name="T7" fmla="*/ 7 h 78"/>
                <a:gd name="T8" fmla="*/ 46 w 78"/>
                <a:gd name="T9" fmla="*/ 0 h 78"/>
                <a:gd name="T10" fmla="*/ 43 w 78"/>
                <a:gd name="T11" fmla="*/ 0 h 78"/>
                <a:gd name="T12" fmla="*/ 32 w 78"/>
                <a:gd name="T13" fmla="*/ 0 h 78"/>
                <a:gd name="T14" fmla="*/ 32 w 78"/>
                <a:gd name="T15" fmla="*/ 7 h 78"/>
                <a:gd name="T16" fmla="*/ 4 w 78"/>
                <a:gd name="T17" fmla="*/ 25 h 78"/>
                <a:gd name="T18" fmla="*/ 0 w 78"/>
                <a:gd name="T19" fmla="*/ 43 h 78"/>
                <a:gd name="T20" fmla="*/ 21 w 78"/>
                <a:gd name="T21" fmla="*/ 43 h 78"/>
                <a:gd name="T22" fmla="*/ 14 w 78"/>
                <a:gd name="T23" fmla="*/ 54 h 78"/>
                <a:gd name="T24" fmla="*/ 32 w 78"/>
                <a:gd name="T25" fmla="*/ 61 h 78"/>
                <a:gd name="T26" fmla="*/ 21 w 78"/>
                <a:gd name="T27" fmla="*/ 64 h 78"/>
                <a:gd name="T28" fmla="*/ 4 w 78"/>
                <a:gd name="T29" fmla="*/ 68 h 78"/>
                <a:gd name="T30" fmla="*/ 11 w 78"/>
                <a:gd name="T31" fmla="*/ 78 h 78"/>
                <a:gd name="T32" fmla="*/ 46 w 78"/>
                <a:gd name="T33" fmla="*/ 64 h 78"/>
                <a:gd name="T34" fmla="*/ 57 w 78"/>
                <a:gd name="T35" fmla="*/ 71 h 78"/>
                <a:gd name="T36" fmla="*/ 68 w 78"/>
                <a:gd name="T37" fmla="*/ 78 h 78"/>
                <a:gd name="T38" fmla="*/ 71 w 78"/>
                <a:gd name="T39" fmla="*/ 75 h 78"/>
                <a:gd name="T40" fmla="*/ 75 w 78"/>
                <a:gd name="T41" fmla="*/ 68 h 78"/>
                <a:gd name="T42" fmla="*/ 53 w 78"/>
                <a:gd name="T43" fmla="*/ 57 h 78"/>
                <a:gd name="T44" fmla="*/ 78 w 78"/>
                <a:gd name="T45" fmla="*/ 43 h 78"/>
                <a:gd name="T46" fmla="*/ 39 w 78"/>
                <a:gd name="T47" fmla="*/ 32 h 78"/>
                <a:gd name="T48" fmla="*/ 43 w 78"/>
                <a:gd name="T49" fmla="*/ 25 h 78"/>
                <a:gd name="T50" fmla="*/ 43 w 78"/>
                <a:gd name="T51" fmla="*/ 25 h 78"/>
                <a:gd name="T52" fmla="*/ 43 w 78"/>
                <a:gd name="T53" fmla="*/ 25 h 78"/>
                <a:gd name="T54" fmla="*/ 32 w 78"/>
                <a:gd name="T55" fmla="*/ 21 h 78"/>
                <a:gd name="T56" fmla="*/ 32 w 78"/>
                <a:gd name="T57" fmla="*/ 21 h 78"/>
                <a:gd name="T58" fmla="*/ 25 w 78"/>
                <a:gd name="T59" fmla="*/ 32 h 78"/>
                <a:gd name="T60" fmla="*/ 0 w 78"/>
                <a:gd name="T61" fmla="*/ 32 h 78"/>
                <a:gd name="T62" fmla="*/ 0 w 78"/>
                <a:gd name="T63" fmla="*/ 43 h 78"/>
                <a:gd name="T64" fmla="*/ 43 w 78"/>
                <a:gd name="T65" fmla="*/ 54 h 78"/>
                <a:gd name="T66" fmla="*/ 32 w 78"/>
                <a:gd name="T67" fmla="*/ 43 h 78"/>
                <a:gd name="T68" fmla="*/ 46 w 78"/>
                <a:gd name="T69" fmla="*/ 43 h 78"/>
                <a:gd name="T70" fmla="*/ 43 w 78"/>
                <a:gd name="T71" fmla="*/ 54 h 7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78"/>
                <a:gd name="T109" fmla="*/ 0 h 78"/>
                <a:gd name="T110" fmla="*/ 78 w 78"/>
                <a:gd name="T111" fmla="*/ 78 h 7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78" h="78">
                  <a:moveTo>
                    <a:pt x="4" y="25"/>
                  </a:moveTo>
                  <a:lnTo>
                    <a:pt x="14" y="25"/>
                  </a:lnTo>
                  <a:lnTo>
                    <a:pt x="14" y="18"/>
                  </a:lnTo>
                  <a:lnTo>
                    <a:pt x="61" y="18"/>
                  </a:lnTo>
                  <a:lnTo>
                    <a:pt x="61" y="29"/>
                  </a:lnTo>
                  <a:lnTo>
                    <a:pt x="75" y="29"/>
                  </a:lnTo>
                  <a:lnTo>
                    <a:pt x="75" y="7"/>
                  </a:lnTo>
                  <a:lnTo>
                    <a:pt x="46" y="7"/>
                  </a:lnTo>
                  <a:lnTo>
                    <a:pt x="46" y="0"/>
                  </a:lnTo>
                  <a:lnTo>
                    <a:pt x="43" y="0"/>
                  </a:lnTo>
                  <a:lnTo>
                    <a:pt x="32" y="0"/>
                  </a:lnTo>
                  <a:lnTo>
                    <a:pt x="32" y="7"/>
                  </a:lnTo>
                  <a:lnTo>
                    <a:pt x="4" y="7"/>
                  </a:lnTo>
                  <a:lnTo>
                    <a:pt x="4" y="25"/>
                  </a:lnTo>
                  <a:close/>
                  <a:moveTo>
                    <a:pt x="0" y="43"/>
                  </a:moveTo>
                  <a:lnTo>
                    <a:pt x="21" y="43"/>
                  </a:lnTo>
                  <a:lnTo>
                    <a:pt x="14" y="54"/>
                  </a:lnTo>
                  <a:lnTo>
                    <a:pt x="32" y="61"/>
                  </a:lnTo>
                  <a:lnTo>
                    <a:pt x="21" y="64"/>
                  </a:lnTo>
                  <a:lnTo>
                    <a:pt x="4" y="68"/>
                  </a:lnTo>
                  <a:lnTo>
                    <a:pt x="11" y="78"/>
                  </a:lnTo>
                  <a:lnTo>
                    <a:pt x="28" y="75"/>
                  </a:lnTo>
                  <a:lnTo>
                    <a:pt x="46" y="64"/>
                  </a:lnTo>
                  <a:lnTo>
                    <a:pt x="57" y="71"/>
                  </a:lnTo>
                  <a:lnTo>
                    <a:pt x="68" y="78"/>
                  </a:lnTo>
                  <a:lnTo>
                    <a:pt x="71" y="75"/>
                  </a:lnTo>
                  <a:lnTo>
                    <a:pt x="75" y="68"/>
                  </a:lnTo>
                  <a:lnTo>
                    <a:pt x="53" y="57"/>
                  </a:lnTo>
                  <a:lnTo>
                    <a:pt x="61" y="43"/>
                  </a:lnTo>
                  <a:lnTo>
                    <a:pt x="78" y="43"/>
                  </a:lnTo>
                  <a:lnTo>
                    <a:pt x="78" y="32"/>
                  </a:lnTo>
                  <a:lnTo>
                    <a:pt x="39" y="32"/>
                  </a:lnTo>
                  <a:lnTo>
                    <a:pt x="43" y="25"/>
                  </a:lnTo>
                  <a:lnTo>
                    <a:pt x="32" y="21"/>
                  </a:lnTo>
                  <a:lnTo>
                    <a:pt x="25" y="32"/>
                  </a:lnTo>
                  <a:lnTo>
                    <a:pt x="0" y="32"/>
                  </a:lnTo>
                  <a:lnTo>
                    <a:pt x="0" y="43"/>
                  </a:lnTo>
                  <a:close/>
                  <a:moveTo>
                    <a:pt x="43" y="54"/>
                  </a:moveTo>
                  <a:lnTo>
                    <a:pt x="43" y="54"/>
                  </a:lnTo>
                  <a:lnTo>
                    <a:pt x="28" y="50"/>
                  </a:lnTo>
                  <a:lnTo>
                    <a:pt x="32" y="43"/>
                  </a:lnTo>
                  <a:lnTo>
                    <a:pt x="46" y="43"/>
                  </a:lnTo>
                  <a:lnTo>
                    <a:pt x="43" y="5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8" name="Freeform 134"/>
            <p:cNvSpPr>
              <a:spLocks/>
            </p:cNvSpPr>
            <p:nvPr/>
          </p:nvSpPr>
          <p:spPr bwMode="auto">
            <a:xfrm>
              <a:off x="2364" y="2260"/>
              <a:ext cx="74" cy="75"/>
            </a:xfrm>
            <a:custGeom>
              <a:avLst/>
              <a:gdLst>
                <a:gd name="T0" fmla="*/ 46 w 74"/>
                <a:gd name="T1" fmla="*/ 11 h 75"/>
                <a:gd name="T2" fmla="*/ 46 w 74"/>
                <a:gd name="T3" fmla="*/ 11 h 75"/>
                <a:gd name="T4" fmla="*/ 46 w 74"/>
                <a:gd name="T5" fmla="*/ 7 h 75"/>
                <a:gd name="T6" fmla="*/ 46 w 74"/>
                <a:gd name="T7" fmla="*/ 7 h 75"/>
                <a:gd name="T8" fmla="*/ 42 w 74"/>
                <a:gd name="T9" fmla="*/ 0 h 75"/>
                <a:gd name="T10" fmla="*/ 42 w 74"/>
                <a:gd name="T11" fmla="*/ 0 h 75"/>
                <a:gd name="T12" fmla="*/ 39 w 74"/>
                <a:gd name="T13" fmla="*/ 0 h 75"/>
                <a:gd name="T14" fmla="*/ 39 w 74"/>
                <a:gd name="T15" fmla="*/ 0 h 75"/>
                <a:gd name="T16" fmla="*/ 28 w 74"/>
                <a:gd name="T17" fmla="*/ 0 h 75"/>
                <a:gd name="T18" fmla="*/ 28 w 74"/>
                <a:gd name="T19" fmla="*/ 0 h 75"/>
                <a:gd name="T20" fmla="*/ 32 w 74"/>
                <a:gd name="T21" fmla="*/ 11 h 75"/>
                <a:gd name="T22" fmla="*/ 0 w 74"/>
                <a:gd name="T23" fmla="*/ 11 h 75"/>
                <a:gd name="T24" fmla="*/ 0 w 74"/>
                <a:gd name="T25" fmla="*/ 21 h 75"/>
                <a:gd name="T26" fmla="*/ 32 w 74"/>
                <a:gd name="T27" fmla="*/ 21 h 75"/>
                <a:gd name="T28" fmla="*/ 32 w 74"/>
                <a:gd name="T29" fmla="*/ 32 h 75"/>
                <a:gd name="T30" fmla="*/ 10 w 74"/>
                <a:gd name="T31" fmla="*/ 32 h 75"/>
                <a:gd name="T32" fmla="*/ 10 w 74"/>
                <a:gd name="T33" fmla="*/ 68 h 75"/>
                <a:gd name="T34" fmla="*/ 21 w 74"/>
                <a:gd name="T35" fmla="*/ 68 h 75"/>
                <a:gd name="T36" fmla="*/ 21 w 74"/>
                <a:gd name="T37" fmla="*/ 39 h 75"/>
                <a:gd name="T38" fmla="*/ 32 w 74"/>
                <a:gd name="T39" fmla="*/ 39 h 75"/>
                <a:gd name="T40" fmla="*/ 32 w 74"/>
                <a:gd name="T41" fmla="*/ 75 h 75"/>
                <a:gd name="T42" fmla="*/ 46 w 74"/>
                <a:gd name="T43" fmla="*/ 75 h 75"/>
                <a:gd name="T44" fmla="*/ 46 w 74"/>
                <a:gd name="T45" fmla="*/ 39 h 75"/>
                <a:gd name="T46" fmla="*/ 57 w 74"/>
                <a:gd name="T47" fmla="*/ 39 h 75"/>
                <a:gd name="T48" fmla="*/ 57 w 74"/>
                <a:gd name="T49" fmla="*/ 57 h 75"/>
                <a:gd name="T50" fmla="*/ 57 w 74"/>
                <a:gd name="T51" fmla="*/ 57 h 75"/>
                <a:gd name="T52" fmla="*/ 53 w 74"/>
                <a:gd name="T53" fmla="*/ 61 h 75"/>
                <a:gd name="T54" fmla="*/ 46 w 74"/>
                <a:gd name="T55" fmla="*/ 61 h 75"/>
                <a:gd name="T56" fmla="*/ 46 w 74"/>
                <a:gd name="T57" fmla="*/ 61 h 75"/>
                <a:gd name="T58" fmla="*/ 49 w 74"/>
                <a:gd name="T59" fmla="*/ 71 h 75"/>
                <a:gd name="T60" fmla="*/ 49 w 74"/>
                <a:gd name="T61" fmla="*/ 71 h 75"/>
                <a:gd name="T62" fmla="*/ 64 w 74"/>
                <a:gd name="T63" fmla="*/ 68 h 75"/>
                <a:gd name="T64" fmla="*/ 67 w 74"/>
                <a:gd name="T65" fmla="*/ 64 h 75"/>
                <a:gd name="T66" fmla="*/ 67 w 74"/>
                <a:gd name="T67" fmla="*/ 61 h 75"/>
                <a:gd name="T68" fmla="*/ 67 w 74"/>
                <a:gd name="T69" fmla="*/ 32 h 75"/>
                <a:gd name="T70" fmla="*/ 46 w 74"/>
                <a:gd name="T71" fmla="*/ 32 h 75"/>
                <a:gd name="T72" fmla="*/ 46 w 74"/>
                <a:gd name="T73" fmla="*/ 21 h 75"/>
                <a:gd name="T74" fmla="*/ 74 w 74"/>
                <a:gd name="T75" fmla="*/ 21 h 75"/>
                <a:gd name="T76" fmla="*/ 74 w 74"/>
                <a:gd name="T77" fmla="*/ 11 h 75"/>
                <a:gd name="T78" fmla="*/ 39 w 74"/>
                <a:gd name="T79" fmla="*/ 11 h 75"/>
                <a:gd name="T80" fmla="*/ 39 w 74"/>
                <a:gd name="T81" fmla="*/ 11 h 75"/>
                <a:gd name="T82" fmla="*/ 46 w 74"/>
                <a:gd name="T83" fmla="*/ 11 h 75"/>
                <a:gd name="T84" fmla="*/ 46 w 74"/>
                <a:gd name="T85" fmla="*/ 11 h 75"/>
                <a:gd name="T86" fmla="*/ 46 w 74"/>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4"/>
                <a:gd name="T133" fmla="*/ 0 h 75"/>
                <a:gd name="T134" fmla="*/ 74 w 74"/>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4" h="75">
                  <a:moveTo>
                    <a:pt x="46" y="11"/>
                  </a:moveTo>
                  <a:lnTo>
                    <a:pt x="46" y="11"/>
                  </a:lnTo>
                  <a:lnTo>
                    <a:pt x="46" y="7"/>
                  </a:lnTo>
                  <a:lnTo>
                    <a:pt x="42" y="0"/>
                  </a:lnTo>
                  <a:lnTo>
                    <a:pt x="39" y="0"/>
                  </a:lnTo>
                  <a:lnTo>
                    <a:pt x="28" y="0"/>
                  </a:lnTo>
                  <a:lnTo>
                    <a:pt x="32" y="11"/>
                  </a:lnTo>
                  <a:lnTo>
                    <a:pt x="0" y="11"/>
                  </a:lnTo>
                  <a:lnTo>
                    <a:pt x="0" y="21"/>
                  </a:lnTo>
                  <a:lnTo>
                    <a:pt x="32" y="21"/>
                  </a:lnTo>
                  <a:lnTo>
                    <a:pt x="32" y="32"/>
                  </a:lnTo>
                  <a:lnTo>
                    <a:pt x="10" y="32"/>
                  </a:lnTo>
                  <a:lnTo>
                    <a:pt x="10" y="68"/>
                  </a:lnTo>
                  <a:lnTo>
                    <a:pt x="21" y="68"/>
                  </a:lnTo>
                  <a:lnTo>
                    <a:pt x="21" y="39"/>
                  </a:lnTo>
                  <a:lnTo>
                    <a:pt x="32" y="39"/>
                  </a:lnTo>
                  <a:lnTo>
                    <a:pt x="32" y="75"/>
                  </a:lnTo>
                  <a:lnTo>
                    <a:pt x="46" y="75"/>
                  </a:lnTo>
                  <a:lnTo>
                    <a:pt x="46" y="39"/>
                  </a:lnTo>
                  <a:lnTo>
                    <a:pt x="57" y="39"/>
                  </a:lnTo>
                  <a:lnTo>
                    <a:pt x="57" y="57"/>
                  </a:lnTo>
                  <a:lnTo>
                    <a:pt x="53" y="61"/>
                  </a:lnTo>
                  <a:lnTo>
                    <a:pt x="46" y="61"/>
                  </a:lnTo>
                  <a:lnTo>
                    <a:pt x="49" y="71"/>
                  </a:lnTo>
                  <a:lnTo>
                    <a:pt x="64" y="68"/>
                  </a:lnTo>
                  <a:lnTo>
                    <a:pt x="67" y="64"/>
                  </a:lnTo>
                  <a:lnTo>
                    <a:pt x="67" y="61"/>
                  </a:lnTo>
                  <a:lnTo>
                    <a:pt x="67" y="32"/>
                  </a:lnTo>
                  <a:lnTo>
                    <a:pt x="46" y="32"/>
                  </a:lnTo>
                  <a:lnTo>
                    <a:pt x="46" y="21"/>
                  </a:lnTo>
                  <a:lnTo>
                    <a:pt x="74" y="21"/>
                  </a:lnTo>
                  <a:lnTo>
                    <a:pt x="74" y="11"/>
                  </a:lnTo>
                  <a:lnTo>
                    <a:pt x="39" y="11"/>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39" name="Freeform 135"/>
            <p:cNvSpPr>
              <a:spLocks noEditPoints="1"/>
            </p:cNvSpPr>
            <p:nvPr/>
          </p:nvSpPr>
          <p:spPr bwMode="auto">
            <a:xfrm>
              <a:off x="681" y="941"/>
              <a:ext cx="78" cy="79"/>
            </a:xfrm>
            <a:custGeom>
              <a:avLst/>
              <a:gdLst>
                <a:gd name="T0" fmla="*/ 18 w 78"/>
                <a:gd name="T1" fmla="*/ 25 h 79"/>
                <a:gd name="T2" fmla="*/ 18 w 78"/>
                <a:gd name="T3" fmla="*/ 75 h 79"/>
                <a:gd name="T4" fmla="*/ 28 w 78"/>
                <a:gd name="T5" fmla="*/ 75 h 79"/>
                <a:gd name="T6" fmla="*/ 28 w 78"/>
                <a:gd name="T7" fmla="*/ 71 h 79"/>
                <a:gd name="T8" fmla="*/ 50 w 78"/>
                <a:gd name="T9" fmla="*/ 71 h 79"/>
                <a:gd name="T10" fmla="*/ 50 w 78"/>
                <a:gd name="T11" fmla="*/ 79 h 79"/>
                <a:gd name="T12" fmla="*/ 60 w 78"/>
                <a:gd name="T13" fmla="*/ 79 h 79"/>
                <a:gd name="T14" fmla="*/ 60 w 78"/>
                <a:gd name="T15" fmla="*/ 25 h 79"/>
                <a:gd name="T16" fmla="*/ 78 w 78"/>
                <a:gd name="T17" fmla="*/ 25 h 79"/>
                <a:gd name="T18" fmla="*/ 78 w 78"/>
                <a:gd name="T19" fmla="*/ 14 h 79"/>
                <a:gd name="T20" fmla="*/ 60 w 78"/>
                <a:gd name="T21" fmla="*/ 14 h 79"/>
                <a:gd name="T22" fmla="*/ 60 w 78"/>
                <a:gd name="T23" fmla="*/ 7 h 79"/>
                <a:gd name="T24" fmla="*/ 60 w 78"/>
                <a:gd name="T25" fmla="*/ 7 h 79"/>
                <a:gd name="T26" fmla="*/ 60 w 78"/>
                <a:gd name="T27" fmla="*/ 4 h 79"/>
                <a:gd name="T28" fmla="*/ 60 w 78"/>
                <a:gd name="T29" fmla="*/ 4 h 79"/>
                <a:gd name="T30" fmla="*/ 60 w 78"/>
                <a:gd name="T31" fmla="*/ 0 h 79"/>
                <a:gd name="T32" fmla="*/ 60 w 78"/>
                <a:gd name="T33" fmla="*/ 0 h 79"/>
                <a:gd name="T34" fmla="*/ 53 w 78"/>
                <a:gd name="T35" fmla="*/ 0 h 79"/>
                <a:gd name="T36" fmla="*/ 50 w 78"/>
                <a:gd name="T37" fmla="*/ 0 h 79"/>
                <a:gd name="T38" fmla="*/ 50 w 78"/>
                <a:gd name="T39" fmla="*/ 14 h 79"/>
                <a:gd name="T40" fmla="*/ 28 w 78"/>
                <a:gd name="T41" fmla="*/ 14 h 79"/>
                <a:gd name="T42" fmla="*/ 28 w 78"/>
                <a:gd name="T43" fmla="*/ 7 h 79"/>
                <a:gd name="T44" fmla="*/ 28 w 78"/>
                <a:gd name="T45" fmla="*/ 7 h 79"/>
                <a:gd name="T46" fmla="*/ 28 w 78"/>
                <a:gd name="T47" fmla="*/ 4 h 79"/>
                <a:gd name="T48" fmla="*/ 28 w 78"/>
                <a:gd name="T49" fmla="*/ 4 h 79"/>
                <a:gd name="T50" fmla="*/ 28 w 78"/>
                <a:gd name="T51" fmla="*/ 4 h 79"/>
                <a:gd name="T52" fmla="*/ 28 w 78"/>
                <a:gd name="T53" fmla="*/ 4 h 79"/>
                <a:gd name="T54" fmla="*/ 21 w 78"/>
                <a:gd name="T55" fmla="*/ 0 h 79"/>
                <a:gd name="T56" fmla="*/ 18 w 78"/>
                <a:gd name="T57" fmla="*/ 0 h 79"/>
                <a:gd name="T58" fmla="*/ 18 w 78"/>
                <a:gd name="T59" fmla="*/ 14 h 79"/>
                <a:gd name="T60" fmla="*/ 0 w 78"/>
                <a:gd name="T61" fmla="*/ 14 h 79"/>
                <a:gd name="T62" fmla="*/ 0 w 78"/>
                <a:gd name="T63" fmla="*/ 25 h 79"/>
                <a:gd name="T64" fmla="*/ 18 w 78"/>
                <a:gd name="T65" fmla="*/ 25 h 79"/>
                <a:gd name="T66" fmla="*/ 18 w 78"/>
                <a:gd name="T67" fmla="*/ 25 h 79"/>
                <a:gd name="T68" fmla="*/ 50 w 78"/>
                <a:gd name="T69" fmla="*/ 25 h 79"/>
                <a:gd name="T70" fmla="*/ 50 w 78"/>
                <a:gd name="T71" fmla="*/ 39 h 79"/>
                <a:gd name="T72" fmla="*/ 28 w 78"/>
                <a:gd name="T73" fmla="*/ 39 h 79"/>
                <a:gd name="T74" fmla="*/ 28 w 78"/>
                <a:gd name="T75" fmla="*/ 25 h 79"/>
                <a:gd name="T76" fmla="*/ 50 w 78"/>
                <a:gd name="T77" fmla="*/ 25 h 79"/>
                <a:gd name="T78" fmla="*/ 50 w 78"/>
                <a:gd name="T79" fmla="*/ 25 h 79"/>
                <a:gd name="T80" fmla="*/ 28 w 78"/>
                <a:gd name="T81" fmla="*/ 46 h 79"/>
                <a:gd name="T82" fmla="*/ 50 w 78"/>
                <a:gd name="T83" fmla="*/ 46 h 79"/>
                <a:gd name="T84" fmla="*/ 50 w 78"/>
                <a:gd name="T85" fmla="*/ 64 h 79"/>
                <a:gd name="T86" fmla="*/ 28 w 78"/>
                <a:gd name="T87" fmla="*/ 64 h 79"/>
                <a:gd name="T88" fmla="*/ 28 w 78"/>
                <a:gd name="T89" fmla="*/ 46 h 79"/>
                <a:gd name="T90" fmla="*/ 28 w 78"/>
                <a:gd name="T91" fmla="*/ 46 h 79"/>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8"/>
                <a:gd name="T139" fmla="*/ 0 h 79"/>
                <a:gd name="T140" fmla="*/ 78 w 78"/>
                <a:gd name="T141" fmla="*/ 79 h 79"/>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8" h="79">
                  <a:moveTo>
                    <a:pt x="18" y="25"/>
                  </a:moveTo>
                  <a:lnTo>
                    <a:pt x="18" y="75"/>
                  </a:lnTo>
                  <a:lnTo>
                    <a:pt x="28" y="75"/>
                  </a:lnTo>
                  <a:lnTo>
                    <a:pt x="28" y="71"/>
                  </a:lnTo>
                  <a:lnTo>
                    <a:pt x="50" y="71"/>
                  </a:lnTo>
                  <a:lnTo>
                    <a:pt x="50" y="79"/>
                  </a:lnTo>
                  <a:lnTo>
                    <a:pt x="60" y="79"/>
                  </a:lnTo>
                  <a:lnTo>
                    <a:pt x="60" y="25"/>
                  </a:lnTo>
                  <a:lnTo>
                    <a:pt x="78" y="25"/>
                  </a:lnTo>
                  <a:lnTo>
                    <a:pt x="78" y="14"/>
                  </a:lnTo>
                  <a:lnTo>
                    <a:pt x="60" y="14"/>
                  </a:lnTo>
                  <a:lnTo>
                    <a:pt x="60" y="7"/>
                  </a:lnTo>
                  <a:lnTo>
                    <a:pt x="60" y="4"/>
                  </a:lnTo>
                  <a:lnTo>
                    <a:pt x="60" y="0"/>
                  </a:lnTo>
                  <a:lnTo>
                    <a:pt x="53" y="0"/>
                  </a:lnTo>
                  <a:lnTo>
                    <a:pt x="50" y="0"/>
                  </a:lnTo>
                  <a:lnTo>
                    <a:pt x="50" y="14"/>
                  </a:lnTo>
                  <a:lnTo>
                    <a:pt x="28" y="14"/>
                  </a:lnTo>
                  <a:lnTo>
                    <a:pt x="28" y="7"/>
                  </a:lnTo>
                  <a:lnTo>
                    <a:pt x="28" y="4"/>
                  </a:lnTo>
                  <a:lnTo>
                    <a:pt x="21" y="0"/>
                  </a:lnTo>
                  <a:lnTo>
                    <a:pt x="18" y="0"/>
                  </a:lnTo>
                  <a:lnTo>
                    <a:pt x="18" y="14"/>
                  </a:lnTo>
                  <a:lnTo>
                    <a:pt x="0" y="14"/>
                  </a:lnTo>
                  <a:lnTo>
                    <a:pt x="0" y="25"/>
                  </a:lnTo>
                  <a:lnTo>
                    <a:pt x="18" y="25"/>
                  </a:lnTo>
                  <a:close/>
                  <a:moveTo>
                    <a:pt x="50" y="25"/>
                  </a:moveTo>
                  <a:lnTo>
                    <a:pt x="50" y="39"/>
                  </a:lnTo>
                  <a:lnTo>
                    <a:pt x="28" y="39"/>
                  </a:lnTo>
                  <a:lnTo>
                    <a:pt x="28" y="25"/>
                  </a:lnTo>
                  <a:lnTo>
                    <a:pt x="50" y="25"/>
                  </a:lnTo>
                  <a:close/>
                  <a:moveTo>
                    <a:pt x="28" y="46"/>
                  </a:moveTo>
                  <a:lnTo>
                    <a:pt x="50" y="46"/>
                  </a:lnTo>
                  <a:lnTo>
                    <a:pt x="50" y="64"/>
                  </a:lnTo>
                  <a:lnTo>
                    <a:pt x="28" y="64"/>
                  </a:lnTo>
                  <a:lnTo>
                    <a:pt x="28" y="4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0" name="Freeform 136"/>
            <p:cNvSpPr>
              <a:spLocks noEditPoints="1"/>
            </p:cNvSpPr>
            <p:nvPr/>
          </p:nvSpPr>
          <p:spPr bwMode="auto">
            <a:xfrm>
              <a:off x="774" y="1151"/>
              <a:ext cx="82" cy="79"/>
            </a:xfrm>
            <a:custGeom>
              <a:avLst/>
              <a:gdLst>
                <a:gd name="T0" fmla="*/ 57 w 82"/>
                <a:gd name="T1" fmla="*/ 4 h 79"/>
                <a:gd name="T2" fmla="*/ 57 w 82"/>
                <a:gd name="T3" fmla="*/ 0 h 79"/>
                <a:gd name="T4" fmla="*/ 46 w 82"/>
                <a:gd name="T5" fmla="*/ 0 h 79"/>
                <a:gd name="T6" fmla="*/ 42 w 82"/>
                <a:gd name="T7" fmla="*/ 0 h 79"/>
                <a:gd name="T8" fmla="*/ 32 w 82"/>
                <a:gd name="T9" fmla="*/ 36 h 79"/>
                <a:gd name="T10" fmla="*/ 32 w 82"/>
                <a:gd name="T11" fmla="*/ 32 h 79"/>
                <a:gd name="T12" fmla="*/ 25 w 82"/>
                <a:gd name="T13" fmla="*/ 29 h 79"/>
                <a:gd name="T14" fmla="*/ 35 w 82"/>
                <a:gd name="T15" fmla="*/ 18 h 79"/>
                <a:gd name="T16" fmla="*/ 3 w 82"/>
                <a:gd name="T17" fmla="*/ 8 h 79"/>
                <a:gd name="T18" fmla="*/ 21 w 82"/>
                <a:gd name="T19" fmla="*/ 18 h 79"/>
                <a:gd name="T20" fmla="*/ 14 w 82"/>
                <a:gd name="T21" fmla="*/ 25 h 79"/>
                <a:gd name="T22" fmla="*/ 14 w 82"/>
                <a:gd name="T23" fmla="*/ 29 h 79"/>
                <a:gd name="T24" fmla="*/ 14 w 82"/>
                <a:gd name="T25" fmla="*/ 40 h 79"/>
                <a:gd name="T26" fmla="*/ 3 w 82"/>
                <a:gd name="T27" fmla="*/ 43 h 79"/>
                <a:gd name="T28" fmla="*/ 0 w 82"/>
                <a:gd name="T29" fmla="*/ 43 h 79"/>
                <a:gd name="T30" fmla="*/ 3 w 82"/>
                <a:gd name="T31" fmla="*/ 54 h 79"/>
                <a:gd name="T32" fmla="*/ 7 w 82"/>
                <a:gd name="T33" fmla="*/ 54 h 79"/>
                <a:gd name="T34" fmla="*/ 14 w 82"/>
                <a:gd name="T35" fmla="*/ 65 h 79"/>
                <a:gd name="T36" fmla="*/ 14 w 82"/>
                <a:gd name="T37" fmla="*/ 68 h 79"/>
                <a:gd name="T38" fmla="*/ 7 w 82"/>
                <a:gd name="T39" fmla="*/ 68 h 79"/>
                <a:gd name="T40" fmla="*/ 10 w 82"/>
                <a:gd name="T41" fmla="*/ 79 h 79"/>
                <a:gd name="T42" fmla="*/ 25 w 82"/>
                <a:gd name="T43" fmla="*/ 72 h 79"/>
                <a:gd name="T44" fmla="*/ 25 w 82"/>
                <a:gd name="T45" fmla="*/ 47 h 79"/>
                <a:gd name="T46" fmla="*/ 28 w 82"/>
                <a:gd name="T47" fmla="*/ 47 h 79"/>
                <a:gd name="T48" fmla="*/ 35 w 82"/>
                <a:gd name="T49" fmla="*/ 43 h 79"/>
                <a:gd name="T50" fmla="*/ 39 w 82"/>
                <a:gd name="T51" fmla="*/ 47 h 79"/>
                <a:gd name="T52" fmla="*/ 42 w 82"/>
                <a:gd name="T53" fmla="*/ 43 h 79"/>
                <a:gd name="T54" fmla="*/ 49 w 82"/>
                <a:gd name="T55" fmla="*/ 57 h 79"/>
                <a:gd name="T56" fmla="*/ 39 w 82"/>
                <a:gd name="T57" fmla="*/ 65 h 79"/>
                <a:gd name="T58" fmla="*/ 28 w 82"/>
                <a:gd name="T59" fmla="*/ 72 h 79"/>
                <a:gd name="T60" fmla="*/ 35 w 82"/>
                <a:gd name="T61" fmla="*/ 79 h 79"/>
                <a:gd name="T62" fmla="*/ 53 w 82"/>
                <a:gd name="T63" fmla="*/ 68 h 79"/>
                <a:gd name="T64" fmla="*/ 71 w 82"/>
                <a:gd name="T65" fmla="*/ 79 h 79"/>
                <a:gd name="T66" fmla="*/ 82 w 82"/>
                <a:gd name="T67" fmla="*/ 68 h 79"/>
                <a:gd name="T68" fmla="*/ 64 w 82"/>
                <a:gd name="T69" fmla="*/ 57 h 79"/>
                <a:gd name="T70" fmla="*/ 67 w 82"/>
                <a:gd name="T71" fmla="*/ 43 h 79"/>
                <a:gd name="T72" fmla="*/ 78 w 82"/>
                <a:gd name="T73" fmla="*/ 25 h 79"/>
                <a:gd name="T74" fmla="*/ 53 w 82"/>
                <a:gd name="T75" fmla="*/ 15 h 79"/>
                <a:gd name="T76" fmla="*/ 57 w 82"/>
                <a:gd name="T77" fmla="*/ 4 h 79"/>
                <a:gd name="T78" fmla="*/ 57 w 82"/>
                <a:gd name="T79" fmla="*/ 4 h 79"/>
                <a:gd name="T80" fmla="*/ 53 w 82"/>
                <a:gd name="T81" fmla="*/ 50 h 79"/>
                <a:gd name="T82" fmla="*/ 60 w 82"/>
                <a:gd name="T83" fmla="*/ 25 h 79"/>
                <a:gd name="T84" fmla="*/ 57 w 82"/>
                <a:gd name="T85" fmla="*/ 40 h 79"/>
                <a:gd name="T86" fmla="*/ 53 w 82"/>
                <a:gd name="T87" fmla="*/ 50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82"/>
                <a:gd name="T133" fmla="*/ 0 h 79"/>
                <a:gd name="T134" fmla="*/ 82 w 82"/>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82" h="79">
                  <a:moveTo>
                    <a:pt x="57" y="4"/>
                  </a:moveTo>
                  <a:lnTo>
                    <a:pt x="57" y="4"/>
                  </a:lnTo>
                  <a:lnTo>
                    <a:pt x="57" y="0"/>
                  </a:lnTo>
                  <a:lnTo>
                    <a:pt x="46" y="0"/>
                  </a:lnTo>
                  <a:lnTo>
                    <a:pt x="42" y="0"/>
                  </a:lnTo>
                  <a:lnTo>
                    <a:pt x="39" y="25"/>
                  </a:lnTo>
                  <a:lnTo>
                    <a:pt x="32" y="36"/>
                  </a:lnTo>
                  <a:lnTo>
                    <a:pt x="32" y="32"/>
                  </a:lnTo>
                  <a:lnTo>
                    <a:pt x="25" y="36"/>
                  </a:lnTo>
                  <a:lnTo>
                    <a:pt x="25" y="29"/>
                  </a:lnTo>
                  <a:lnTo>
                    <a:pt x="35" y="18"/>
                  </a:lnTo>
                  <a:lnTo>
                    <a:pt x="39" y="8"/>
                  </a:lnTo>
                  <a:lnTo>
                    <a:pt x="3" y="8"/>
                  </a:lnTo>
                  <a:lnTo>
                    <a:pt x="3" y="18"/>
                  </a:lnTo>
                  <a:lnTo>
                    <a:pt x="21" y="18"/>
                  </a:lnTo>
                  <a:lnTo>
                    <a:pt x="14" y="25"/>
                  </a:lnTo>
                  <a:lnTo>
                    <a:pt x="14" y="29"/>
                  </a:lnTo>
                  <a:lnTo>
                    <a:pt x="14" y="40"/>
                  </a:lnTo>
                  <a:lnTo>
                    <a:pt x="3" y="43"/>
                  </a:lnTo>
                  <a:lnTo>
                    <a:pt x="0" y="43"/>
                  </a:lnTo>
                  <a:lnTo>
                    <a:pt x="3" y="54"/>
                  </a:lnTo>
                  <a:lnTo>
                    <a:pt x="7" y="54"/>
                  </a:lnTo>
                  <a:lnTo>
                    <a:pt x="14" y="50"/>
                  </a:lnTo>
                  <a:lnTo>
                    <a:pt x="14" y="65"/>
                  </a:lnTo>
                  <a:lnTo>
                    <a:pt x="14" y="68"/>
                  </a:lnTo>
                  <a:lnTo>
                    <a:pt x="7" y="68"/>
                  </a:lnTo>
                  <a:lnTo>
                    <a:pt x="10" y="79"/>
                  </a:lnTo>
                  <a:lnTo>
                    <a:pt x="25" y="75"/>
                  </a:lnTo>
                  <a:lnTo>
                    <a:pt x="25" y="72"/>
                  </a:lnTo>
                  <a:lnTo>
                    <a:pt x="25" y="47"/>
                  </a:lnTo>
                  <a:lnTo>
                    <a:pt x="28" y="47"/>
                  </a:lnTo>
                  <a:lnTo>
                    <a:pt x="35" y="43"/>
                  </a:lnTo>
                  <a:lnTo>
                    <a:pt x="39" y="47"/>
                  </a:lnTo>
                  <a:lnTo>
                    <a:pt x="42" y="43"/>
                  </a:lnTo>
                  <a:lnTo>
                    <a:pt x="49" y="57"/>
                  </a:lnTo>
                  <a:lnTo>
                    <a:pt x="39" y="65"/>
                  </a:lnTo>
                  <a:lnTo>
                    <a:pt x="28" y="72"/>
                  </a:lnTo>
                  <a:lnTo>
                    <a:pt x="35" y="79"/>
                  </a:lnTo>
                  <a:lnTo>
                    <a:pt x="53" y="68"/>
                  </a:lnTo>
                  <a:lnTo>
                    <a:pt x="71" y="79"/>
                  </a:lnTo>
                  <a:lnTo>
                    <a:pt x="82" y="68"/>
                  </a:lnTo>
                  <a:lnTo>
                    <a:pt x="71" y="61"/>
                  </a:lnTo>
                  <a:lnTo>
                    <a:pt x="64" y="57"/>
                  </a:lnTo>
                  <a:lnTo>
                    <a:pt x="67" y="43"/>
                  </a:lnTo>
                  <a:lnTo>
                    <a:pt x="71" y="25"/>
                  </a:lnTo>
                  <a:lnTo>
                    <a:pt x="78" y="25"/>
                  </a:lnTo>
                  <a:lnTo>
                    <a:pt x="78" y="15"/>
                  </a:lnTo>
                  <a:lnTo>
                    <a:pt x="53" y="15"/>
                  </a:lnTo>
                  <a:lnTo>
                    <a:pt x="57" y="4"/>
                  </a:lnTo>
                  <a:close/>
                  <a:moveTo>
                    <a:pt x="53" y="50"/>
                  </a:moveTo>
                  <a:lnTo>
                    <a:pt x="53" y="50"/>
                  </a:lnTo>
                  <a:lnTo>
                    <a:pt x="49" y="25"/>
                  </a:lnTo>
                  <a:lnTo>
                    <a:pt x="60" y="25"/>
                  </a:lnTo>
                  <a:lnTo>
                    <a:pt x="57" y="40"/>
                  </a:lnTo>
                  <a:lnTo>
                    <a:pt x="53" y="5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1" name="Freeform 137"/>
            <p:cNvSpPr>
              <a:spLocks noEditPoints="1"/>
            </p:cNvSpPr>
            <p:nvPr/>
          </p:nvSpPr>
          <p:spPr bwMode="auto">
            <a:xfrm>
              <a:off x="891" y="1362"/>
              <a:ext cx="82" cy="78"/>
            </a:xfrm>
            <a:custGeom>
              <a:avLst/>
              <a:gdLst>
                <a:gd name="T0" fmla="*/ 36 w 82"/>
                <a:gd name="T1" fmla="*/ 14 h 78"/>
                <a:gd name="T2" fmla="*/ 54 w 82"/>
                <a:gd name="T3" fmla="*/ 18 h 78"/>
                <a:gd name="T4" fmla="*/ 18 w 82"/>
                <a:gd name="T5" fmla="*/ 32 h 78"/>
                <a:gd name="T6" fmla="*/ 14 w 82"/>
                <a:gd name="T7" fmla="*/ 25 h 78"/>
                <a:gd name="T8" fmla="*/ 18 w 82"/>
                <a:gd name="T9" fmla="*/ 21 h 78"/>
                <a:gd name="T10" fmla="*/ 7 w 82"/>
                <a:gd name="T11" fmla="*/ 39 h 78"/>
                <a:gd name="T12" fmla="*/ 4 w 82"/>
                <a:gd name="T13" fmla="*/ 43 h 78"/>
                <a:gd name="T14" fmla="*/ 7 w 82"/>
                <a:gd name="T15" fmla="*/ 50 h 78"/>
                <a:gd name="T16" fmla="*/ 0 w 82"/>
                <a:gd name="T17" fmla="*/ 71 h 78"/>
                <a:gd name="T18" fmla="*/ 14 w 82"/>
                <a:gd name="T19" fmla="*/ 64 h 78"/>
                <a:gd name="T20" fmla="*/ 18 w 82"/>
                <a:gd name="T21" fmla="*/ 53 h 78"/>
                <a:gd name="T22" fmla="*/ 11 w 82"/>
                <a:gd name="T23" fmla="*/ 75 h 78"/>
                <a:gd name="T24" fmla="*/ 22 w 82"/>
                <a:gd name="T25" fmla="*/ 78 h 78"/>
                <a:gd name="T26" fmla="*/ 29 w 82"/>
                <a:gd name="T27" fmla="*/ 28 h 78"/>
                <a:gd name="T28" fmla="*/ 29 w 82"/>
                <a:gd name="T29" fmla="*/ 32 h 78"/>
                <a:gd name="T30" fmla="*/ 39 w 82"/>
                <a:gd name="T31" fmla="*/ 71 h 78"/>
                <a:gd name="T32" fmla="*/ 47 w 82"/>
                <a:gd name="T33" fmla="*/ 75 h 78"/>
                <a:gd name="T34" fmla="*/ 47 w 82"/>
                <a:gd name="T35" fmla="*/ 75 h 78"/>
                <a:gd name="T36" fmla="*/ 57 w 82"/>
                <a:gd name="T37" fmla="*/ 78 h 78"/>
                <a:gd name="T38" fmla="*/ 64 w 82"/>
                <a:gd name="T39" fmla="*/ 71 h 78"/>
                <a:gd name="T40" fmla="*/ 75 w 82"/>
                <a:gd name="T41" fmla="*/ 78 h 78"/>
                <a:gd name="T42" fmla="*/ 82 w 82"/>
                <a:gd name="T43" fmla="*/ 64 h 78"/>
                <a:gd name="T44" fmla="*/ 72 w 82"/>
                <a:gd name="T45" fmla="*/ 64 h 78"/>
                <a:gd name="T46" fmla="*/ 72 w 82"/>
                <a:gd name="T47" fmla="*/ 60 h 78"/>
                <a:gd name="T48" fmla="*/ 79 w 82"/>
                <a:gd name="T49" fmla="*/ 39 h 78"/>
                <a:gd name="T50" fmla="*/ 79 w 82"/>
                <a:gd name="T51" fmla="*/ 35 h 78"/>
                <a:gd name="T52" fmla="*/ 68 w 82"/>
                <a:gd name="T53" fmla="*/ 35 h 78"/>
                <a:gd name="T54" fmla="*/ 64 w 82"/>
                <a:gd name="T55" fmla="*/ 46 h 78"/>
                <a:gd name="T56" fmla="*/ 79 w 82"/>
                <a:gd name="T57" fmla="*/ 28 h 78"/>
                <a:gd name="T58" fmla="*/ 72 w 82"/>
                <a:gd name="T59" fmla="*/ 21 h 78"/>
                <a:gd name="T60" fmla="*/ 72 w 82"/>
                <a:gd name="T61" fmla="*/ 14 h 78"/>
                <a:gd name="T62" fmla="*/ 57 w 82"/>
                <a:gd name="T63" fmla="*/ 7 h 78"/>
                <a:gd name="T64" fmla="*/ 57 w 82"/>
                <a:gd name="T65" fmla="*/ 3 h 78"/>
                <a:gd name="T66" fmla="*/ 57 w 82"/>
                <a:gd name="T67" fmla="*/ 0 h 78"/>
                <a:gd name="T68" fmla="*/ 39 w 82"/>
                <a:gd name="T69" fmla="*/ 7 h 78"/>
                <a:gd name="T70" fmla="*/ 39 w 82"/>
                <a:gd name="T71" fmla="*/ 3 h 78"/>
                <a:gd name="T72" fmla="*/ 39 w 82"/>
                <a:gd name="T73" fmla="*/ 0 h 78"/>
                <a:gd name="T74" fmla="*/ 4 w 82"/>
                <a:gd name="T75" fmla="*/ 7 h 78"/>
                <a:gd name="T76" fmla="*/ 29 w 82"/>
                <a:gd name="T77" fmla="*/ 21 h 78"/>
                <a:gd name="T78" fmla="*/ 43 w 82"/>
                <a:gd name="T79" fmla="*/ 43 h 78"/>
                <a:gd name="T80" fmla="*/ 43 w 82"/>
                <a:gd name="T81" fmla="*/ 39 h 78"/>
                <a:gd name="T82" fmla="*/ 61 w 82"/>
                <a:gd name="T83" fmla="*/ 60 h 78"/>
                <a:gd name="T84" fmla="*/ 50 w 82"/>
                <a:gd name="T85" fmla="*/ 64 h 78"/>
                <a:gd name="T86" fmla="*/ 54 w 82"/>
                <a:gd name="T87" fmla="*/ 43 h 78"/>
                <a:gd name="T88" fmla="*/ 54 w 82"/>
                <a:gd name="T89" fmla="*/ 39 h 78"/>
                <a:gd name="T90" fmla="*/ 61 w 82"/>
                <a:gd name="T91" fmla="*/ 60 h 78"/>
                <a:gd name="T92" fmla="*/ 47 w 82"/>
                <a:gd name="T93" fmla="*/ 53 h 78"/>
                <a:gd name="T94" fmla="*/ 47 w 82"/>
                <a:gd name="T95" fmla="*/ 50 h 78"/>
                <a:gd name="T96" fmla="*/ 43 w 82"/>
                <a:gd name="T97" fmla="*/ 64 h 78"/>
                <a:gd name="T98" fmla="*/ 43 w 82"/>
                <a:gd name="T99" fmla="*/ 60 h 78"/>
                <a:gd name="T100" fmla="*/ 64 w 82"/>
                <a:gd name="T101" fmla="*/ 18 h 78"/>
                <a:gd name="T102" fmla="*/ 57 w 82"/>
                <a:gd name="T103" fmla="*/ 18 h 78"/>
                <a:gd name="T104" fmla="*/ 64 w 82"/>
                <a:gd name="T105" fmla="*/ 18 h 78"/>
                <a:gd name="T106" fmla="*/ 68 w 82"/>
                <a:gd name="T107" fmla="*/ 21 h 78"/>
                <a:gd name="T108" fmla="*/ 64 w 82"/>
                <a:gd name="T109" fmla="*/ 21 h 78"/>
                <a:gd name="T110" fmla="*/ 64 w 82"/>
                <a:gd name="T111" fmla="*/ 18 h 7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82"/>
                <a:gd name="T169" fmla="*/ 0 h 78"/>
                <a:gd name="T170" fmla="*/ 82 w 82"/>
                <a:gd name="T171" fmla="*/ 78 h 7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82" h="78">
                  <a:moveTo>
                    <a:pt x="29" y="21"/>
                  </a:moveTo>
                  <a:lnTo>
                    <a:pt x="36" y="21"/>
                  </a:lnTo>
                  <a:lnTo>
                    <a:pt x="36" y="14"/>
                  </a:lnTo>
                  <a:lnTo>
                    <a:pt x="47" y="14"/>
                  </a:lnTo>
                  <a:lnTo>
                    <a:pt x="47" y="18"/>
                  </a:lnTo>
                  <a:lnTo>
                    <a:pt x="54" y="18"/>
                  </a:lnTo>
                  <a:lnTo>
                    <a:pt x="54" y="21"/>
                  </a:lnTo>
                  <a:lnTo>
                    <a:pt x="18" y="21"/>
                  </a:lnTo>
                  <a:lnTo>
                    <a:pt x="18" y="32"/>
                  </a:lnTo>
                  <a:lnTo>
                    <a:pt x="14" y="32"/>
                  </a:lnTo>
                  <a:lnTo>
                    <a:pt x="14" y="25"/>
                  </a:lnTo>
                  <a:lnTo>
                    <a:pt x="14" y="21"/>
                  </a:lnTo>
                  <a:lnTo>
                    <a:pt x="18" y="21"/>
                  </a:lnTo>
                  <a:lnTo>
                    <a:pt x="7" y="18"/>
                  </a:lnTo>
                  <a:lnTo>
                    <a:pt x="7" y="39"/>
                  </a:lnTo>
                  <a:lnTo>
                    <a:pt x="18" y="39"/>
                  </a:lnTo>
                  <a:lnTo>
                    <a:pt x="18" y="43"/>
                  </a:lnTo>
                  <a:lnTo>
                    <a:pt x="4" y="43"/>
                  </a:lnTo>
                  <a:lnTo>
                    <a:pt x="4" y="50"/>
                  </a:lnTo>
                  <a:lnTo>
                    <a:pt x="7" y="50"/>
                  </a:lnTo>
                  <a:lnTo>
                    <a:pt x="7" y="60"/>
                  </a:lnTo>
                  <a:lnTo>
                    <a:pt x="0" y="71"/>
                  </a:lnTo>
                  <a:lnTo>
                    <a:pt x="11" y="75"/>
                  </a:lnTo>
                  <a:lnTo>
                    <a:pt x="14" y="64"/>
                  </a:lnTo>
                  <a:lnTo>
                    <a:pt x="18" y="50"/>
                  </a:lnTo>
                  <a:lnTo>
                    <a:pt x="18" y="53"/>
                  </a:lnTo>
                  <a:lnTo>
                    <a:pt x="18" y="67"/>
                  </a:lnTo>
                  <a:lnTo>
                    <a:pt x="11" y="75"/>
                  </a:lnTo>
                  <a:lnTo>
                    <a:pt x="22" y="78"/>
                  </a:lnTo>
                  <a:lnTo>
                    <a:pt x="25" y="67"/>
                  </a:lnTo>
                  <a:lnTo>
                    <a:pt x="29" y="57"/>
                  </a:lnTo>
                  <a:lnTo>
                    <a:pt x="29" y="28"/>
                  </a:lnTo>
                  <a:lnTo>
                    <a:pt x="54" y="28"/>
                  </a:lnTo>
                  <a:lnTo>
                    <a:pt x="54" y="32"/>
                  </a:lnTo>
                  <a:lnTo>
                    <a:pt x="29" y="32"/>
                  </a:lnTo>
                  <a:lnTo>
                    <a:pt x="29" y="75"/>
                  </a:lnTo>
                  <a:lnTo>
                    <a:pt x="39" y="75"/>
                  </a:lnTo>
                  <a:lnTo>
                    <a:pt x="39" y="71"/>
                  </a:lnTo>
                  <a:lnTo>
                    <a:pt x="50" y="71"/>
                  </a:lnTo>
                  <a:lnTo>
                    <a:pt x="47" y="75"/>
                  </a:lnTo>
                  <a:lnTo>
                    <a:pt x="54" y="78"/>
                  </a:lnTo>
                  <a:lnTo>
                    <a:pt x="57" y="78"/>
                  </a:lnTo>
                  <a:lnTo>
                    <a:pt x="64" y="71"/>
                  </a:lnTo>
                  <a:lnTo>
                    <a:pt x="68" y="78"/>
                  </a:lnTo>
                  <a:lnTo>
                    <a:pt x="75" y="78"/>
                  </a:lnTo>
                  <a:lnTo>
                    <a:pt x="79" y="75"/>
                  </a:lnTo>
                  <a:lnTo>
                    <a:pt x="82" y="64"/>
                  </a:lnTo>
                  <a:lnTo>
                    <a:pt x="75" y="57"/>
                  </a:lnTo>
                  <a:lnTo>
                    <a:pt x="72" y="64"/>
                  </a:lnTo>
                  <a:lnTo>
                    <a:pt x="72" y="60"/>
                  </a:lnTo>
                  <a:lnTo>
                    <a:pt x="75" y="46"/>
                  </a:lnTo>
                  <a:lnTo>
                    <a:pt x="79" y="39"/>
                  </a:lnTo>
                  <a:lnTo>
                    <a:pt x="79" y="35"/>
                  </a:lnTo>
                  <a:lnTo>
                    <a:pt x="68" y="32"/>
                  </a:lnTo>
                  <a:lnTo>
                    <a:pt x="68" y="35"/>
                  </a:lnTo>
                  <a:lnTo>
                    <a:pt x="64" y="46"/>
                  </a:lnTo>
                  <a:lnTo>
                    <a:pt x="64" y="32"/>
                  </a:lnTo>
                  <a:lnTo>
                    <a:pt x="64" y="28"/>
                  </a:lnTo>
                  <a:lnTo>
                    <a:pt x="79" y="28"/>
                  </a:lnTo>
                  <a:lnTo>
                    <a:pt x="79" y="21"/>
                  </a:lnTo>
                  <a:lnTo>
                    <a:pt x="72" y="21"/>
                  </a:lnTo>
                  <a:lnTo>
                    <a:pt x="79" y="18"/>
                  </a:lnTo>
                  <a:lnTo>
                    <a:pt x="72" y="14"/>
                  </a:lnTo>
                  <a:lnTo>
                    <a:pt x="79" y="14"/>
                  </a:lnTo>
                  <a:lnTo>
                    <a:pt x="79" y="7"/>
                  </a:lnTo>
                  <a:lnTo>
                    <a:pt x="57" y="7"/>
                  </a:lnTo>
                  <a:lnTo>
                    <a:pt x="57" y="3"/>
                  </a:lnTo>
                  <a:lnTo>
                    <a:pt x="57" y="0"/>
                  </a:lnTo>
                  <a:lnTo>
                    <a:pt x="47" y="0"/>
                  </a:lnTo>
                  <a:lnTo>
                    <a:pt x="47" y="7"/>
                  </a:lnTo>
                  <a:lnTo>
                    <a:pt x="39" y="7"/>
                  </a:lnTo>
                  <a:lnTo>
                    <a:pt x="39" y="3"/>
                  </a:lnTo>
                  <a:lnTo>
                    <a:pt x="39" y="0"/>
                  </a:lnTo>
                  <a:lnTo>
                    <a:pt x="29" y="0"/>
                  </a:lnTo>
                  <a:lnTo>
                    <a:pt x="29" y="7"/>
                  </a:lnTo>
                  <a:lnTo>
                    <a:pt x="4" y="7"/>
                  </a:lnTo>
                  <a:lnTo>
                    <a:pt x="4" y="14"/>
                  </a:lnTo>
                  <a:lnTo>
                    <a:pt x="29" y="14"/>
                  </a:lnTo>
                  <a:lnTo>
                    <a:pt x="29" y="21"/>
                  </a:lnTo>
                  <a:close/>
                  <a:moveTo>
                    <a:pt x="43" y="39"/>
                  </a:moveTo>
                  <a:lnTo>
                    <a:pt x="43" y="43"/>
                  </a:lnTo>
                  <a:lnTo>
                    <a:pt x="39" y="43"/>
                  </a:lnTo>
                  <a:lnTo>
                    <a:pt x="39" y="39"/>
                  </a:lnTo>
                  <a:lnTo>
                    <a:pt x="43" y="39"/>
                  </a:lnTo>
                  <a:close/>
                  <a:moveTo>
                    <a:pt x="61" y="60"/>
                  </a:moveTo>
                  <a:lnTo>
                    <a:pt x="61" y="60"/>
                  </a:lnTo>
                  <a:lnTo>
                    <a:pt x="54" y="64"/>
                  </a:lnTo>
                  <a:lnTo>
                    <a:pt x="50" y="64"/>
                  </a:lnTo>
                  <a:lnTo>
                    <a:pt x="50" y="60"/>
                  </a:lnTo>
                  <a:lnTo>
                    <a:pt x="54" y="60"/>
                  </a:lnTo>
                  <a:lnTo>
                    <a:pt x="54" y="43"/>
                  </a:lnTo>
                  <a:lnTo>
                    <a:pt x="50" y="43"/>
                  </a:lnTo>
                  <a:lnTo>
                    <a:pt x="50" y="39"/>
                  </a:lnTo>
                  <a:lnTo>
                    <a:pt x="54" y="39"/>
                  </a:lnTo>
                  <a:lnTo>
                    <a:pt x="61" y="60"/>
                  </a:lnTo>
                  <a:close/>
                  <a:moveTo>
                    <a:pt x="47" y="50"/>
                  </a:moveTo>
                  <a:lnTo>
                    <a:pt x="47" y="53"/>
                  </a:lnTo>
                  <a:lnTo>
                    <a:pt x="39" y="53"/>
                  </a:lnTo>
                  <a:lnTo>
                    <a:pt x="39" y="50"/>
                  </a:lnTo>
                  <a:lnTo>
                    <a:pt x="47" y="50"/>
                  </a:lnTo>
                  <a:close/>
                  <a:moveTo>
                    <a:pt x="43" y="60"/>
                  </a:moveTo>
                  <a:lnTo>
                    <a:pt x="43" y="64"/>
                  </a:lnTo>
                  <a:lnTo>
                    <a:pt x="39" y="64"/>
                  </a:lnTo>
                  <a:lnTo>
                    <a:pt x="39" y="60"/>
                  </a:lnTo>
                  <a:lnTo>
                    <a:pt x="43" y="60"/>
                  </a:lnTo>
                  <a:close/>
                  <a:moveTo>
                    <a:pt x="64" y="18"/>
                  </a:moveTo>
                  <a:lnTo>
                    <a:pt x="64" y="18"/>
                  </a:lnTo>
                  <a:lnTo>
                    <a:pt x="57" y="18"/>
                  </a:lnTo>
                  <a:lnTo>
                    <a:pt x="57" y="14"/>
                  </a:lnTo>
                  <a:lnTo>
                    <a:pt x="72" y="14"/>
                  </a:lnTo>
                  <a:lnTo>
                    <a:pt x="64" y="18"/>
                  </a:lnTo>
                  <a:lnTo>
                    <a:pt x="68" y="21"/>
                  </a:lnTo>
                  <a:lnTo>
                    <a:pt x="72" y="21"/>
                  </a:lnTo>
                  <a:lnTo>
                    <a:pt x="64" y="21"/>
                  </a:lnTo>
                  <a:lnTo>
                    <a:pt x="6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2" name="Freeform 138"/>
            <p:cNvSpPr>
              <a:spLocks noEditPoints="1"/>
            </p:cNvSpPr>
            <p:nvPr/>
          </p:nvSpPr>
          <p:spPr bwMode="auto">
            <a:xfrm>
              <a:off x="1037" y="1572"/>
              <a:ext cx="79" cy="78"/>
            </a:xfrm>
            <a:custGeom>
              <a:avLst/>
              <a:gdLst>
                <a:gd name="T0" fmla="*/ 11 w 79"/>
                <a:gd name="T1" fmla="*/ 14 h 78"/>
                <a:gd name="T2" fmla="*/ 22 w 79"/>
                <a:gd name="T3" fmla="*/ 11 h 78"/>
                <a:gd name="T4" fmla="*/ 18 w 79"/>
                <a:gd name="T5" fmla="*/ 4 h 78"/>
                <a:gd name="T6" fmla="*/ 8 w 79"/>
                <a:gd name="T7" fmla="*/ 4 h 78"/>
                <a:gd name="T8" fmla="*/ 11 w 79"/>
                <a:gd name="T9" fmla="*/ 14 h 78"/>
                <a:gd name="T10" fmla="*/ 32 w 79"/>
                <a:gd name="T11" fmla="*/ 71 h 78"/>
                <a:gd name="T12" fmla="*/ 18 w 79"/>
                <a:gd name="T13" fmla="*/ 32 h 78"/>
                <a:gd name="T14" fmla="*/ 29 w 79"/>
                <a:gd name="T15" fmla="*/ 21 h 78"/>
                <a:gd name="T16" fmla="*/ 29 w 79"/>
                <a:gd name="T17" fmla="*/ 25 h 78"/>
                <a:gd name="T18" fmla="*/ 36 w 79"/>
                <a:gd name="T19" fmla="*/ 32 h 78"/>
                <a:gd name="T20" fmla="*/ 75 w 79"/>
                <a:gd name="T21" fmla="*/ 18 h 78"/>
                <a:gd name="T22" fmla="*/ 47 w 79"/>
                <a:gd name="T23" fmla="*/ 11 h 78"/>
                <a:gd name="T24" fmla="*/ 50 w 79"/>
                <a:gd name="T25" fmla="*/ 7 h 78"/>
                <a:gd name="T26" fmla="*/ 50 w 79"/>
                <a:gd name="T27" fmla="*/ 4 h 78"/>
                <a:gd name="T28" fmla="*/ 40 w 79"/>
                <a:gd name="T29" fmla="*/ 0 h 78"/>
                <a:gd name="T30" fmla="*/ 40 w 79"/>
                <a:gd name="T31" fmla="*/ 4 h 78"/>
                <a:gd name="T32" fmla="*/ 32 w 79"/>
                <a:gd name="T33" fmla="*/ 18 h 78"/>
                <a:gd name="T34" fmla="*/ 0 w 79"/>
                <a:gd name="T35" fmla="*/ 14 h 78"/>
                <a:gd name="T36" fmla="*/ 8 w 79"/>
                <a:gd name="T37" fmla="*/ 21 h 78"/>
                <a:gd name="T38" fmla="*/ 8 w 79"/>
                <a:gd name="T39" fmla="*/ 39 h 78"/>
                <a:gd name="T40" fmla="*/ 0 w 79"/>
                <a:gd name="T41" fmla="*/ 75 h 78"/>
                <a:gd name="T42" fmla="*/ 0 w 79"/>
                <a:gd name="T43" fmla="*/ 75 h 78"/>
                <a:gd name="T44" fmla="*/ 8 w 79"/>
                <a:gd name="T45" fmla="*/ 78 h 78"/>
                <a:gd name="T46" fmla="*/ 15 w 79"/>
                <a:gd name="T47" fmla="*/ 61 h 78"/>
                <a:gd name="T48" fmla="*/ 22 w 79"/>
                <a:gd name="T49" fmla="*/ 39 h 78"/>
                <a:gd name="T50" fmla="*/ 22 w 79"/>
                <a:gd name="T51" fmla="*/ 64 h 78"/>
                <a:gd name="T52" fmla="*/ 15 w 79"/>
                <a:gd name="T53" fmla="*/ 68 h 78"/>
                <a:gd name="T54" fmla="*/ 15 w 79"/>
                <a:gd name="T55" fmla="*/ 78 h 78"/>
                <a:gd name="T56" fmla="*/ 25 w 79"/>
                <a:gd name="T57" fmla="*/ 75 h 78"/>
                <a:gd name="T58" fmla="*/ 29 w 79"/>
                <a:gd name="T59" fmla="*/ 71 h 78"/>
                <a:gd name="T60" fmla="*/ 40 w 79"/>
                <a:gd name="T61" fmla="*/ 78 h 78"/>
                <a:gd name="T62" fmla="*/ 54 w 79"/>
                <a:gd name="T63" fmla="*/ 61 h 78"/>
                <a:gd name="T64" fmla="*/ 61 w 79"/>
                <a:gd name="T65" fmla="*/ 71 h 78"/>
                <a:gd name="T66" fmla="*/ 72 w 79"/>
                <a:gd name="T67" fmla="*/ 78 h 78"/>
                <a:gd name="T68" fmla="*/ 79 w 79"/>
                <a:gd name="T69" fmla="*/ 68 h 78"/>
                <a:gd name="T70" fmla="*/ 61 w 79"/>
                <a:gd name="T71" fmla="*/ 54 h 78"/>
                <a:gd name="T72" fmla="*/ 75 w 79"/>
                <a:gd name="T73" fmla="*/ 46 h 78"/>
                <a:gd name="T74" fmla="*/ 61 w 79"/>
                <a:gd name="T75" fmla="*/ 36 h 78"/>
                <a:gd name="T76" fmla="*/ 72 w 79"/>
                <a:gd name="T77" fmla="*/ 29 h 78"/>
                <a:gd name="T78" fmla="*/ 50 w 79"/>
                <a:gd name="T79" fmla="*/ 25 h 78"/>
                <a:gd name="T80" fmla="*/ 54 w 79"/>
                <a:gd name="T81" fmla="*/ 21 h 78"/>
                <a:gd name="T82" fmla="*/ 43 w 79"/>
                <a:gd name="T83" fmla="*/ 21 h 78"/>
                <a:gd name="T84" fmla="*/ 40 w 79"/>
                <a:gd name="T85" fmla="*/ 32 h 78"/>
                <a:gd name="T86" fmla="*/ 32 w 79"/>
                <a:gd name="T87" fmla="*/ 39 h 78"/>
                <a:gd name="T88" fmla="*/ 36 w 79"/>
                <a:gd name="T89" fmla="*/ 43 h 78"/>
                <a:gd name="T90" fmla="*/ 40 w 79"/>
                <a:gd name="T91" fmla="*/ 46 h 78"/>
                <a:gd name="T92" fmla="*/ 50 w 79"/>
                <a:gd name="T93" fmla="*/ 36 h 78"/>
                <a:gd name="T94" fmla="*/ 32 w 79"/>
                <a:gd name="T95" fmla="*/ 46 h 78"/>
                <a:gd name="T96" fmla="*/ 47 w 79"/>
                <a:gd name="T97" fmla="*/ 54 h 78"/>
                <a:gd name="T98" fmla="*/ 47 w 79"/>
                <a:gd name="T99" fmla="*/ 54 h 78"/>
                <a:gd name="T100" fmla="*/ 32 w 79"/>
                <a:gd name="T101" fmla="*/ 71 h 78"/>
                <a:gd name="T102" fmla="*/ 32 w 79"/>
                <a:gd name="T103" fmla="*/ 71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
                <a:gd name="T157" fmla="*/ 0 h 78"/>
                <a:gd name="T158" fmla="*/ 79 w 79"/>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 h="78">
                  <a:moveTo>
                    <a:pt x="11" y="14"/>
                  </a:moveTo>
                  <a:lnTo>
                    <a:pt x="11" y="14"/>
                  </a:lnTo>
                  <a:lnTo>
                    <a:pt x="22" y="11"/>
                  </a:lnTo>
                  <a:lnTo>
                    <a:pt x="18" y="4"/>
                  </a:lnTo>
                  <a:lnTo>
                    <a:pt x="8" y="4"/>
                  </a:lnTo>
                  <a:lnTo>
                    <a:pt x="11" y="14"/>
                  </a:lnTo>
                  <a:close/>
                  <a:moveTo>
                    <a:pt x="32" y="71"/>
                  </a:moveTo>
                  <a:lnTo>
                    <a:pt x="32" y="32"/>
                  </a:lnTo>
                  <a:lnTo>
                    <a:pt x="18" y="32"/>
                  </a:lnTo>
                  <a:lnTo>
                    <a:pt x="18" y="21"/>
                  </a:lnTo>
                  <a:lnTo>
                    <a:pt x="29" y="21"/>
                  </a:lnTo>
                  <a:lnTo>
                    <a:pt x="29" y="25"/>
                  </a:lnTo>
                  <a:lnTo>
                    <a:pt x="36" y="32"/>
                  </a:lnTo>
                  <a:lnTo>
                    <a:pt x="43" y="18"/>
                  </a:lnTo>
                  <a:lnTo>
                    <a:pt x="75" y="18"/>
                  </a:lnTo>
                  <a:lnTo>
                    <a:pt x="75" y="11"/>
                  </a:lnTo>
                  <a:lnTo>
                    <a:pt x="47" y="11"/>
                  </a:lnTo>
                  <a:lnTo>
                    <a:pt x="50" y="7"/>
                  </a:lnTo>
                  <a:lnTo>
                    <a:pt x="50" y="4"/>
                  </a:lnTo>
                  <a:lnTo>
                    <a:pt x="40" y="0"/>
                  </a:lnTo>
                  <a:lnTo>
                    <a:pt x="40" y="4"/>
                  </a:lnTo>
                  <a:lnTo>
                    <a:pt x="32" y="18"/>
                  </a:lnTo>
                  <a:lnTo>
                    <a:pt x="32" y="14"/>
                  </a:lnTo>
                  <a:lnTo>
                    <a:pt x="0" y="14"/>
                  </a:lnTo>
                  <a:lnTo>
                    <a:pt x="0" y="21"/>
                  </a:lnTo>
                  <a:lnTo>
                    <a:pt x="8" y="21"/>
                  </a:lnTo>
                  <a:lnTo>
                    <a:pt x="8" y="39"/>
                  </a:lnTo>
                  <a:lnTo>
                    <a:pt x="4" y="57"/>
                  </a:lnTo>
                  <a:lnTo>
                    <a:pt x="0" y="75"/>
                  </a:lnTo>
                  <a:lnTo>
                    <a:pt x="8" y="78"/>
                  </a:lnTo>
                  <a:lnTo>
                    <a:pt x="15" y="61"/>
                  </a:lnTo>
                  <a:lnTo>
                    <a:pt x="18" y="39"/>
                  </a:lnTo>
                  <a:lnTo>
                    <a:pt x="22" y="39"/>
                  </a:lnTo>
                  <a:lnTo>
                    <a:pt x="22" y="64"/>
                  </a:lnTo>
                  <a:lnTo>
                    <a:pt x="18" y="68"/>
                  </a:lnTo>
                  <a:lnTo>
                    <a:pt x="15" y="68"/>
                  </a:lnTo>
                  <a:lnTo>
                    <a:pt x="15" y="78"/>
                  </a:lnTo>
                  <a:lnTo>
                    <a:pt x="25" y="75"/>
                  </a:lnTo>
                  <a:lnTo>
                    <a:pt x="29" y="71"/>
                  </a:lnTo>
                  <a:lnTo>
                    <a:pt x="40" y="78"/>
                  </a:lnTo>
                  <a:lnTo>
                    <a:pt x="50" y="71"/>
                  </a:lnTo>
                  <a:lnTo>
                    <a:pt x="54" y="61"/>
                  </a:lnTo>
                  <a:lnTo>
                    <a:pt x="61" y="71"/>
                  </a:lnTo>
                  <a:lnTo>
                    <a:pt x="72" y="78"/>
                  </a:lnTo>
                  <a:lnTo>
                    <a:pt x="79" y="68"/>
                  </a:lnTo>
                  <a:lnTo>
                    <a:pt x="68" y="64"/>
                  </a:lnTo>
                  <a:lnTo>
                    <a:pt x="61" y="54"/>
                  </a:lnTo>
                  <a:lnTo>
                    <a:pt x="75" y="54"/>
                  </a:lnTo>
                  <a:lnTo>
                    <a:pt x="75" y="46"/>
                  </a:lnTo>
                  <a:lnTo>
                    <a:pt x="61" y="46"/>
                  </a:lnTo>
                  <a:lnTo>
                    <a:pt x="61" y="36"/>
                  </a:lnTo>
                  <a:lnTo>
                    <a:pt x="72" y="36"/>
                  </a:lnTo>
                  <a:lnTo>
                    <a:pt x="72" y="29"/>
                  </a:lnTo>
                  <a:lnTo>
                    <a:pt x="50" y="29"/>
                  </a:lnTo>
                  <a:lnTo>
                    <a:pt x="50" y="25"/>
                  </a:lnTo>
                  <a:lnTo>
                    <a:pt x="54" y="21"/>
                  </a:lnTo>
                  <a:lnTo>
                    <a:pt x="43" y="21"/>
                  </a:lnTo>
                  <a:lnTo>
                    <a:pt x="40" y="32"/>
                  </a:lnTo>
                  <a:lnTo>
                    <a:pt x="32" y="39"/>
                  </a:lnTo>
                  <a:lnTo>
                    <a:pt x="36" y="43"/>
                  </a:lnTo>
                  <a:lnTo>
                    <a:pt x="40" y="46"/>
                  </a:lnTo>
                  <a:lnTo>
                    <a:pt x="47" y="36"/>
                  </a:lnTo>
                  <a:lnTo>
                    <a:pt x="50" y="36"/>
                  </a:lnTo>
                  <a:lnTo>
                    <a:pt x="50" y="46"/>
                  </a:lnTo>
                  <a:lnTo>
                    <a:pt x="32" y="46"/>
                  </a:lnTo>
                  <a:lnTo>
                    <a:pt x="32" y="54"/>
                  </a:lnTo>
                  <a:lnTo>
                    <a:pt x="47" y="54"/>
                  </a:lnTo>
                  <a:lnTo>
                    <a:pt x="43" y="64"/>
                  </a:lnTo>
                  <a:lnTo>
                    <a:pt x="32" y="7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3" name="Freeform 139"/>
            <p:cNvSpPr>
              <a:spLocks noEditPoints="1"/>
            </p:cNvSpPr>
            <p:nvPr/>
          </p:nvSpPr>
          <p:spPr bwMode="auto">
            <a:xfrm>
              <a:off x="1166" y="1782"/>
              <a:ext cx="57" cy="79"/>
            </a:xfrm>
            <a:custGeom>
              <a:avLst/>
              <a:gdLst>
                <a:gd name="T0" fmla="*/ 10 w 57"/>
                <a:gd name="T1" fmla="*/ 79 h 79"/>
                <a:gd name="T2" fmla="*/ 10 w 57"/>
                <a:gd name="T3" fmla="*/ 75 h 79"/>
                <a:gd name="T4" fmla="*/ 42 w 57"/>
                <a:gd name="T5" fmla="*/ 75 h 79"/>
                <a:gd name="T6" fmla="*/ 42 w 57"/>
                <a:gd name="T7" fmla="*/ 79 h 79"/>
                <a:gd name="T8" fmla="*/ 57 w 57"/>
                <a:gd name="T9" fmla="*/ 79 h 79"/>
                <a:gd name="T10" fmla="*/ 57 w 57"/>
                <a:gd name="T11" fmla="*/ 15 h 79"/>
                <a:gd name="T12" fmla="*/ 28 w 57"/>
                <a:gd name="T13" fmla="*/ 15 h 79"/>
                <a:gd name="T14" fmla="*/ 28 w 57"/>
                <a:gd name="T15" fmla="*/ 15 h 79"/>
                <a:gd name="T16" fmla="*/ 32 w 57"/>
                <a:gd name="T17" fmla="*/ 7 h 79"/>
                <a:gd name="T18" fmla="*/ 32 w 57"/>
                <a:gd name="T19" fmla="*/ 7 h 79"/>
                <a:gd name="T20" fmla="*/ 32 w 57"/>
                <a:gd name="T21" fmla="*/ 7 h 79"/>
                <a:gd name="T22" fmla="*/ 32 w 57"/>
                <a:gd name="T23" fmla="*/ 4 h 79"/>
                <a:gd name="T24" fmla="*/ 32 w 57"/>
                <a:gd name="T25" fmla="*/ 4 h 79"/>
                <a:gd name="T26" fmla="*/ 18 w 57"/>
                <a:gd name="T27" fmla="*/ 0 h 79"/>
                <a:gd name="T28" fmla="*/ 18 w 57"/>
                <a:gd name="T29" fmla="*/ 0 h 79"/>
                <a:gd name="T30" fmla="*/ 18 w 57"/>
                <a:gd name="T31" fmla="*/ 4 h 79"/>
                <a:gd name="T32" fmla="*/ 18 w 57"/>
                <a:gd name="T33" fmla="*/ 4 h 79"/>
                <a:gd name="T34" fmla="*/ 14 w 57"/>
                <a:gd name="T35" fmla="*/ 15 h 79"/>
                <a:gd name="T36" fmla="*/ 0 w 57"/>
                <a:gd name="T37" fmla="*/ 15 h 79"/>
                <a:gd name="T38" fmla="*/ 0 w 57"/>
                <a:gd name="T39" fmla="*/ 79 h 79"/>
                <a:gd name="T40" fmla="*/ 0 w 57"/>
                <a:gd name="T41" fmla="*/ 79 h 79"/>
                <a:gd name="T42" fmla="*/ 10 w 57"/>
                <a:gd name="T43" fmla="*/ 79 h 79"/>
                <a:gd name="T44" fmla="*/ 10 w 57"/>
                <a:gd name="T45" fmla="*/ 79 h 79"/>
                <a:gd name="T46" fmla="*/ 42 w 57"/>
                <a:gd name="T47" fmla="*/ 22 h 79"/>
                <a:gd name="T48" fmla="*/ 42 w 57"/>
                <a:gd name="T49" fmla="*/ 32 h 79"/>
                <a:gd name="T50" fmla="*/ 10 w 57"/>
                <a:gd name="T51" fmla="*/ 32 h 79"/>
                <a:gd name="T52" fmla="*/ 10 w 57"/>
                <a:gd name="T53" fmla="*/ 22 h 79"/>
                <a:gd name="T54" fmla="*/ 42 w 57"/>
                <a:gd name="T55" fmla="*/ 22 h 79"/>
                <a:gd name="T56" fmla="*/ 42 w 57"/>
                <a:gd name="T57" fmla="*/ 22 h 79"/>
                <a:gd name="T58" fmla="*/ 46 w 57"/>
                <a:gd name="T59" fmla="*/ 50 h 79"/>
                <a:gd name="T60" fmla="*/ 10 w 57"/>
                <a:gd name="T61" fmla="*/ 50 h 79"/>
                <a:gd name="T62" fmla="*/ 10 w 57"/>
                <a:gd name="T63" fmla="*/ 40 h 79"/>
                <a:gd name="T64" fmla="*/ 46 w 57"/>
                <a:gd name="T65" fmla="*/ 40 h 79"/>
                <a:gd name="T66" fmla="*/ 46 w 57"/>
                <a:gd name="T67" fmla="*/ 50 h 79"/>
                <a:gd name="T68" fmla="*/ 46 w 57"/>
                <a:gd name="T69" fmla="*/ 50 h 79"/>
                <a:gd name="T70" fmla="*/ 46 w 57"/>
                <a:gd name="T71" fmla="*/ 57 h 79"/>
                <a:gd name="T72" fmla="*/ 46 w 57"/>
                <a:gd name="T73" fmla="*/ 68 h 79"/>
                <a:gd name="T74" fmla="*/ 10 w 57"/>
                <a:gd name="T75" fmla="*/ 68 h 79"/>
                <a:gd name="T76" fmla="*/ 10 w 57"/>
                <a:gd name="T77" fmla="*/ 57 h 79"/>
                <a:gd name="T78" fmla="*/ 46 w 57"/>
                <a:gd name="T79" fmla="*/ 57 h 79"/>
                <a:gd name="T80" fmla="*/ 46 w 57"/>
                <a:gd name="T81" fmla="*/ 57 h 7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7"/>
                <a:gd name="T124" fmla="*/ 0 h 79"/>
                <a:gd name="T125" fmla="*/ 57 w 57"/>
                <a:gd name="T126" fmla="*/ 79 h 7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7" h="79">
                  <a:moveTo>
                    <a:pt x="10" y="79"/>
                  </a:moveTo>
                  <a:lnTo>
                    <a:pt x="10" y="75"/>
                  </a:lnTo>
                  <a:lnTo>
                    <a:pt x="42" y="75"/>
                  </a:lnTo>
                  <a:lnTo>
                    <a:pt x="42" y="79"/>
                  </a:lnTo>
                  <a:lnTo>
                    <a:pt x="57" y="79"/>
                  </a:lnTo>
                  <a:lnTo>
                    <a:pt x="57" y="15"/>
                  </a:lnTo>
                  <a:lnTo>
                    <a:pt x="28" y="15"/>
                  </a:lnTo>
                  <a:lnTo>
                    <a:pt x="32" y="7"/>
                  </a:lnTo>
                  <a:lnTo>
                    <a:pt x="32" y="4"/>
                  </a:lnTo>
                  <a:lnTo>
                    <a:pt x="18" y="0"/>
                  </a:lnTo>
                  <a:lnTo>
                    <a:pt x="18" y="4"/>
                  </a:lnTo>
                  <a:lnTo>
                    <a:pt x="14" y="15"/>
                  </a:lnTo>
                  <a:lnTo>
                    <a:pt x="0" y="15"/>
                  </a:lnTo>
                  <a:lnTo>
                    <a:pt x="0" y="79"/>
                  </a:lnTo>
                  <a:lnTo>
                    <a:pt x="10" y="79"/>
                  </a:lnTo>
                  <a:close/>
                  <a:moveTo>
                    <a:pt x="42" y="22"/>
                  </a:moveTo>
                  <a:lnTo>
                    <a:pt x="42" y="32"/>
                  </a:lnTo>
                  <a:lnTo>
                    <a:pt x="10" y="32"/>
                  </a:lnTo>
                  <a:lnTo>
                    <a:pt x="10" y="22"/>
                  </a:lnTo>
                  <a:lnTo>
                    <a:pt x="42" y="22"/>
                  </a:lnTo>
                  <a:close/>
                  <a:moveTo>
                    <a:pt x="46" y="50"/>
                  </a:moveTo>
                  <a:lnTo>
                    <a:pt x="10" y="50"/>
                  </a:lnTo>
                  <a:lnTo>
                    <a:pt x="10" y="40"/>
                  </a:lnTo>
                  <a:lnTo>
                    <a:pt x="46" y="40"/>
                  </a:lnTo>
                  <a:lnTo>
                    <a:pt x="46" y="50"/>
                  </a:lnTo>
                  <a:close/>
                  <a:moveTo>
                    <a:pt x="46" y="57"/>
                  </a:moveTo>
                  <a:lnTo>
                    <a:pt x="46" y="68"/>
                  </a:lnTo>
                  <a:lnTo>
                    <a:pt x="10" y="68"/>
                  </a:lnTo>
                  <a:lnTo>
                    <a:pt x="10" y="57"/>
                  </a:lnTo>
                  <a:lnTo>
                    <a:pt x="46" y="5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4" name="Freeform 140"/>
            <p:cNvSpPr>
              <a:spLocks noEditPoints="1"/>
            </p:cNvSpPr>
            <p:nvPr/>
          </p:nvSpPr>
          <p:spPr bwMode="auto">
            <a:xfrm>
              <a:off x="1319" y="1993"/>
              <a:ext cx="82" cy="78"/>
            </a:xfrm>
            <a:custGeom>
              <a:avLst/>
              <a:gdLst>
                <a:gd name="T0" fmla="*/ 57 w 82"/>
                <a:gd name="T1" fmla="*/ 7 h 78"/>
                <a:gd name="T2" fmla="*/ 61 w 82"/>
                <a:gd name="T3" fmla="*/ 7 h 78"/>
                <a:gd name="T4" fmla="*/ 46 w 82"/>
                <a:gd name="T5" fmla="*/ 0 h 78"/>
                <a:gd name="T6" fmla="*/ 39 w 82"/>
                <a:gd name="T7" fmla="*/ 18 h 78"/>
                <a:gd name="T8" fmla="*/ 29 w 82"/>
                <a:gd name="T9" fmla="*/ 28 h 78"/>
                <a:gd name="T10" fmla="*/ 29 w 82"/>
                <a:gd name="T11" fmla="*/ 39 h 78"/>
                <a:gd name="T12" fmla="*/ 68 w 82"/>
                <a:gd name="T13" fmla="*/ 35 h 78"/>
                <a:gd name="T14" fmla="*/ 71 w 82"/>
                <a:gd name="T15" fmla="*/ 42 h 78"/>
                <a:gd name="T16" fmla="*/ 75 w 82"/>
                <a:gd name="T17" fmla="*/ 39 h 78"/>
                <a:gd name="T18" fmla="*/ 82 w 82"/>
                <a:gd name="T19" fmla="*/ 35 h 78"/>
                <a:gd name="T20" fmla="*/ 64 w 82"/>
                <a:gd name="T21" fmla="*/ 14 h 78"/>
                <a:gd name="T22" fmla="*/ 57 w 82"/>
                <a:gd name="T23" fmla="*/ 18 h 78"/>
                <a:gd name="T24" fmla="*/ 46 w 82"/>
                <a:gd name="T25" fmla="*/ 28 h 78"/>
                <a:gd name="T26" fmla="*/ 57 w 82"/>
                <a:gd name="T27" fmla="*/ 7 h 78"/>
                <a:gd name="T28" fmla="*/ 57 w 82"/>
                <a:gd name="T29" fmla="*/ 7 h 78"/>
                <a:gd name="T30" fmla="*/ 32 w 82"/>
                <a:gd name="T31" fmla="*/ 14 h 78"/>
                <a:gd name="T32" fmla="*/ 18 w 82"/>
                <a:gd name="T33" fmla="*/ 3 h 78"/>
                <a:gd name="T34" fmla="*/ 11 w 82"/>
                <a:gd name="T35" fmla="*/ 10 h 78"/>
                <a:gd name="T36" fmla="*/ 14 w 82"/>
                <a:gd name="T37" fmla="*/ 14 h 78"/>
                <a:gd name="T38" fmla="*/ 25 w 82"/>
                <a:gd name="T39" fmla="*/ 21 h 78"/>
                <a:gd name="T40" fmla="*/ 32 w 82"/>
                <a:gd name="T41" fmla="*/ 14 h 78"/>
                <a:gd name="T42" fmla="*/ 21 w 82"/>
                <a:gd name="T43" fmla="*/ 32 h 78"/>
                <a:gd name="T44" fmla="*/ 7 w 82"/>
                <a:gd name="T45" fmla="*/ 21 h 78"/>
                <a:gd name="T46" fmla="*/ 0 w 82"/>
                <a:gd name="T47" fmla="*/ 32 h 78"/>
                <a:gd name="T48" fmla="*/ 14 w 82"/>
                <a:gd name="T49" fmla="*/ 39 h 78"/>
                <a:gd name="T50" fmla="*/ 21 w 82"/>
                <a:gd name="T51" fmla="*/ 32 h 78"/>
                <a:gd name="T52" fmla="*/ 21 w 82"/>
                <a:gd name="T53" fmla="*/ 32 h 78"/>
                <a:gd name="T54" fmla="*/ 11 w 82"/>
                <a:gd name="T55" fmla="*/ 78 h 78"/>
                <a:gd name="T56" fmla="*/ 14 w 82"/>
                <a:gd name="T57" fmla="*/ 78 h 78"/>
                <a:gd name="T58" fmla="*/ 25 w 82"/>
                <a:gd name="T59" fmla="*/ 50 h 78"/>
                <a:gd name="T60" fmla="*/ 21 w 82"/>
                <a:gd name="T61" fmla="*/ 46 h 78"/>
                <a:gd name="T62" fmla="*/ 14 w 82"/>
                <a:gd name="T63" fmla="*/ 42 h 78"/>
                <a:gd name="T64" fmla="*/ 4 w 82"/>
                <a:gd name="T65" fmla="*/ 71 h 78"/>
                <a:gd name="T66" fmla="*/ 11 w 82"/>
                <a:gd name="T67" fmla="*/ 78 h 78"/>
                <a:gd name="T68" fmla="*/ 43 w 82"/>
                <a:gd name="T69" fmla="*/ 75 h 78"/>
                <a:gd name="T70" fmla="*/ 61 w 82"/>
                <a:gd name="T71" fmla="*/ 78 h 78"/>
                <a:gd name="T72" fmla="*/ 71 w 82"/>
                <a:gd name="T73" fmla="*/ 42 h 78"/>
                <a:gd name="T74" fmla="*/ 32 w 82"/>
                <a:gd name="T75" fmla="*/ 78 h 78"/>
                <a:gd name="T76" fmla="*/ 43 w 82"/>
                <a:gd name="T77" fmla="*/ 75 h 78"/>
                <a:gd name="T78" fmla="*/ 61 w 82"/>
                <a:gd name="T79" fmla="*/ 53 h 78"/>
                <a:gd name="T80" fmla="*/ 43 w 82"/>
                <a:gd name="T81" fmla="*/ 67 h 78"/>
                <a:gd name="T82" fmla="*/ 61 w 82"/>
                <a:gd name="T83" fmla="*/ 53 h 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82"/>
                <a:gd name="T127" fmla="*/ 0 h 78"/>
                <a:gd name="T128" fmla="*/ 82 w 82"/>
                <a:gd name="T129" fmla="*/ 78 h 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82" h="78">
                  <a:moveTo>
                    <a:pt x="57" y="7"/>
                  </a:moveTo>
                  <a:lnTo>
                    <a:pt x="57" y="7"/>
                  </a:lnTo>
                  <a:lnTo>
                    <a:pt x="61" y="7"/>
                  </a:lnTo>
                  <a:lnTo>
                    <a:pt x="46" y="0"/>
                  </a:lnTo>
                  <a:lnTo>
                    <a:pt x="39" y="18"/>
                  </a:lnTo>
                  <a:lnTo>
                    <a:pt x="36" y="25"/>
                  </a:lnTo>
                  <a:lnTo>
                    <a:pt x="29" y="28"/>
                  </a:lnTo>
                  <a:lnTo>
                    <a:pt x="29" y="39"/>
                  </a:lnTo>
                  <a:lnTo>
                    <a:pt x="53" y="35"/>
                  </a:lnTo>
                  <a:lnTo>
                    <a:pt x="68" y="35"/>
                  </a:lnTo>
                  <a:lnTo>
                    <a:pt x="71" y="42"/>
                  </a:lnTo>
                  <a:lnTo>
                    <a:pt x="75" y="39"/>
                  </a:lnTo>
                  <a:lnTo>
                    <a:pt x="82" y="35"/>
                  </a:lnTo>
                  <a:lnTo>
                    <a:pt x="64" y="14"/>
                  </a:lnTo>
                  <a:lnTo>
                    <a:pt x="57" y="18"/>
                  </a:lnTo>
                  <a:lnTo>
                    <a:pt x="61" y="28"/>
                  </a:lnTo>
                  <a:lnTo>
                    <a:pt x="46" y="28"/>
                  </a:lnTo>
                  <a:lnTo>
                    <a:pt x="57" y="7"/>
                  </a:lnTo>
                  <a:close/>
                  <a:moveTo>
                    <a:pt x="32" y="14"/>
                  </a:moveTo>
                  <a:lnTo>
                    <a:pt x="32" y="14"/>
                  </a:lnTo>
                  <a:lnTo>
                    <a:pt x="18" y="3"/>
                  </a:lnTo>
                  <a:lnTo>
                    <a:pt x="11" y="10"/>
                  </a:lnTo>
                  <a:lnTo>
                    <a:pt x="14" y="14"/>
                  </a:lnTo>
                  <a:lnTo>
                    <a:pt x="25" y="21"/>
                  </a:lnTo>
                  <a:lnTo>
                    <a:pt x="32" y="14"/>
                  </a:lnTo>
                  <a:close/>
                  <a:moveTo>
                    <a:pt x="21" y="32"/>
                  </a:moveTo>
                  <a:lnTo>
                    <a:pt x="21" y="32"/>
                  </a:lnTo>
                  <a:lnTo>
                    <a:pt x="7" y="21"/>
                  </a:lnTo>
                  <a:lnTo>
                    <a:pt x="0" y="32"/>
                  </a:lnTo>
                  <a:lnTo>
                    <a:pt x="14" y="39"/>
                  </a:lnTo>
                  <a:lnTo>
                    <a:pt x="21" y="32"/>
                  </a:lnTo>
                  <a:close/>
                  <a:moveTo>
                    <a:pt x="11" y="78"/>
                  </a:moveTo>
                  <a:lnTo>
                    <a:pt x="11" y="78"/>
                  </a:lnTo>
                  <a:lnTo>
                    <a:pt x="14" y="78"/>
                  </a:lnTo>
                  <a:lnTo>
                    <a:pt x="25" y="50"/>
                  </a:lnTo>
                  <a:lnTo>
                    <a:pt x="21" y="46"/>
                  </a:lnTo>
                  <a:lnTo>
                    <a:pt x="14" y="42"/>
                  </a:lnTo>
                  <a:lnTo>
                    <a:pt x="4" y="71"/>
                  </a:lnTo>
                  <a:lnTo>
                    <a:pt x="11" y="78"/>
                  </a:lnTo>
                  <a:close/>
                  <a:moveTo>
                    <a:pt x="43" y="75"/>
                  </a:moveTo>
                  <a:lnTo>
                    <a:pt x="61" y="75"/>
                  </a:lnTo>
                  <a:lnTo>
                    <a:pt x="61" y="78"/>
                  </a:lnTo>
                  <a:lnTo>
                    <a:pt x="71" y="78"/>
                  </a:lnTo>
                  <a:lnTo>
                    <a:pt x="71" y="42"/>
                  </a:lnTo>
                  <a:lnTo>
                    <a:pt x="32" y="42"/>
                  </a:lnTo>
                  <a:lnTo>
                    <a:pt x="32" y="78"/>
                  </a:lnTo>
                  <a:lnTo>
                    <a:pt x="43" y="78"/>
                  </a:lnTo>
                  <a:lnTo>
                    <a:pt x="43" y="75"/>
                  </a:lnTo>
                  <a:close/>
                  <a:moveTo>
                    <a:pt x="61" y="53"/>
                  </a:moveTo>
                  <a:lnTo>
                    <a:pt x="61" y="67"/>
                  </a:lnTo>
                  <a:lnTo>
                    <a:pt x="43" y="67"/>
                  </a:lnTo>
                  <a:lnTo>
                    <a:pt x="43" y="53"/>
                  </a:lnTo>
                  <a:lnTo>
                    <a:pt x="61"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5" name="Freeform 141"/>
            <p:cNvSpPr>
              <a:spLocks noEditPoints="1"/>
            </p:cNvSpPr>
            <p:nvPr/>
          </p:nvSpPr>
          <p:spPr bwMode="auto">
            <a:xfrm>
              <a:off x="1487" y="2207"/>
              <a:ext cx="71" cy="78"/>
            </a:xfrm>
            <a:custGeom>
              <a:avLst/>
              <a:gdLst>
                <a:gd name="T0" fmla="*/ 57 w 71"/>
                <a:gd name="T1" fmla="*/ 21 h 78"/>
                <a:gd name="T2" fmla="*/ 49 w 71"/>
                <a:gd name="T3" fmla="*/ 10 h 78"/>
                <a:gd name="T4" fmla="*/ 49 w 71"/>
                <a:gd name="T5" fmla="*/ 7 h 78"/>
                <a:gd name="T6" fmla="*/ 49 w 71"/>
                <a:gd name="T7" fmla="*/ 7 h 78"/>
                <a:gd name="T8" fmla="*/ 46 w 71"/>
                <a:gd name="T9" fmla="*/ 3 h 78"/>
                <a:gd name="T10" fmla="*/ 39 w 71"/>
                <a:gd name="T11" fmla="*/ 3 h 78"/>
                <a:gd name="T12" fmla="*/ 39 w 71"/>
                <a:gd name="T13" fmla="*/ 39 h 78"/>
                <a:gd name="T14" fmla="*/ 35 w 71"/>
                <a:gd name="T15" fmla="*/ 21 h 78"/>
                <a:gd name="T16" fmla="*/ 25 w 71"/>
                <a:gd name="T17" fmla="*/ 7 h 78"/>
                <a:gd name="T18" fmla="*/ 28 w 71"/>
                <a:gd name="T19" fmla="*/ 3 h 78"/>
                <a:gd name="T20" fmla="*/ 28 w 71"/>
                <a:gd name="T21" fmla="*/ 3 h 78"/>
                <a:gd name="T22" fmla="*/ 25 w 71"/>
                <a:gd name="T23" fmla="*/ 3 h 78"/>
                <a:gd name="T24" fmla="*/ 17 w 71"/>
                <a:gd name="T25" fmla="*/ 0 h 78"/>
                <a:gd name="T26" fmla="*/ 17 w 71"/>
                <a:gd name="T27" fmla="*/ 42 h 78"/>
                <a:gd name="T28" fmla="*/ 14 w 71"/>
                <a:gd name="T29" fmla="*/ 60 h 78"/>
                <a:gd name="T30" fmla="*/ 0 w 71"/>
                <a:gd name="T31" fmla="*/ 71 h 78"/>
                <a:gd name="T32" fmla="*/ 10 w 71"/>
                <a:gd name="T33" fmla="*/ 74 h 78"/>
                <a:gd name="T34" fmla="*/ 21 w 71"/>
                <a:gd name="T35" fmla="*/ 67 h 78"/>
                <a:gd name="T36" fmla="*/ 25 w 71"/>
                <a:gd name="T37" fmla="*/ 60 h 78"/>
                <a:gd name="T38" fmla="*/ 25 w 71"/>
                <a:gd name="T39" fmla="*/ 25 h 78"/>
                <a:gd name="T40" fmla="*/ 28 w 71"/>
                <a:gd name="T41" fmla="*/ 46 h 78"/>
                <a:gd name="T42" fmla="*/ 35 w 71"/>
                <a:gd name="T43" fmla="*/ 46 h 78"/>
                <a:gd name="T44" fmla="*/ 39 w 71"/>
                <a:gd name="T45" fmla="*/ 46 h 78"/>
                <a:gd name="T46" fmla="*/ 49 w 71"/>
                <a:gd name="T47" fmla="*/ 71 h 78"/>
                <a:gd name="T48" fmla="*/ 49 w 71"/>
                <a:gd name="T49" fmla="*/ 25 h 78"/>
                <a:gd name="T50" fmla="*/ 53 w 71"/>
                <a:gd name="T51" fmla="*/ 46 h 78"/>
                <a:gd name="T52" fmla="*/ 60 w 71"/>
                <a:gd name="T53" fmla="*/ 78 h 78"/>
                <a:gd name="T54" fmla="*/ 71 w 71"/>
                <a:gd name="T55" fmla="*/ 7 h 78"/>
                <a:gd name="T56" fmla="*/ 71 w 71"/>
                <a:gd name="T57" fmla="*/ 3 h 78"/>
                <a:gd name="T58" fmla="*/ 71 w 71"/>
                <a:gd name="T59" fmla="*/ 0 h 78"/>
                <a:gd name="T60" fmla="*/ 71 w 71"/>
                <a:gd name="T61" fmla="*/ 0 h 78"/>
                <a:gd name="T62" fmla="*/ 60 w 71"/>
                <a:gd name="T63" fmla="*/ 0 h 78"/>
                <a:gd name="T64" fmla="*/ 60 w 71"/>
                <a:gd name="T65" fmla="*/ 39 h 78"/>
                <a:gd name="T66" fmla="*/ 57 w 71"/>
                <a:gd name="T67" fmla="*/ 21 h 78"/>
                <a:gd name="T68" fmla="*/ 14 w 71"/>
                <a:gd name="T69" fmla="*/ 35 h 78"/>
                <a:gd name="T70" fmla="*/ 14 w 71"/>
                <a:gd name="T71" fmla="*/ 21 h 78"/>
                <a:gd name="T72" fmla="*/ 7 w 71"/>
                <a:gd name="T73" fmla="*/ 21 h 78"/>
                <a:gd name="T74" fmla="*/ 7 w 71"/>
                <a:gd name="T75" fmla="*/ 25 h 78"/>
                <a:gd name="T76" fmla="*/ 0 w 71"/>
                <a:gd name="T77" fmla="*/ 46 h 78"/>
                <a:gd name="T78" fmla="*/ 10 w 71"/>
                <a:gd name="T79" fmla="*/ 46 h 78"/>
                <a:gd name="T80" fmla="*/ 14 w 71"/>
                <a:gd name="T81" fmla="*/ 35 h 78"/>
                <a:gd name="T82" fmla="*/ 14 w 71"/>
                <a:gd name="T83" fmla="*/ 35 h 78"/>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71"/>
                <a:gd name="T127" fmla="*/ 0 h 78"/>
                <a:gd name="T128" fmla="*/ 71 w 71"/>
                <a:gd name="T129" fmla="*/ 78 h 78"/>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71" h="78">
                  <a:moveTo>
                    <a:pt x="57" y="21"/>
                  </a:moveTo>
                  <a:lnTo>
                    <a:pt x="57" y="21"/>
                  </a:lnTo>
                  <a:lnTo>
                    <a:pt x="49" y="21"/>
                  </a:lnTo>
                  <a:lnTo>
                    <a:pt x="49" y="10"/>
                  </a:lnTo>
                  <a:lnTo>
                    <a:pt x="49" y="7"/>
                  </a:lnTo>
                  <a:lnTo>
                    <a:pt x="46" y="3"/>
                  </a:lnTo>
                  <a:lnTo>
                    <a:pt x="39" y="3"/>
                  </a:lnTo>
                  <a:lnTo>
                    <a:pt x="39" y="39"/>
                  </a:lnTo>
                  <a:lnTo>
                    <a:pt x="35" y="21"/>
                  </a:lnTo>
                  <a:lnTo>
                    <a:pt x="25" y="21"/>
                  </a:lnTo>
                  <a:lnTo>
                    <a:pt x="25" y="7"/>
                  </a:lnTo>
                  <a:lnTo>
                    <a:pt x="28" y="3"/>
                  </a:lnTo>
                  <a:lnTo>
                    <a:pt x="25" y="3"/>
                  </a:lnTo>
                  <a:lnTo>
                    <a:pt x="17" y="0"/>
                  </a:lnTo>
                  <a:lnTo>
                    <a:pt x="17" y="42"/>
                  </a:lnTo>
                  <a:lnTo>
                    <a:pt x="14" y="53"/>
                  </a:lnTo>
                  <a:lnTo>
                    <a:pt x="14" y="60"/>
                  </a:lnTo>
                  <a:lnTo>
                    <a:pt x="0" y="71"/>
                  </a:lnTo>
                  <a:lnTo>
                    <a:pt x="10" y="74"/>
                  </a:lnTo>
                  <a:lnTo>
                    <a:pt x="21" y="67"/>
                  </a:lnTo>
                  <a:lnTo>
                    <a:pt x="25" y="60"/>
                  </a:lnTo>
                  <a:lnTo>
                    <a:pt x="25" y="42"/>
                  </a:lnTo>
                  <a:lnTo>
                    <a:pt x="25" y="25"/>
                  </a:lnTo>
                  <a:lnTo>
                    <a:pt x="28" y="46"/>
                  </a:lnTo>
                  <a:lnTo>
                    <a:pt x="35" y="46"/>
                  </a:lnTo>
                  <a:lnTo>
                    <a:pt x="39" y="46"/>
                  </a:lnTo>
                  <a:lnTo>
                    <a:pt x="39" y="71"/>
                  </a:lnTo>
                  <a:lnTo>
                    <a:pt x="49" y="71"/>
                  </a:lnTo>
                  <a:lnTo>
                    <a:pt x="49" y="25"/>
                  </a:lnTo>
                  <a:lnTo>
                    <a:pt x="53" y="46"/>
                  </a:lnTo>
                  <a:lnTo>
                    <a:pt x="60" y="46"/>
                  </a:lnTo>
                  <a:lnTo>
                    <a:pt x="60" y="78"/>
                  </a:lnTo>
                  <a:lnTo>
                    <a:pt x="71" y="78"/>
                  </a:lnTo>
                  <a:lnTo>
                    <a:pt x="71" y="7"/>
                  </a:lnTo>
                  <a:lnTo>
                    <a:pt x="71" y="3"/>
                  </a:lnTo>
                  <a:lnTo>
                    <a:pt x="71" y="0"/>
                  </a:lnTo>
                  <a:lnTo>
                    <a:pt x="60" y="0"/>
                  </a:lnTo>
                  <a:lnTo>
                    <a:pt x="60" y="39"/>
                  </a:lnTo>
                  <a:lnTo>
                    <a:pt x="57" y="21"/>
                  </a:lnTo>
                  <a:close/>
                  <a:moveTo>
                    <a:pt x="14" y="35"/>
                  </a:moveTo>
                  <a:lnTo>
                    <a:pt x="14" y="35"/>
                  </a:lnTo>
                  <a:lnTo>
                    <a:pt x="14" y="21"/>
                  </a:lnTo>
                  <a:lnTo>
                    <a:pt x="7" y="21"/>
                  </a:lnTo>
                  <a:lnTo>
                    <a:pt x="7" y="25"/>
                  </a:lnTo>
                  <a:lnTo>
                    <a:pt x="0" y="46"/>
                  </a:lnTo>
                  <a:lnTo>
                    <a:pt x="10" y="46"/>
                  </a:lnTo>
                  <a:lnTo>
                    <a:pt x="14"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6" name="Freeform 142"/>
            <p:cNvSpPr>
              <a:spLocks noEditPoints="1"/>
            </p:cNvSpPr>
            <p:nvPr/>
          </p:nvSpPr>
          <p:spPr bwMode="auto">
            <a:xfrm>
              <a:off x="3633" y="1486"/>
              <a:ext cx="74" cy="79"/>
            </a:xfrm>
            <a:custGeom>
              <a:avLst/>
              <a:gdLst>
                <a:gd name="T0" fmla="*/ 28 w 74"/>
                <a:gd name="T1" fmla="*/ 22 h 79"/>
                <a:gd name="T2" fmla="*/ 7 w 74"/>
                <a:gd name="T3" fmla="*/ 75 h 79"/>
                <a:gd name="T4" fmla="*/ 14 w 74"/>
                <a:gd name="T5" fmla="*/ 33 h 79"/>
                <a:gd name="T6" fmla="*/ 21 w 74"/>
                <a:gd name="T7" fmla="*/ 36 h 79"/>
                <a:gd name="T8" fmla="*/ 25 w 74"/>
                <a:gd name="T9" fmla="*/ 43 h 79"/>
                <a:gd name="T10" fmla="*/ 17 w 74"/>
                <a:gd name="T11" fmla="*/ 50 h 79"/>
                <a:gd name="T12" fmla="*/ 32 w 74"/>
                <a:gd name="T13" fmla="*/ 54 h 79"/>
                <a:gd name="T14" fmla="*/ 17 w 74"/>
                <a:gd name="T15" fmla="*/ 61 h 79"/>
                <a:gd name="T16" fmla="*/ 32 w 74"/>
                <a:gd name="T17" fmla="*/ 72 h 79"/>
                <a:gd name="T18" fmla="*/ 42 w 74"/>
                <a:gd name="T19" fmla="*/ 61 h 79"/>
                <a:gd name="T20" fmla="*/ 53 w 74"/>
                <a:gd name="T21" fmla="*/ 54 h 79"/>
                <a:gd name="T22" fmla="*/ 42 w 74"/>
                <a:gd name="T23" fmla="*/ 50 h 79"/>
                <a:gd name="T24" fmla="*/ 53 w 74"/>
                <a:gd name="T25" fmla="*/ 43 h 79"/>
                <a:gd name="T26" fmla="*/ 46 w 74"/>
                <a:gd name="T27" fmla="*/ 43 h 79"/>
                <a:gd name="T28" fmla="*/ 50 w 74"/>
                <a:gd name="T29" fmla="*/ 36 h 79"/>
                <a:gd name="T30" fmla="*/ 53 w 74"/>
                <a:gd name="T31" fmla="*/ 36 h 79"/>
                <a:gd name="T32" fmla="*/ 57 w 74"/>
                <a:gd name="T33" fmla="*/ 33 h 79"/>
                <a:gd name="T34" fmla="*/ 57 w 74"/>
                <a:gd name="T35" fmla="*/ 61 h 79"/>
                <a:gd name="T36" fmla="*/ 53 w 74"/>
                <a:gd name="T37" fmla="*/ 68 h 79"/>
                <a:gd name="T38" fmla="*/ 50 w 74"/>
                <a:gd name="T39" fmla="*/ 68 h 79"/>
                <a:gd name="T40" fmla="*/ 53 w 74"/>
                <a:gd name="T41" fmla="*/ 79 h 79"/>
                <a:gd name="T42" fmla="*/ 64 w 74"/>
                <a:gd name="T43" fmla="*/ 75 h 79"/>
                <a:gd name="T44" fmla="*/ 67 w 74"/>
                <a:gd name="T45" fmla="*/ 68 h 79"/>
                <a:gd name="T46" fmla="*/ 39 w 74"/>
                <a:gd name="T47" fmla="*/ 22 h 79"/>
                <a:gd name="T48" fmla="*/ 74 w 74"/>
                <a:gd name="T49" fmla="*/ 18 h 79"/>
                <a:gd name="T50" fmla="*/ 42 w 74"/>
                <a:gd name="T51" fmla="*/ 8 h 79"/>
                <a:gd name="T52" fmla="*/ 42 w 74"/>
                <a:gd name="T53" fmla="*/ 4 h 79"/>
                <a:gd name="T54" fmla="*/ 42 w 74"/>
                <a:gd name="T55" fmla="*/ 0 h 79"/>
                <a:gd name="T56" fmla="*/ 32 w 74"/>
                <a:gd name="T57" fmla="*/ 8 h 79"/>
                <a:gd name="T58" fmla="*/ 0 w 74"/>
                <a:gd name="T59" fmla="*/ 18 h 79"/>
                <a:gd name="T60" fmla="*/ 32 w 74"/>
                <a:gd name="T61" fmla="*/ 18 h 79"/>
                <a:gd name="T62" fmla="*/ 35 w 74"/>
                <a:gd name="T63" fmla="*/ 40 h 79"/>
                <a:gd name="T64" fmla="*/ 32 w 74"/>
                <a:gd name="T65" fmla="*/ 33 h 79"/>
                <a:gd name="T66" fmla="*/ 32 w 74"/>
                <a:gd name="T67" fmla="*/ 33 h 79"/>
                <a:gd name="T68" fmla="*/ 42 w 74"/>
                <a:gd name="T69" fmla="*/ 33 h 79"/>
                <a:gd name="T70" fmla="*/ 28 w 74"/>
                <a:gd name="T71" fmla="*/ 43 h 79"/>
                <a:gd name="T72" fmla="*/ 35 w 74"/>
                <a:gd name="T73" fmla="*/ 40 h 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4"/>
                <a:gd name="T112" fmla="*/ 0 h 79"/>
                <a:gd name="T113" fmla="*/ 74 w 74"/>
                <a:gd name="T114" fmla="*/ 79 h 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4" h="79">
                  <a:moveTo>
                    <a:pt x="32" y="18"/>
                  </a:moveTo>
                  <a:lnTo>
                    <a:pt x="28" y="22"/>
                  </a:lnTo>
                  <a:lnTo>
                    <a:pt x="7" y="22"/>
                  </a:lnTo>
                  <a:lnTo>
                    <a:pt x="7" y="75"/>
                  </a:lnTo>
                  <a:lnTo>
                    <a:pt x="14" y="75"/>
                  </a:lnTo>
                  <a:lnTo>
                    <a:pt x="14" y="33"/>
                  </a:lnTo>
                  <a:lnTo>
                    <a:pt x="28" y="33"/>
                  </a:lnTo>
                  <a:lnTo>
                    <a:pt x="21" y="36"/>
                  </a:lnTo>
                  <a:lnTo>
                    <a:pt x="25" y="43"/>
                  </a:lnTo>
                  <a:lnTo>
                    <a:pt x="17" y="43"/>
                  </a:lnTo>
                  <a:lnTo>
                    <a:pt x="17" y="50"/>
                  </a:lnTo>
                  <a:lnTo>
                    <a:pt x="32" y="50"/>
                  </a:lnTo>
                  <a:lnTo>
                    <a:pt x="32" y="54"/>
                  </a:lnTo>
                  <a:lnTo>
                    <a:pt x="17" y="54"/>
                  </a:lnTo>
                  <a:lnTo>
                    <a:pt x="17" y="61"/>
                  </a:lnTo>
                  <a:lnTo>
                    <a:pt x="32" y="61"/>
                  </a:lnTo>
                  <a:lnTo>
                    <a:pt x="32" y="72"/>
                  </a:lnTo>
                  <a:lnTo>
                    <a:pt x="42" y="72"/>
                  </a:lnTo>
                  <a:lnTo>
                    <a:pt x="42" y="61"/>
                  </a:lnTo>
                  <a:lnTo>
                    <a:pt x="53" y="61"/>
                  </a:lnTo>
                  <a:lnTo>
                    <a:pt x="53" y="54"/>
                  </a:lnTo>
                  <a:lnTo>
                    <a:pt x="42" y="54"/>
                  </a:lnTo>
                  <a:lnTo>
                    <a:pt x="42" y="50"/>
                  </a:lnTo>
                  <a:lnTo>
                    <a:pt x="53" y="50"/>
                  </a:lnTo>
                  <a:lnTo>
                    <a:pt x="53" y="43"/>
                  </a:lnTo>
                  <a:lnTo>
                    <a:pt x="46" y="43"/>
                  </a:lnTo>
                  <a:lnTo>
                    <a:pt x="50" y="36"/>
                  </a:lnTo>
                  <a:lnTo>
                    <a:pt x="53" y="36"/>
                  </a:lnTo>
                  <a:lnTo>
                    <a:pt x="46" y="33"/>
                  </a:lnTo>
                  <a:lnTo>
                    <a:pt x="57" y="33"/>
                  </a:lnTo>
                  <a:lnTo>
                    <a:pt x="57" y="61"/>
                  </a:lnTo>
                  <a:lnTo>
                    <a:pt x="57" y="65"/>
                  </a:lnTo>
                  <a:lnTo>
                    <a:pt x="53" y="68"/>
                  </a:lnTo>
                  <a:lnTo>
                    <a:pt x="50" y="68"/>
                  </a:lnTo>
                  <a:lnTo>
                    <a:pt x="53" y="79"/>
                  </a:lnTo>
                  <a:lnTo>
                    <a:pt x="64" y="75"/>
                  </a:lnTo>
                  <a:lnTo>
                    <a:pt x="67" y="72"/>
                  </a:lnTo>
                  <a:lnTo>
                    <a:pt x="67" y="68"/>
                  </a:lnTo>
                  <a:lnTo>
                    <a:pt x="67" y="25"/>
                  </a:lnTo>
                  <a:lnTo>
                    <a:pt x="39" y="22"/>
                  </a:lnTo>
                  <a:lnTo>
                    <a:pt x="42" y="18"/>
                  </a:lnTo>
                  <a:lnTo>
                    <a:pt x="74" y="18"/>
                  </a:lnTo>
                  <a:lnTo>
                    <a:pt x="74" y="8"/>
                  </a:lnTo>
                  <a:lnTo>
                    <a:pt x="42" y="8"/>
                  </a:lnTo>
                  <a:lnTo>
                    <a:pt x="42" y="4"/>
                  </a:lnTo>
                  <a:lnTo>
                    <a:pt x="42" y="0"/>
                  </a:lnTo>
                  <a:lnTo>
                    <a:pt x="32" y="0"/>
                  </a:lnTo>
                  <a:lnTo>
                    <a:pt x="32" y="8"/>
                  </a:lnTo>
                  <a:lnTo>
                    <a:pt x="0" y="8"/>
                  </a:lnTo>
                  <a:lnTo>
                    <a:pt x="0" y="18"/>
                  </a:lnTo>
                  <a:lnTo>
                    <a:pt x="32" y="18"/>
                  </a:lnTo>
                  <a:close/>
                  <a:moveTo>
                    <a:pt x="35" y="40"/>
                  </a:moveTo>
                  <a:lnTo>
                    <a:pt x="35" y="40"/>
                  </a:lnTo>
                  <a:lnTo>
                    <a:pt x="32" y="33"/>
                  </a:lnTo>
                  <a:lnTo>
                    <a:pt x="42" y="33"/>
                  </a:lnTo>
                  <a:lnTo>
                    <a:pt x="35" y="43"/>
                  </a:lnTo>
                  <a:lnTo>
                    <a:pt x="28" y="43"/>
                  </a:lnTo>
                  <a:lnTo>
                    <a:pt x="35" y="4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7" name="Freeform 143"/>
            <p:cNvSpPr>
              <a:spLocks/>
            </p:cNvSpPr>
            <p:nvPr/>
          </p:nvSpPr>
          <p:spPr bwMode="auto">
            <a:xfrm>
              <a:off x="3718" y="1486"/>
              <a:ext cx="75" cy="79"/>
            </a:xfrm>
            <a:custGeom>
              <a:avLst/>
              <a:gdLst>
                <a:gd name="T0" fmla="*/ 43 w 75"/>
                <a:gd name="T1" fmla="*/ 0 h 79"/>
                <a:gd name="T2" fmla="*/ 29 w 75"/>
                <a:gd name="T3" fmla="*/ 0 h 79"/>
                <a:gd name="T4" fmla="*/ 29 w 75"/>
                <a:gd name="T5" fmla="*/ 4 h 79"/>
                <a:gd name="T6" fmla="*/ 0 w 75"/>
                <a:gd name="T7" fmla="*/ 11 h 79"/>
                <a:gd name="T8" fmla="*/ 22 w 75"/>
                <a:gd name="T9" fmla="*/ 18 h 79"/>
                <a:gd name="T10" fmla="*/ 22 w 75"/>
                <a:gd name="T11" fmla="*/ 22 h 79"/>
                <a:gd name="T12" fmla="*/ 14 w 75"/>
                <a:gd name="T13" fmla="*/ 29 h 79"/>
                <a:gd name="T14" fmla="*/ 11 w 75"/>
                <a:gd name="T15" fmla="*/ 33 h 79"/>
                <a:gd name="T16" fmla="*/ 14 w 75"/>
                <a:gd name="T17" fmla="*/ 43 h 79"/>
                <a:gd name="T18" fmla="*/ 18 w 75"/>
                <a:gd name="T19" fmla="*/ 43 h 79"/>
                <a:gd name="T20" fmla="*/ 22 w 75"/>
                <a:gd name="T21" fmla="*/ 43 h 79"/>
                <a:gd name="T22" fmla="*/ 18 w 75"/>
                <a:gd name="T23" fmla="*/ 58 h 79"/>
                <a:gd name="T24" fmla="*/ 0 w 75"/>
                <a:gd name="T25" fmla="*/ 68 h 79"/>
                <a:gd name="T26" fmla="*/ 7 w 75"/>
                <a:gd name="T27" fmla="*/ 79 h 79"/>
                <a:gd name="T28" fmla="*/ 18 w 75"/>
                <a:gd name="T29" fmla="*/ 72 h 79"/>
                <a:gd name="T30" fmla="*/ 32 w 75"/>
                <a:gd name="T31" fmla="*/ 54 h 79"/>
                <a:gd name="T32" fmla="*/ 39 w 75"/>
                <a:gd name="T33" fmla="*/ 40 h 79"/>
                <a:gd name="T34" fmla="*/ 39 w 75"/>
                <a:gd name="T35" fmla="*/ 68 h 79"/>
                <a:gd name="T36" fmla="*/ 47 w 75"/>
                <a:gd name="T37" fmla="*/ 75 h 79"/>
                <a:gd name="T38" fmla="*/ 64 w 75"/>
                <a:gd name="T39" fmla="*/ 75 h 79"/>
                <a:gd name="T40" fmla="*/ 71 w 75"/>
                <a:gd name="T41" fmla="*/ 72 h 79"/>
                <a:gd name="T42" fmla="*/ 75 w 75"/>
                <a:gd name="T43" fmla="*/ 61 h 79"/>
                <a:gd name="T44" fmla="*/ 64 w 75"/>
                <a:gd name="T45" fmla="*/ 54 h 79"/>
                <a:gd name="T46" fmla="*/ 61 w 75"/>
                <a:gd name="T47" fmla="*/ 65 h 79"/>
                <a:gd name="T48" fmla="*/ 54 w 75"/>
                <a:gd name="T49" fmla="*/ 65 h 79"/>
                <a:gd name="T50" fmla="*/ 50 w 75"/>
                <a:gd name="T51" fmla="*/ 61 h 79"/>
                <a:gd name="T52" fmla="*/ 54 w 75"/>
                <a:gd name="T53" fmla="*/ 40 h 79"/>
                <a:gd name="T54" fmla="*/ 68 w 75"/>
                <a:gd name="T55" fmla="*/ 36 h 79"/>
                <a:gd name="T56" fmla="*/ 54 w 75"/>
                <a:gd name="T57" fmla="*/ 22 h 79"/>
                <a:gd name="T58" fmla="*/ 43 w 75"/>
                <a:gd name="T59" fmla="*/ 25 h 79"/>
                <a:gd name="T60" fmla="*/ 50 w 75"/>
                <a:gd name="T61" fmla="*/ 33 h 79"/>
                <a:gd name="T62" fmla="*/ 39 w 75"/>
                <a:gd name="T63" fmla="*/ 33 h 79"/>
                <a:gd name="T64" fmla="*/ 25 w 75"/>
                <a:gd name="T65" fmla="*/ 33 h 79"/>
                <a:gd name="T66" fmla="*/ 71 w 75"/>
                <a:gd name="T67" fmla="*/ 18 h 79"/>
                <a:gd name="T68" fmla="*/ 43 w 75"/>
                <a:gd name="T69" fmla="*/ 11 h 79"/>
                <a:gd name="T70" fmla="*/ 43 w 75"/>
                <a:gd name="T71" fmla="*/ 0 h 79"/>
                <a:gd name="T72" fmla="*/ 43 w 75"/>
                <a:gd name="T73" fmla="*/ 0 h 7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75"/>
                <a:gd name="T112" fmla="*/ 0 h 79"/>
                <a:gd name="T113" fmla="*/ 75 w 75"/>
                <a:gd name="T114" fmla="*/ 79 h 7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75" h="79">
                  <a:moveTo>
                    <a:pt x="43" y="0"/>
                  </a:moveTo>
                  <a:lnTo>
                    <a:pt x="43" y="0"/>
                  </a:lnTo>
                  <a:lnTo>
                    <a:pt x="29" y="0"/>
                  </a:lnTo>
                  <a:lnTo>
                    <a:pt x="29" y="4"/>
                  </a:lnTo>
                  <a:lnTo>
                    <a:pt x="32" y="11"/>
                  </a:lnTo>
                  <a:lnTo>
                    <a:pt x="0" y="11"/>
                  </a:lnTo>
                  <a:lnTo>
                    <a:pt x="0" y="18"/>
                  </a:lnTo>
                  <a:lnTo>
                    <a:pt x="22" y="18"/>
                  </a:lnTo>
                  <a:lnTo>
                    <a:pt x="22" y="22"/>
                  </a:lnTo>
                  <a:lnTo>
                    <a:pt x="14" y="29"/>
                  </a:lnTo>
                  <a:lnTo>
                    <a:pt x="11" y="33"/>
                  </a:lnTo>
                  <a:lnTo>
                    <a:pt x="14" y="43"/>
                  </a:lnTo>
                  <a:lnTo>
                    <a:pt x="18" y="43"/>
                  </a:lnTo>
                  <a:lnTo>
                    <a:pt x="22" y="43"/>
                  </a:lnTo>
                  <a:lnTo>
                    <a:pt x="22" y="50"/>
                  </a:lnTo>
                  <a:lnTo>
                    <a:pt x="18" y="58"/>
                  </a:lnTo>
                  <a:lnTo>
                    <a:pt x="11" y="65"/>
                  </a:lnTo>
                  <a:lnTo>
                    <a:pt x="0" y="68"/>
                  </a:lnTo>
                  <a:lnTo>
                    <a:pt x="7" y="79"/>
                  </a:lnTo>
                  <a:lnTo>
                    <a:pt x="18" y="72"/>
                  </a:lnTo>
                  <a:lnTo>
                    <a:pt x="25" y="65"/>
                  </a:lnTo>
                  <a:lnTo>
                    <a:pt x="32" y="54"/>
                  </a:lnTo>
                  <a:lnTo>
                    <a:pt x="32" y="40"/>
                  </a:lnTo>
                  <a:lnTo>
                    <a:pt x="39" y="40"/>
                  </a:lnTo>
                  <a:lnTo>
                    <a:pt x="39" y="68"/>
                  </a:lnTo>
                  <a:lnTo>
                    <a:pt x="39" y="75"/>
                  </a:lnTo>
                  <a:lnTo>
                    <a:pt x="47" y="75"/>
                  </a:lnTo>
                  <a:lnTo>
                    <a:pt x="64" y="75"/>
                  </a:lnTo>
                  <a:lnTo>
                    <a:pt x="68" y="75"/>
                  </a:lnTo>
                  <a:lnTo>
                    <a:pt x="71" y="72"/>
                  </a:lnTo>
                  <a:lnTo>
                    <a:pt x="75" y="61"/>
                  </a:lnTo>
                  <a:lnTo>
                    <a:pt x="64" y="54"/>
                  </a:lnTo>
                  <a:lnTo>
                    <a:pt x="61" y="65"/>
                  </a:lnTo>
                  <a:lnTo>
                    <a:pt x="54" y="65"/>
                  </a:lnTo>
                  <a:lnTo>
                    <a:pt x="50" y="65"/>
                  </a:lnTo>
                  <a:lnTo>
                    <a:pt x="50" y="61"/>
                  </a:lnTo>
                  <a:lnTo>
                    <a:pt x="50" y="40"/>
                  </a:lnTo>
                  <a:lnTo>
                    <a:pt x="54" y="40"/>
                  </a:lnTo>
                  <a:lnTo>
                    <a:pt x="57" y="43"/>
                  </a:lnTo>
                  <a:lnTo>
                    <a:pt x="68" y="36"/>
                  </a:lnTo>
                  <a:lnTo>
                    <a:pt x="54" y="22"/>
                  </a:lnTo>
                  <a:lnTo>
                    <a:pt x="43" y="25"/>
                  </a:lnTo>
                  <a:lnTo>
                    <a:pt x="50" y="33"/>
                  </a:lnTo>
                  <a:lnTo>
                    <a:pt x="39" y="33"/>
                  </a:lnTo>
                  <a:lnTo>
                    <a:pt x="25" y="33"/>
                  </a:lnTo>
                  <a:lnTo>
                    <a:pt x="39" y="18"/>
                  </a:lnTo>
                  <a:lnTo>
                    <a:pt x="71" y="18"/>
                  </a:lnTo>
                  <a:lnTo>
                    <a:pt x="71" y="11"/>
                  </a:lnTo>
                  <a:lnTo>
                    <a:pt x="43" y="11"/>
                  </a:lnTo>
                  <a:lnTo>
                    <a:pt x="4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8" name="Freeform 144"/>
            <p:cNvSpPr>
              <a:spLocks/>
            </p:cNvSpPr>
            <p:nvPr/>
          </p:nvSpPr>
          <p:spPr bwMode="auto">
            <a:xfrm>
              <a:off x="3804" y="1486"/>
              <a:ext cx="75" cy="79"/>
            </a:xfrm>
            <a:custGeom>
              <a:avLst/>
              <a:gdLst>
                <a:gd name="T0" fmla="*/ 46 w 75"/>
                <a:gd name="T1" fmla="*/ 11 h 79"/>
                <a:gd name="T2" fmla="*/ 46 w 75"/>
                <a:gd name="T3" fmla="*/ 11 h 79"/>
                <a:gd name="T4" fmla="*/ 43 w 75"/>
                <a:gd name="T5" fmla="*/ 8 h 79"/>
                <a:gd name="T6" fmla="*/ 43 w 75"/>
                <a:gd name="T7" fmla="*/ 8 h 79"/>
                <a:gd name="T8" fmla="*/ 43 w 75"/>
                <a:gd name="T9" fmla="*/ 0 h 79"/>
                <a:gd name="T10" fmla="*/ 43 w 75"/>
                <a:gd name="T11" fmla="*/ 0 h 79"/>
                <a:gd name="T12" fmla="*/ 35 w 75"/>
                <a:gd name="T13" fmla="*/ 0 h 79"/>
                <a:gd name="T14" fmla="*/ 35 w 75"/>
                <a:gd name="T15" fmla="*/ 0 h 79"/>
                <a:gd name="T16" fmla="*/ 28 w 75"/>
                <a:gd name="T17" fmla="*/ 4 h 79"/>
                <a:gd name="T18" fmla="*/ 28 w 75"/>
                <a:gd name="T19" fmla="*/ 4 h 79"/>
                <a:gd name="T20" fmla="*/ 32 w 75"/>
                <a:gd name="T21" fmla="*/ 11 h 79"/>
                <a:gd name="T22" fmla="*/ 0 w 75"/>
                <a:gd name="T23" fmla="*/ 11 h 79"/>
                <a:gd name="T24" fmla="*/ 0 w 75"/>
                <a:gd name="T25" fmla="*/ 22 h 79"/>
                <a:gd name="T26" fmla="*/ 32 w 75"/>
                <a:gd name="T27" fmla="*/ 22 h 79"/>
                <a:gd name="T28" fmla="*/ 32 w 75"/>
                <a:gd name="T29" fmla="*/ 33 h 79"/>
                <a:gd name="T30" fmla="*/ 10 w 75"/>
                <a:gd name="T31" fmla="*/ 33 h 79"/>
                <a:gd name="T32" fmla="*/ 10 w 75"/>
                <a:gd name="T33" fmla="*/ 68 h 79"/>
                <a:gd name="T34" fmla="*/ 21 w 75"/>
                <a:gd name="T35" fmla="*/ 68 h 79"/>
                <a:gd name="T36" fmla="*/ 21 w 75"/>
                <a:gd name="T37" fmla="*/ 40 h 79"/>
                <a:gd name="T38" fmla="*/ 32 w 75"/>
                <a:gd name="T39" fmla="*/ 40 h 79"/>
                <a:gd name="T40" fmla="*/ 32 w 75"/>
                <a:gd name="T41" fmla="*/ 79 h 79"/>
                <a:gd name="T42" fmla="*/ 43 w 75"/>
                <a:gd name="T43" fmla="*/ 79 h 79"/>
                <a:gd name="T44" fmla="*/ 43 w 75"/>
                <a:gd name="T45" fmla="*/ 40 h 79"/>
                <a:gd name="T46" fmla="*/ 53 w 75"/>
                <a:gd name="T47" fmla="*/ 40 h 79"/>
                <a:gd name="T48" fmla="*/ 53 w 75"/>
                <a:gd name="T49" fmla="*/ 58 h 79"/>
                <a:gd name="T50" fmla="*/ 53 w 75"/>
                <a:gd name="T51" fmla="*/ 58 h 79"/>
                <a:gd name="T52" fmla="*/ 53 w 75"/>
                <a:gd name="T53" fmla="*/ 61 h 79"/>
                <a:gd name="T54" fmla="*/ 46 w 75"/>
                <a:gd name="T55" fmla="*/ 61 h 79"/>
                <a:gd name="T56" fmla="*/ 46 w 75"/>
                <a:gd name="T57" fmla="*/ 61 h 79"/>
                <a:gd name="T58" fmla="*/ 50 w 75"/>
                <a:gd name="T59" fmla="*/ 72 h 79"/>
                <a:gd name="T60" fmla="*/ 50 w 75"/>
                <a:gd name="T61" fmla="*/ 72 h 79"/>
                <a:gd name="T62" fmla="*/ 60 w 75"/>
                <a:gd name="T63" fmla="*/ 68 h 79"/>
                <a:gd name="T64" fmla="*/ 64 w 75"/>
                <a:gd name="T65" fmla="*/ 65 h 79"/>
                <a:gd name="T66" fmla="*/ 64 w 75"/>
                <a:gd name="T67" fmla="*/ 65 h 79"/>
                <a:gd name="T68" fmla="*/ 64 w 75"/>
                <a:gd name="T69" fmla="*/ 33 h 79"/>
                <a:gd name="T70" fmla="*/ 43 w 75"/>
                <a:gd name="T71" fmla="*/ 33 h 79"/>
                <a:gd name="T72" fmla="*/ 43 w 75"/>
                <a:gd name="T73" fmla="*/ 22 h 79"/>
                <a:gd name="T74" fmla="*/ 75 w 75"/>
                <a:gd name="T75" fmla="*/ 22 h 79"/>
                <a:gd name="T76" fmla="*/ 75 w 75"/>
                <a:gd name="T77" fmla="*/ 11 h 79"/>
                <a:gd name="T78" fmla="*/ 35 w 75"/>
                <a:gd name="T79" fmla="*/ 11 h 79"/>
                <a:gd name="T80" fmla="*/ 35 w 75"/>
                <a:gd name="T81" fmla="*/ 11 h 79"/>
                <a:gd name="T82" fmla="*/ 46 w 75"/>
                <a:gd name="T83" fmla="*/ 11 h 79"/>
                <a:gd name="T84" fmla="*/ 46 w 75"/>
                <a:gd name="T85" fmla="*/ 11 h 79"/>
                <a:gd name="T86" fmla="*/ 46 w 75"/>
                <a:gd name="T87" fmla="*/ 11 h 7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9"/>
                <a:gd name="T134" fmla="*/ 75 w 75"/>
                <a:gd name="T135" fmla="*/ 79 h 7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9">
                  <a:moveTo>
                    <a:pt x="46" y="11"/>
                  </a:moveTo>
                  <a:lnTo>
                    <a:pt x="46" y="11"/>
                  </a:lnTo>
                  <a:lnTo>
                    <a:pt x="43" y="8"/>
                  </a:lnTo>
                  <a:lnTo>
                    <a:pt x="43" y="0"/>
                  </a:lnTo>
                  <a:lnTo>
                    <a:pt x="35" y="0"/>
                  </a:lnTo>
                  <a:lnTo>
                    <a:pt x="28" y="4"/>
                  </a:lnTo>
                  <a:lnTo>
                    <a:pt x="32" y="11"/>
                  </a:lnTo>
                  <a:lnTo>
                    <a:pt x="0" y="11"/>
                  </a:lnTo>
                  <a:lnTo>
                    <a:pt x="0" y="22"/>
                  </a:lnTo>
                  <a:lnTo>
                    <a:pt x="32" y="22"/>
                  </a:lnTo>
                  <a:lnTo>
                    <a:pt x="32" y="33"/>
                  </a:lnTo>
                  <a:lnTo>
                    <a:pt x="10" y="33"/>
                  </a:lnTo>
                  <a:lnTo>
                    <a:pt x="10" y="68"/>
                  </a:lnTo>
                  <a:lnTo>
                    <a:pt x="21" y="68"/>
                  </a:lnTo>
                  <a:lnTo>
                    <a:pt x="21" y="40"/>
                  </a:lnTo>
                  <a:lnTo>
                    <a:pt x="32" y="40"/>
                  </a:lnTo>
                  <a:lnTo>
                    <a:pt x="32" y="79"/>
                  </a:lnTo>
                  <a:lnTo>
                    <a:pt x="43" y="79"/>
                  </a:lnTo>
                  <a:lnTo>
                    <a:pt x="43" y="40"/>
                  </a:lnTo>
                  <a:lnTo>
                    <a:pt x="53" y="40"/>
                  </a:lnTo>
                  <a:lnTo>
                    <a:pt x="53" y="58"/>
                  </a:lnTo>
                  <a:lnTo>
                    <a:pt x="53" y="61"/>
                  </a:lnTo>
                  <a:lnTo>
                    <a:pt x="46" y="61"/>
                  </a:lnTo>
                  <a:lnTo>
                    <a:pt x="50" y="72"/>
                  </a:lnTo>
                  <a:lnTo>
                    <a:pt x="60" y="68"/>
                  </a:lnTo>
                  <a:lnTo>
                    <a:pt x="64" y="65"/>
                  </a:lnTo>
                  <a:lnTo>
                    <a:pt x="64" y="33"/>
                  </a:lnTo>
                  <a:lnTo>
                    <a:pt x="43" y="33"/>
                  </a:lnTo>
                  <a:lnTo>
                    <a:pt x="43" y="22"/>
                  </a:lnTo>
                  <a:lnTo>
                    <a:pt x="75" y="22"/>
                  </a:lnTo>
                  <a:lnTo>
                    <a:pt x="75" y="11"/>
                  </a:lnTo>
                  <a:lnTo>
                    <a:pt x="35" y="11"/>
                  </a:lnTo>
                  <a:lnTo>
                    <a:pt x="46"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49" name="Freeform 145"/>
            <p:cNvSpPr>
              <a:spLocks noEditPoints="1"/>
            </p:cNvSpPr>
            <p:nvPr/>
          </p:nvSpPr>
          <p:spPr bwMode="auto">
            <a:xfrm>
              <a:off x="3176" y="1351"/>
              <a:ext cx="75" cy="75"/>
            </a:xfrm>
            <a:custGeom>
              <a:avLst/>
              <a:gdLst>
                <a:gd name="T0" fmla="*/ 25 w 75"/>
                <a:gd name="T1" fmla="*/ 7 h 75"/>
                <a:gd name="T2" fmla="*/ 29 w 75"/>
                <a:gd name="T3" fmla="*/ 4 h 75"/>
                <a:gd name="T4" fmla="*/ 29 w 75"/>
                <a:gd name="T5" fmla="*/ 4 h 75"/>
                <a:gd name="T6" fmla="*/ 15 w 75"/>
                <a:gd name="T7" fmla="*/ 0 h 75"/>
                <a:gd name="T8" fmla="*/ 15 w 75"/>
                <a:gd name="T9" fmla="*/ 4 h 75"/>
                <a:gd name="T10" fmla="*/ 7 w 75"/>
                <a:gd name="T11" fmla="*/ 21 h 75"/>
                <a:gd name="T12" fmla="*/ 4 w 75"/>
                <a:gd name="T13" fmla="*/ 21 h 75"/>
                <a:gd name="T14" fmla="*/ 7 w 75"/>
                <a:gd name="T15" fmla="*/ 32 h 75"/>
                <a:gd name="T16" fmla="*/ 11 w 75"/>
                <a:gd name="T17" fmla="*/ 32 h 75"/>
                <a:gd name="T18" fmla="*/ 18 w 75"/>
                <a:gd name="T19" fmla="*/ 32 h 75"/>
                <a:gd name="T20" fmla="*/ 11 w 75"/>
                <a:gd name="T21" fmla="*/ 39 h 75"/>
                <a:gd name="T22" fmla="*/ 4 w 75"/>
                <a:gd name="T23" fmla="*/ 43 h 75"/>
                <a:gd name="T24" fmla="*/ 4 w 75"/>
                <a:gd name="T25" fmla="*/ 46 h 75"/>
                <a:gd name="T26" fmla="*/ 7 w 75"/>
                <a:gd name="T27" fmla="*/ 54 h 75"/>
                <a:gd name="T28" fmla="*/ 29 w 75"/>
                <a:gd name="T29" fmla="*/ 50 h 75"/>
                <a:gd name="T30" fmla="*/ 32 w 75"/>
                <a:gd name="T31" fmla="*/ 39 h 75"/>
                <a:gd name="T32" fmla="*/ 22 w 75"/>
                <a:gd name="T33" fmla="*/ 39 h 75"/>
                <a:gd name="T34" fmla="*/ 36 w 75"/>
                <a:gd name="T35" fmla="*/ 36 h 75"/>
                <a:gd name="T36" fmla="*/ 50 w 75"/>
                <a:gd name="T37" fmla="*/ 43 h 75"/>
                <a:gd name="T38" fmla="*/ 32 w 75"/>
                <a:gd name="T39" fmla="*/ 71 h 75"/>
                <a:gd name="T40" fmla="*/ 43 w 75"/>
                <a:gd name="T41" fmla="*/ 50 h 75"/>
                <a:gd name="T42" fmla="*/ 50 w 75"/>
                <a:gd name="T43" fmla="*/ 75 h 75"/>
                <a:gd name="T44" fmla="*/ 61 w 75"/>
                <a:gd name="T45" fmla="*/ 50 h 75"/>
                <a:gd name="T46" fmla="*/ 68 w 75"/>
                <a:gd name="T47" fmla="*/ 61 h 75"/>
                <a:gd name="T48" fmla="*/ 64 w 75"/>
                <a:gd name="T49" fmla="*/ 61 h 75"/>
                <a:gd name="T50" fmla="*/ 61 w 75"/>
                <a:gd name="T51" fmla="*/ 61 h 75"/>
                <a:gd name="T52" fmla="*/ 64 w 75"/>
                <a:gd name="T53" fmla="*/ 71 h 75"/>
                <a:gd name="T54" fmla="*/ 64 w 75"/>
                <a:gd name="T55" fmla="*/ 71 h 75"/>
                <a:gd name="T56" fmla="*/ 75 w 75"/>
                <a:gd name="T57" fmla="*/ 64 h 75"/>
                <a:gd name="T58" fmla="*/ 61 w 75"/>
                <a:gd name="T59" fmla="*/ 43 h 75"/>
                <a:gd name="T60" fmla="*/ 75 w 75"/>
                <a:gd name="T61" fmla="*/ 36 h 75"/>
                <a:gd name="T62" fmla="*/ 57 w 75"/>
                <a:gd name="T63" fmla="*/ 7 h 75"/>
                <a:gd name="T64" fmla="*/ 57 w 75"/>
                <a:gd name="T65" fmla="*/ 7 h 75"/>
                <a:gd name="T66" fmla="*/ 61 w 75"/>
                <a:gd name="T67" fmla="*/ 0 h 75"/>
                <a:gd name="T68" fmla="*/ 54 w 75"/>
                <a:gd name="T69" fmla="*/ 0 h 75"/>
                <a:gd name="T70" fmla="*/ 50 w 75"/>
                <a:gd name="T71" fmla="*/ 0 h 75"/>
                <a:gd name="T72" fmla="*/ 47 w 75"/>
                <a:gd name="T73" fmla="*/ 0 h 75"/>
                <a:gd name="T74" fmla="*/ 36 w 75"/>
                <a:gd name="T75" fmla="*/ 7 h 75"/>
                <a:gd name="T76" fmla="*/ 29 w 75"/>
                <a:gd name="T77" fmla="*/ 14 h 75"/>
                <a:gd name="T78" fmla="*/ 25 w 75"/>
                <a:gd name="T79" fmla="*/ 21 h 75"/>
                <a:gd name="T80" fmla="*/ 18 w 75"/>
                <a:gd name="T81" fmla="*/ 21 h 75"/>
                <a:gd name="T82" fmla="*/ 18 w 75"/>
                <a:gd name="T83" fmla="*/ 21 h 75"/>
                <a:gd name="T84" fmla="*/ 18 w 75"/>
                <a:gd name="T85" fmla="*/ 21 h 75"/>
                <a:gd name="T86" fmla="*/ 25 w 75"/>
                <a:gd name="T87" fmla="*/ 7 h 75"/>
                <a:gd name="T88" fmla="*/ 25 w 75"/>
                <a:gd name="T89" fmla="*/ 7 h 75"/>
                <a:gd name="T90" fmla="*/ 64 w 75"/>
                <a:gd name="T91" fmla="*/ 18 h 75"/>
                <a:gd name="T92" fmla="*/ 47 w 75"/>
                <a:gd name="T93" fmla="*/ 14 h 75"/>
                <a:gd name="T94" fmla="*/ 64 w 75"/>
                <a:gd name="T95" fmla="*/ 14 h 75"/>
                <a:gd name="T96" fmla="*/ 64 w 75"/>
                <a:gd name="T97" fmla="*/ 29 h 75"/>
                <a:gd name="T98" fmla="*/ 47 w 75"/>
                <a:gd name="T99" fmla="*/ 25 h 75"/>
                <a:gd name="T100" fmla="*/ 64 w 75"/>
                <a:gd name="T101" fmla="*/ 25 h 75"/>
                <a:gd name="T102" fmla="*/ 4 w 75"/>
                <a:gd name="T103" fmla="*/ 68 h 75"/>
                <a:gd name="T104" fmla="*/ 11 w 75"/>
                <a:gd name="T105" fmla="*/ 68 h 75"/>
                <a:gd name="T106" fmla="*/ 29 w 75"/>
                <a:gd name="T107" fmla="*/ 61 h 75"/>
                <a:gd name="T108" fmla="*/ 29 w 75"/>
                <a:gd name="T109" fmla="*/ 54 h 75"/>
                <a:gd name="T110" fmla="*/ 0 w 75"/>
                <a:gd name="T111" fmla="*/ 57 h 75"/>
                <a:gd name="T112" fmla="*/ 0 w 75"/>
                <a:gd name="T113" fmla="*/ 57 h 75"/>
                <a:gd name="T114" fmla="*/ 4 w 75"/>
                <a:gd name="T115" fmla="*/ 68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5"/>
                <a:gd name="T175" fmla="*/ 0 h 75"/>
                <a:gd name="T176" fmla="*/ 75 w 75"/>
                <a:gd name="T177" fmla="*/ 75 h 7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5" h="75">
                  <a:moveTo>
                    <a:pt x="25" y="7"/>
                  </a:moveTo>
                  <a:lnTo>
                    <a:pt x="25" y="7"/>
                  </a:lnTo>
                  <a:lnTo>
                    <a:pt x="29" y="4"/>
                  </a:lnTo>
                  <a:lnTo>
                    <a:pt x="15" y="0"/>
                  </a:lnTo>
                  <a:lnTo>
                    <a:pt x="15" y="4"/>
                  </a:lnTo>
                  <a:lnTo>
                    <a:pt x="7" y="21"/>
                  </a:lnTo>
                  <a:lnTo>
                    <a:pt x="4" y="21"/>
                  </a:lnTo>
                  <a:lnTo>
                    <a:pt x="7" y="32"/>
                  </a:lnTo>
                  <a:lnTo>
                    <a:pt x="11" y="32"/>
                  </a:lnTo>
                  <a:lnTo>
                    <a:pt x="18" y="32"/>
                  </a:lnTo>
                  <a:lnTo>
                    <a:pt x="11" y="39"/>
                  </a:lnTo>
                  <a:lnTo>
                    <a:pt x="7" y="43"/>
                  </a:lnTo>
                  <a:lnTo>
                    <a:pt x="4" y="43"/>
                  </a:lnTo>
                  <a:lnTo>
                    <a:pt x="4" y="46"/>
                  </a:lnTo>
                  <a:lnTo>
                    <a:pt x="7" y="54"/>
                  </a:lnTo>
                  <a:lnTo>
                    <a:pt x="29" y="50"/>
                  </a:lnTo>
                  <a:lnTo>
                    <a:pt x="32" y="39"/>
                  </a:lnTo>
                  <a:lnTo>
                    <a:pt x="22" y="39"/>
                  </a:lnTo>
                  <a:lnTo>
                    <a:pt x="36" y="25"/>
                  </a:lnTo>
                  <a:lnTo>
                    <a:pt x="36" y="36"/>
                  </a:lnTo>
                  <a:lnTo>
                    <a:pt x="50" y="36"/>
                  </a:lnTo>
                  <a:lnTo>
                    <a:pt x="50" y="43"/>
                  </a:lnTo>
                  <a:lnTo>
                    <a:pt x="32" y="43"/>
                  </a:lnTo>
                  <a:lnTo>
                    <a:pt x="32" y="71"/>
                  </a:lnTo>
                  <a:lnTo>
                    <a:pt x="43" y="71"/>
                  </a:lnTo>
                  <a:lnTo>
                    <a:pt x="43" y="50"/>
                  </a:lnTo>
                  <a:lnTo>
                    <a:pt x="50" y="50"/>
                  </a:lnTo>
                  <a:lnTo>
                    <a:pt x="50" y="75"/>
                  </a:lnTo>
                  <a:lnTo>
                    <a:pt x="61" y="75"/>
                  </a:lnTo>
                  <a:lnTo>
                    <a:pt x="61" y="50"/>
                  </a:lnTo>
                  <a:lnTo>
                    <a:pt x="68" y="50"/>
                  </a:lnTo>
                  <a:lnTo>
                    <a:pt x="68" y="61"/>
                  </a:lnTo>
                  <a:lnTo>
                    <a:pt x="64" y="61"/>
                  </a:lnTo>
                  <a:lnTo>
                    <a:pt x="61" y="61"/>
                  </a:lnTo>
                  <a:lnTo>
                    <a:pt x="64" y="71"/>
                  </a:lnTo>
                  <a:lnTo>
                    <a:pt x="75" y="71"/>
                  </a:lnTo>
                  <a:lnTo>
                    <a:pt x="75" y="64"/>
                  </a:lnTo>
                  <a:lnTo>
                    <a:pt x="75" y="43"/>
                  </a:lnTo>
                  <a:lnTo>
                    <a:pt x="61" y="43"/>
                  </a:lnTo>
                  <a:lnTo>
                    <a:pt x="61" y="36"/>
                  </a:lnTo>
                  <a:lnTo>
                    <a:pt x="75" y="36"/>
                  </a:lnTo>
                  <a:lnTo>
                    <a:pt x="75" y="7"/>
                  </a:lnTo>
                  <a:lnTo>
                    <a:pt x="57" y="7"/>
                  </a:lnTo>
                  <a:lnTo>
                    <a:pt x="61" y="0"/>
                  </a:lnTo>
                  <a:lnTo>
                    <a:pt x="54" y="0"/>
                  </a:lnTo>
                  <a:lnTo>
                    <a:pt x="50" y="0"/>
                  </a:lnTo>
                  <a:lnTo>
                    <a:pt x="47" y="0"/>
                  </a:lnTo>
                  <a:lnTo>
                    <a:pt x="47" y="7"/>
                  </a:lnTo>
                  <a:lnTo>
                    <a:pt x="36" y="7"/>
                  </a:lnTo>
                  <a:lnTo>
                    <a:pt x="36" y="21"/>
                  </a:lnTo>
                  <a:lnTo>
                    <a:pt x="29" y="14"/>
                  </a:lnTo>
                  <a:lnTo>
                    <a:pt x="25" y="21"/>
                  </a:lnTo>
                  <a:lnTo>
                    <a:pt x="22" y="21"/>
                  </a:lnTo>
                  <a:lnTo>
                    <a:pt x="18" y="21"/>
                  </a:lnTo>
                  <a:lnTo>
                    <a:pt x="25" y="7"/>
                  </a:lnTo>
                  <a:close/>
                  <a:moveTo>
                    <a:pt x="64" y="14"/>
                  </a:moveTo>
                  <a:lnTo>
                    <a:pt x="64" y="18"/>
                  </a:lnTo>
                  <a:lnTo>
                    <a:pt x="47" y="18"/>
                  </a:lnTo>
                  <a:lnTo>
                    <a:pt x="47" y="14"/>
                  </a:lnTo>
                  <a:lnTo>
                    <a:pt x="64" y="14"/>
                  </a:lnTo>
                  <a:close/>
                  <a:moveTo>
                    <a:pt x="64" y="25"/>
                  </a:moveTo>
                  <a:lnTo>
                    <a:pt x="64" y="29"/>
                  </a:lnTo>
                  <a:lnTo>
                    <a:pt x="47" y="29"/>
                  </a:lnTo>
                  <a:lnTo>
                    <a:pt x="47" y="25"/>
                  </a:lnTo>
                  <a:lnTo>
                    <a:pt x="64" y="25"/>
                  </a:lnTo>
                  <a:close/>
                  <a:moveTo>
                    <a:pt x="4" y="68"/>
                  </a:moveTo>
                  <a:lnTo>
                    <a:pt x="4" y="68"/>
                  </a:lnTo>
                  <a:lnTo>
                    <a:pt x="11" y="68"/>
                  </a:lnTo>
                  <a:lnTo>
                    <a:pt x="29" y="61"/>
                  </a:lnTo>
                  <a:lnTo>
                    <a:pt x="29" y="54"/>
                  </a:lnTo>
                  <a:lnTo>
                    <a:pt x="4" y="57"/>
                  </a:lnTo>
                  <a:lnTo>
                    <a:pt x="0" y="57"/>
                  </a:lnTo>
                  <a:lnTo>
                    <a:pt x="4" y="6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0" name="Freeform 146"/>
            <p:cNvSpPr>
              <a:spLocks noEditPoints="1"/>
            </p:cNvSpPr>
            <p:nvPr/>
          </p:nvSpPr>
          <p:spPr bwMode="auto">
            <a:xfrm>
              <a:off x="3265" y="1355"/>
              <a:ext cx="72" cy="71"/>
            </a:xfrm>
            <a:custGeom>
              <a:avLst/>
              <a:gdLst>
                <a:gd name="T0" fmla="*/ 11 w 72"/>
                <a:gd name="T1" fmla="*/ 71 h 71"/>
                <a:gd name="T2" fmla="*/ 11 w 72"/>
                <a:gd name="T3" fmla="*/ 46 h 71"/>
                <a:gd name="T4" fmla="*/ 11 w 72"/>
                <a:gd name="T5" fmla="*/ 46 h 71"/>
                <a:gd name="T6" fmla="*/ 15 w 72"/>
                <a:gd name="T7" fmla="*/ 57 h 71"/>
                <a:gd name="T8" fmla="*/ 15 w 72"/>
                <a:gd name="T9" fmla="*/ 57 h 71"/>
                <a:gd name="T10" fmla="*/ 22 w 72"/>
                <a:gd name="T11" fmla="*/ 57 h 71"/>
                <a:gd name="T12" fmla="*/ 29 w 72"/>
                <a:gd name="T13" fmla="*/ 53 h 71"/>
                <a:gd name="T14" fmla="*/ 33 w 72"/>
                <a:gd name="T15" fmla="*/ 46 h 71"/>
                <a:gd name="T16" fmla="*/ 33 w 72"/>
                <a:gd name="T17" fmla="*/ 42 h 71"/>
                <a:gd name="T18" fmla="*/ 33 w 72"/>
                <a:gd name="T19" fmla="*/ 42 h 71"/>
                <a:gd name="T20" fmla="*/ 29 w 72"/>
                <a:gd name="T21" fmla="*/ 32 h 71"/>
                <a:gd name="T22" fmla="*/ 25 w 72"/>
                <a:gd name="T23" fmla="*/ 25 h 71"/>
                <a:gd name="T24" fmla="*/ 25 w 72"/>
                <a:gd name="T25" fmla="*/ 25 h 71"/>
                <a:gd name="T26" fmla="*/ 29 w 72"/>
                <a:gd name="T27" fmla="*/ 17 h 71"/>
                <a:gd name="T28" fmla="*/ 29 w 72"/>
                <a:gd name="T29" fmla="*/ 17 h 71"/>
                <a:gd name="T30" fmla="*/ 33 w 72"/>
                <a:gd name="T31" fmla="*/ 0 h 71"/>
                <a:gd name="T32" fmla="*/ 4 w 72"/>
                <a:gd name="T33" fmla="*/ 0 h 71"/>
                <a:gd name="T34" fmla="*/ 0 w 72"/>
                <a:gd name="T35" fmla="*/ 71 h 71"/>
                <a:gd name="T36" fmla="*/ 11 w 72"/>
                <a:gd name="T37" fmla="*/ 71 h 71"/>
                <a:gd name="T38" fmla="*/ 11 w 72"/>
                <a:gd name="T39" fmla="*/ 71 h 71"/>
                <a:gd name="T40" fmla="*/ 43 w 72"/>
                <a:gd name="T41" fmla="*/ 67 h 71"/>
                <a:gd name="T42" fmla="*/ 43 w 72"/>
                <a:gd name="T43" fmla="*/ 60 h 71"/>
                <a:gd name="T44" fmla="*/ 57 w 72"/>
                <a:gd name="T45" fmla="*/ 60 h 71"/>
                <a:gd name="T46" fmla="*/ 57 w 72"/>
                <a:gd name="T47" fmla="*/ 71 h 71"/>
                <a:gd name="T48" fmla="*/ 72 w 72"/>
                <a:gd name="T49" fmla="*/ 71 h 71"/>
                <a:gd name="T50" fmla="*/ 72 w 72"/>
                <a:gd name="T51" fmla="*/ 0 h 71"/>
                <a:gd name="T52" fmla="*/ 33 w 72"/>
                <a:gd name="T53" fmla="*/ 0 h 71"/>
                <a:gd name="T54" fmla="*/ 33 w 72"/>
                <a:gd name="T55" fmla="*/ 67 h 71"/>
                <a:gd name="T56" fmla="*/ 43 w 72"/>
                <a:gd name="T57" fmla="*/ 67 h 71"/>
                <a:gd name="T58" fmla="*/ 43 w 72"/>
                <a:gd name="T59" fmla="*/ 67 h 71"/>
                <a:gd name="T60" fmla="*/ 15 w 72"/>
                <a:gd name="T61" fmla="*/ 28 h 71"/>
                <a:gd name="T62" fmla="*/ 15 w 72"/>
                <a:gd name="T63" fmla="*/ 28 h 71"/>
                <a:gd name="T64" fmla="*/ 22 w 72"/>
                <a:gd name="T65" fmla="*/ 39 h 71"/>
                <a:gd name="T66" fmla="*/ 22 w 72"/>
                <a:gd name="T67" fmla="*/ 39 h 71"/>
                <a:gd name="T68" fmla="*/ 18 w 72"/>
                <a:gd name="T69" fmla="*/ 42 h 71"/>
                <a:gd name="T70" fmla="*/ 11 w 72"/>
                <a:gd name="T71" fmla="*/ 46 h 71"/>
                <a:gd name="T72" fmla="*/ 11 w 72"/>
                <a:gd name="T73" fmla="*/ 7 h 71"/>
                <a:gd name="T74" fmla="*/ 18 w 72"/>
                <a:gd name="T75" fmla="*/ 7 h 71"/>
                <a:gd name="T76" fmla="*/ 18 w 72"/>
                <a:gd name="T77" fmla="*/ 7 h 71"/>
                <a:gd name="T78" fmla="*/ 15 w 72"/>
                <a:gd name="T79" fmla="*/ 28 h 71"/>
                <a:gd name="T80" fmla="*/ 15 w 72"/>
                <a:gd name="T81" fmla="*/ 28 h 71"/>
                <a:gd name="T82" fmla="*/ 15 w 72"/>
                <a:gd name="T83" fmla="*/ 28 h 71"/>
                <a:gd name="T84" fmla="*/ 43 w 72"/>
                <a:gd name="T85" fmla="*/ 25 h 71"/>
                <a:gd name="T86" fmla="*/ 43 w 72"/>
                <a:gd name="T87" fmla="*/ 10 h 71"/>
                <a:gd name="T88" fmla="*/ 57 w 72"/>
                <a:gd name="T89" fmla="*/ 10 h 71"/>
                <a:gd name="T90" fmla="*/ 57 w 72"/>
                <a:gd name="T91" fmla="*/ 25 h 71"/>
                <a:gd name="T92" fmla="*/ 43 w 72"/>
                <a:gd name="T93" fmla="*/ 25 h 71"/>
                <a:gd name="T94" fmla="*/ 43 w 72"/>
                <a:gd name="T95" fmla="*/ 25 h 71"/>
                <a:gd name="T96" fmla="*/ 57 w 72"/>
                <a:gd name="T97" fmla="*/ 35 h 71"/>
                <a:gd name="T98" fmla="*/ 57 w 72"/>
                <a:gd name="T99" fmla="*/ 53 h 71"/>
                <a:gd name="T100" fmla="*/ 43 w 72"/>
                <a:gd name="T101" fmla="*/ 53 h 71"/>
                <a:gd name="T102" fmla="*/ 43 w 72"/>
                <a:gd name="T103" fmla="*/ 35 h 71"/>
                <a:gd name="T104" fmla="*/ 57 w 72"/>
                <a:gd name="T105" fmla="*/ 35 h 71"/>
                <a:gd name="T106" fmla="*/ 57 w 72"/>
                <a:gd name="T107" fmla="*/ 35 h 7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72"/>
                <a:gd name="T163" fmla="*/ 0 h 71"/>
                <a:gd name="T164" fmla="*/ 72 w 72"/>
                <a:gd name="T165" fmla="*/ 71 h 71"/>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72" h="71">
                  <a:moveTo>
                    <a:pt x="11" y="71"/>
                  </a:moveTo>
                  <a:lnTo>
                    <a:pt x="11" y="46"/>
                  </a:lnTo>
                  <a:lnTo>
                    <a:pt x="15" y="57"/>
                  </a:lnTo>
                  <a:lnTo>
                    <a:pt x="22" y="57"/>
                  </a:lnTo>
                  <a:lnTo>
                    <a:pt x="29" y="53"/>
                  </a:lnTo>
                  <a:lnTo>
                    <a:pt x="33" y="46"/>
                  </a:lnTo>
                  <a:lnTo>
                    <a:pt x="33" y="42"/>
                  </a:lnTo>
                  <a:lnTo>
                    <a:pt x="29" y="32"/>
                  </a:lnTo>
                  <a:lnTo>
                    <a:pt x="25" y="25"/>
                  </a:lnTo>
                  <a:lnTo>
                    <a:pt x="29" y="17"/>
                  </a:lnTo>
                  <a:lnTo>
                    <a:pt x="33" y="0"/>
                  </a:lnTo>
                  <a:lnTo>
                    <a:pt x="4" y="0"/>
                  </a:lnTo>
                  <a:lnTo>
                    <a:pt x="0" y="71"/>
                  </a:lnTo>
                  <a:lnTo>
                    <a:pt x="11" y="71"/>
                  </a:lnTo>
                  <a:close/>
                  <a:moveTo>
                    <a:pt x="43" y="67"/>
                  </a:moveTo>
                  <a:lnTo>
                    <a:pt x="43" y="60"/>
                  </a:lnTo>
                  <a:lnTo>
                    <a:pt x="57" y="60"/>
                  </a:lnTo>
                  <a:lnTo>
                    <a:pt x="57" y="71"/>
                  </a:lnTo>
                  <a:lnTo>
                    <a:pt x="72" y="71"/>
                  </a:lnTo>
                  <a:lnTo>
                    <a:pt x="72" y="0"/>
                  </a:lnTo>
                  <a:lnTo>
                    <a:pt x="33" y="0"/>
                  </a:lnTo>
                  <a:lnTo>
                    <a:pt x="33" y="67"/>
                  </a:lnTo>
                  <a:lnTo>
                    <a:pt x="43" y="67"/>
                  </a:lnTo>
                  <a:close/>
                  <a:moveTo>
                    <a:pt x="15" y="28"/>
                  </a:moveTo>
                  <a:lnTo>
                    <a:pt x="15" y="28"/>
                  </a:lnTo>
                  <a:lnTo>
                    <a:pt x="22" y="39"/>
                  </a:lnTo>
                  <a:lnTo>
                    <a:pt x="18" y="42"/>
                  </a:lnTo>
                  <a:lnTo>
                    <a:pt x="11" y="46"/>
                  </a:lnTo>
                  <a:lnTo>
                    <a:pt x="11" y="7"/>
                  </a:lnTo>
                  <a:lnTo>
                    <a:pt x="18" y="7"/>
                  </a:lnTo>
                  <a:lnTo>
                    <a:pt x="15" y="28"/>
                  </a:lnTo>
                  <a:close/>
                  <a:moveTo>
                    <a:pt x="43" y="25"/>
                  </a:moveTo>
                  <a:lnTo>
                    <a:pt x="43" y="10"/>
                  </a:lnTo>
                  <a:lnTo>
                    <a:pt x="57" y="10"/>
                  </a:lnTo>
                  <a:lnTo>
                    <a:pt x="57" y="25"/>
                  </a:lnTo>
                  <a:lnTo>
                    <a:pt x="43" y="25"/>
                  </a:lnTo>
                  <a:close/>
                  <a:moveTo>
                    <a:pt x="57" y="35"/>
                  </a:moveTo>
                  <a:lnTo>
                    <a:pt x="57" y="53"/>
                  </a:lnTo>
                  <a:lnTo>
                    <a:pt x="43" y="53"/>
                  </a:lnTo>
                  <a:lnTo>
                    <a:pt x="43" y="35"/>
                  </a:lnTo>
                  <a:lnTo>
                    <a:pt x="57"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1" name="Freeform 147"/>
            <p:cNvSpPr>
              <a:spLocks/>
            </p:cNvSpPr>
            <p:nvPr/>
          </p:nvSpPr>
          <p:spPr bwMode="auto">
            <a:xfrm>
              <a:off x="3351" y="1351"/>
              <a:ext cx="75" cy="75"/>
            </a:xfrm>
            <a:custGeom>
              <a:avLst/>
              <a:gdLst>
                <a:gd name="T0" fmla="*/ 43 w 75"/>
                <a:gd name="T1" fmla="*/ 11 h 75"/>
                <a:gd name="T2" fmla="*/ 43 w 75"/>
                <a:gd name="T3" fmla="*/ 11 h 75"/>
                <a:gd name="T4" fmla="*/ 43 w 75"/>
                <a:gd name="T5" fmla="*/ 7 h 75"/>
                <a:gd name="T6" fmla="*/ 43 w 75"/>
                <a:gd name="T7" fmla="*/ 7 h 75"/>
                <a:gd name="T8" fmla="*/ 39 w 75"/>
                <a:gd name="T9" fmla="*/ 0 h 75"/>
                <a:gd name="T10" fmla="*/ 39 w 75"/>
                <a:gd name="T11" fmla="*/ 0 h 75"/>
                <a:gd name="T12" fmla="*/ 36 w 75"/>
                <a:gd name="T13" fmla="*/ 0 h 75"/>
                <a:gd name="T14" fmla="*/ 36 w 75"/>
                <a:gd name="T15" fmla="*/ 0 h 75"/>
                <a:gd name="T16" fmla="*/ 29 w 75"/>
                <a:gd name="T17" fmla="*/ 0 h 75"/>
                <a:gd name="T18" fmla="*/ 29 w 75"/>
                <a:gd name="T19" fmla="*/ 0 h 75"/>
                <a:gd name="T20" fmla="*/ 32 w 75"/>
                <a:gd name="T21" fmla="*/ 11 h 75"/>
                <a:gd name="T22" fmla="*/ 0 w 75"/>
                <a:gd name="T23" fmla="*/ 11 h 75"/>
                <a:gd name="T24" fmla="*/ 0 w 75"/>
                <a:gd name="T25" fmla="*/ 21 h 75"/>
                <a:gd name="T26" fmla="*/ 32 w 75"/>
                <a:gd name="T27" fmla="*/ 21 h 75"/>
                <a:gd name="T28" fmla="*/ 32 w 75"/>
                <a:gd name="T29" fmla="*/ 29 h 75"/>
                <a:gd name="T30" fmla="*/ 7 w 75"/>
                <a:gd name="T31" fmla="*/ 29 h 75"/>
                <a:gd name="T32" fmla="*/ 7 w 75"/>
                <a:gd name="T33" fmla="*/ 68 h 75"/>
                <a:gd name="T34" fmla="*/ 21 w 75"/>
                <a:gd name="T35" fmla="*/ 68 h 75"/>
                <a:gd name="T36" fmla="*/ 21 w 75"/>
                <a:gd name="T37" fmla="*/ 39 h 75"/>
                <a:gd name="T38" fmla="*/ 32 w 75"/>
                <a:gd name="T39" fmla="*/ 39 h 75"/>
                <a:gd name="T40" fmla="*/ 32 w 75"/>
                <a:gd name="T41" fmla="*/ 75 h 75"/>
                <a:gd name="T42" fmla="*/ 43 w 75"/>
                <a:gd name="T43" fmla="*/ 75 h 75"/>
                <a:gd name="T44" fmla="*/ 43 w 75"/>
                <a:gd name="T45" fmla="*/ 39 h 75"/>
                <a:gd name="T46" fmla="*/ 53 w 75"/>
                <a:gd name="T47" fmla="*/ 39 h 75"/>
                <a:gd name="T48" fmla="*/ 53 w 75"/>
                <a:gd name="T49" fmla="*/ 57 h 75"/>
                <a:gd name="T50" fmla="*/ 53 w 75"/>
                <a:gd name="T51" fmla="*/ 57 h 75"/>
                <a:gd name="T52" fmla="*/ 53 w 75"/>
                <a:gd name="T53" fmla="*/ 57 h 75"/>
                <a:gd name="T54" fmla="*/ 46 w 75"/>
                <a:gd name="T55" fmla="*/ 57 h 75"/>
                <a:gd name="T56" fmla="*/ 46 w 75"/>
                <a:gd name="T57" fmla="*/ 57 h 75"/>
                <a:gd name="T58" fmla="*/ 46 w 75"/>
                <a:gd name="T59" fmla="*/ 68 h 75"/>
                <a:gd name="T60" fmla="*/ 46 w 75"/>
                <a:gd name="T61" fmla="*/ 68 h 75"/>
                <a:gd name="T62" fmla="*/ 61 w 75"/>
                <a:gd name="T63" fmla="*/ 68 h 75"/>
                <a:gd name="T64" fmla="*/ 64 w 75"/>
                <a:gd name="T65" fmla="*/ 64 h 75"/>
                <a:gd name="T66" fmla="*/ 64 w 75"/>
                <a:gd name="T67" fmla="*/ 61 h 75"/>
                <a:gd name="T68" fmla="*/ 64 w 75"/>
                <a:gd name="T69" fmla="*/ 29 h 75"/>
                <a:gd name="T70" fmla="*/ 43 w 75"/>
                <a:gd name="T71" fmla="*/ 29 h 75"/>
                <a:gd name="T72" fmla="*/ 43 w 75"/>
                <a:gd name="T73" fmla="*/ 21 h 75"/>
                <a:gd name="T74" fmla="*/ 75 w 75"/>
                <a:gd name="T75" fmla="*/ 21 h 75"/>
                <a:gd name="T76" fmla="*/ 75 w 75"/>
                <a:gd name="T77" fmla="*/ 11 h 75"/>
                <a:gd name="T78" fmla="*/ 36 w 75"/>
                <a:gd name="T79" fmla="*/ 11 h 75"/>
                <a:gd name="T80" fmla="*/ 36 w 75"/>
                <a:gd name="T81" fmla="*/ 11 h 75"/>
                <a:gd name="T82" fmla="*/ 43 w 75"/>
                <a:gd name="T83" fmla="*/ 11 h 75"/>
                <a:gd name="T84" fmla="*/ 43 w 75"/>
                <a:gd name="T85" fmla="*/ 11 h 75"/>
                <a:gd name="T86" fmla="*/ 43 w 75"/>
                <a:gd name="T87" fmla="*/ 11 h 7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5"/>
                <a:gd name="T134" fmla="*/ 75 w 75"/>
                <a:gd name="T135" fmla="*/ 75 h 7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5">
                  <a:moveTo>
                    <a:pt x="43" y="11"/>
                  </a:moveTo>
                  <a:lnTo>
                    <a:pt x="43" y="11"/>
                  </a:lnTo>
                  <a:lnTo>
                    <a:pt x="43" y="7"/>
                  </a:lnTo>
                  <a:lnTo>
                    <a:pt x="39" y="0"/>
                  </a:lnTo>
                  <a:lnTo>
                    <a:pt x="36" y="0"/>
                  </a:lnTo>
                  <a:lnTo>
                    <a:pt x="29" y="0"/>
                  </a:lnTo>
                  <a:lnTo>
                    <a:pt x="32" y="11"/>
                  </a:lnTo>
                  <a:lnTo>
                    <a:pt x="0" y="11"/>
                  </a:lnTo>
                  <a:lnTo>
                    <a:pt x="0" y="21"/>
                  </a:lnTo>
                  <a:lnTo>
                    <a:pt x="32" y="21"/>
                  </a:lnTo>
                  <a:lnTo>
                    <a:pt x="32" y="29"/>
                  </a:lnTo>
                  <a:lnTo>
                    <a:pt x="7" y="29"/>
                  </a:lnTo>
                  <a:lnTo>
                    <a:pt x="7" y="68"/>
                  </a:lnTo>
                  <a:lnTo>
                    <a:pt x="21" y="68"/>
                  </a:lnTo>
                  <a:lnTo>
                    <a:pt x="21" y="39"/>
                  </a:lnTo>
                  <a:lnTo>
                    <a:pt x="32" y="39"/>
                  </a:lnTo>
                  <a:lnTo>
                    <a:pt x="32" y="75"/>
                  </a:lnTo>
                  <a:lnTo>
                    <a:pt x="43" y="75"/>
                  </a:lnTo>
                  <a:lnTo>
                    <a:pt x="43" y="39"/>
                  </a:lnTo>
                  <a:lnTo>
                    <a:pt x="53" y="39"/>
                  </a:lnTo>
                  <a:lnTo>
                    <a:pt x="53" y="57"/>
                  </a:lnTo>
                  <a:lnTo>
                    <a:pt x="46" y="57"/>
                  </a:lnTo>
                  <a:lnTo>
                    <a:pt x="46" y="68"/>
                  </a:lnTo>
                  <a:lnTo>
                    <a:pt x="61" y="68"/>
                  </a:lnTo>
                  <a:lnTo>
                    <a:pt x="64" y="64"/>
                  </a:lnTo>
                  <a:lnTo>
                    <a:pt x="64" y="61"/>
                  </a:lnTo>
                  <a:lnTo>
                    <a:pt x="64" y="29"/>
                  </a:lnTo>
                  <a:lnTo>
                    <a:pt x="43" y="29"/>
                  </a:lnTo>
                  <a:lnTo>
                    <a:pt x="43" y="21"/>
                  </a:lnTo>
                  <a:lnTo>
                    <a:pt x="75" y="21"/>
                  </a:lnTo>
                  <a:lnTo>
                    <a:pt x="75" y="11"/>
                  </a:lnTo>
                  <a:lnTo>
                    <a:pt x="36" y="11"/>
                  </a:lnTo>
                  <a:lnTo>
                    <a:pt x="43"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2" name="Freeform 148"/>
            <p:cNvSpPr>
              <a:spLocks noEditPoints="1"/>
            </p:cNvSpPr>
            <p:nvPr/>
          </p:nvSpPr>
          <p:spPr bwMode="auto">
            <a:xfrm>
              <a:off x="1925" y="3761"/>
              <a:ext cx="78" cy="78"/>
            </a:xfrm>
            <a:custGeom>
              <a:avLst/>
              <a:gdLst>
                <a:gd name="T0" fmla="*/ 46 w 78"/>
                <a:gd name="T1" fmla="*/ 10 h 78"/>
                <a:gd name="T2" fmla="*/ 54 w 78"/>
                <a:gd name="T3" fmla="*/ 7 h 78"/>
                <a:gd name="T4" fmla="*/ 39 w 78"/>
                <a:gd name="T5" fmla="*/ 3 h 78"/>
                <a:gd name="T6" fmla="*/ 32 w 78"/>
                <a:gd name="T7" fmla="*/ 10 h 78"/>
                <a:gd name="T8" fmla="*/ 29 w 78"/>
                <a:gd name="T9" fmla="*/ 10 h 78"/>
                <a:gd name="T10" fmla="*/ 21 w 78"/>
                <a:gd name="T11" fmla="*/ 3 h 78"/>
                <a:gd name="T12" fmla="*/ 18 w 78"/>
                <a:gd name="T13" fmla="*/ 0 h 78"/>
                <a:gd name="T14" fmla="*/ 0 w 78"/>
                <a:gd name="T15" fmla="*/ 18 h 78"/>
                <a:gd name="T16" fmla="*/ 0 w 78"/>
                <a:gd name="T17" fmla="*/ 28 h 78"/>
                <a:gd name="T18" fmla="*/ 11 w 78"/>
                <a:gd name="T19" fmla="*/ 28 h 78"/>
                <a:gd name="T20" fmla="*/ 21 w 78"/>
                <a:gd name="T21" fmla="*/ 21 h 78"/>
                <a:gd name="T22" fmla="*/ 25 w 78"/>
                <a:gd name="T23" fmla="*/ 21 h 78"/>
                <a:gd name="T24" fmla="*/ 25 w 78"/>
                <a:gd name="T25" fmla="*/ 18 h 78"/>
                <a:gd name="T26" fmla="*/ 29 w 78"/>
                <a:gd name="T27" fmla="*/ 18 h 78"/>
                <a:gd name="T28" fmla="*/ 29 w 78"/>
                <a:gd name="T29" fmla="*/ 21 h 78"/>
                <a:gd name="T30" fmla="*/ 36 w 78"/>
                <a:gd name="T31" fmla="*/ 25 h 78"/>
                <a:gd name="T32" fmla="*/ 32 w 78"/>
                <a:gd name="T33" fmla="*/ 35 h 78"/>
                <a:gd name="T34" fmla="*/ 21 w 78"/>
                <a:gd name="T35" fmla="*/ 43 h 78"/>
                <a:gd name="T36" fmla="*/ 0 w 78"/>
                <a:gd name="T37" fmla="*/ 53 h 78"/>
                <a:gd name="T38" fmla="*/ 7 w 78"/>
                <a:gd name="T39" fmla="*/ 60 h 78"/>
                <a:gd name="T40" fmla="*/ 36 w 78"/>
                <a:gd name="T41" fmla="*/ 64 h 78"/>
                <a:gd name="T42" fmla="*/ 36 w 78"/>
                <a:gd name="T43" fmla="*/ 68 h 78"/>
                <a:gd name="T44" fmla="*/ 29 w 78"/>
                <a:gd name="T45" fmla="*/ 78 h 78"/>
                <a:gd name="T46" fmla="*/ 46 w 78"/>
                <a:gd name="T47" fmla="*/ 75 h 78"/>
                <a:gd name="T48" fmla="*/ 46 w 78"/>
                <a:gd name="T49" fmla="*/ 64 h 78"/>
                <a:gd name="T50" fmla="*/ 64 w 78"/>
                <a:gd name="T51" fmla="*/ 57 h 78"/>
                <a:gd name="T52" fmla="*/ 78 w 78"/>
                <a:gd name="T53" fmla="*/ 50 h 78"/>
                <a:gd name="T54" fmla="*/ 78 w 78"/>
                <a:gd name="T55" fmla="*/ 35 h 78"/>
                <a:gd name="T56" fmla="*/ 46 w 78"/>
                <a:gd name="T57" fmla="*/ 35 h 78"/>
                <a:gd name="T58" fmla="*/ 50 w 78"/>
                <a:gd name="T59" fmla="*/ 32 h 78"/>
                <a:gd name="T60" fmla="*/ 57 w 78"/>
                <a:gd name="T61" fmla="*/ 25 h 78"/>
                <a:gd name="T62" fmla="*/ 68 w 78"/>
                <a:gd name="T63" fmla="*/ 21 h 78"/>
                <a:gd name="T64" fmla="*/ 71 w 78"/>
                <a:gd name="T65" fmla="*/ 18 h 78"/>
                <a:gd name="T66" fmla="*/ 68 w 78"/>
                <a:gd name="T67" fmla="*/ 10 h 78"/>
                <a:gd name="T68" fmla="*/ 68 w 78"/>
                <a:gd name="T69" fmla="*/ 3 h 78"/>
                <a:gd name="T70" fmla="*/ 57 w 78"/>
                <a:gd name="T71" fmla="*/ 10 h 78"/>
                <a:gd name="T72" fmla="*/ 54 w 78"/>
                <a:gd name="T73" fmla="*/ 18 h 78"/>
                <a:gd name="T74" fmla="*/ 46 w 78"/>
                <a:gd name="T75" fmla="*/ 25 h 78"/>
                <a:gd name="T76" fmla="*/ 50 w 78"/>
                <a:gd name="T77" fmla="*/ 14 h 78"/>
                <a:gd name="T78" fmla="*/ 39 w 78"/>
                <a:gd name="T79" fmla="*/ 21 h 78"/>
                <a:gd name="T80" fmla="*/ 43 w 78"/>
                <a:gd name="T81" fmla="*/ 18 h 78"/>
                <a:gd name="T82" fmla="*/ 43 w 78"/>
                <a:gd name="T83" fmla="*/ 18 h 78"/>
                <a:gd name="T84" fmla="*/ 71 w 78"/>
                <a:gd name="T85" fmla="*/ 18 h 78"/>
                <a:gd name="T86" fmla="*/ 43 w 78"/>
                <a:gd name="T87" fmla="*/ 32 h 78"/>
                <a:gd name="T88" fmla="*/ 43 w 78"/>
                <a:gd name="T89" fmla="*/ 32 h 78"/>
                <a:gd name="T90" fmla="*/ 46 w 78"/>
                <a:gd name="T91" fmla="*/ 46 h 78"/>
                <a:gd name="T92" fmla="*/ 46 w 78"/>
                <a:gd name="T93" fmla="*/ 43 h 78"/>
                <a:gd name="T94" fmla="*/ 36 w 78"/>
                <a:gd name="T95" fmla="*/ 53 h 78"/>
                <a:gd name="T96" fmla="*/ 50 w 78"/>
                <a:gd name="T97" fmla="*/ 53 h 78"/>
                <a:gd name="T98" fmla="*/ 46 w 78"/>
                <a:gd name="T99" fmla="*/ 53 h 78"/>
                <a:gd name="T100" fmla="*/ 50 w 78"/>
                <a:gd name="T101" fmla="*/ 53 h 7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78"/>
                <a:gd name="T154" fmla="*/ 0 h 78"/>
                <a:gd name="T155" fmla="*/ 78 w 78"/>
                <a:gd name="T156" fmla="*/ 78 h 7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78" h="78">
                  <a:moveTo>
                    <a:pt x="50" y="14"/>
                  </a:moveTo>
                  <a:lnTo>
                    <a:pt x="50" y="14"/>
                  </a:lnTo>
                  <a:lnTo>
                    <a:pt x="46" y="10"/>
                  </a:lnTo>
                  <a:lnTo>
                    <a:pt x="50" y="7"/>
                  </a:lnTo>
                  <a:lnTo>
                    <a:pt x="54" y="7"/>
                  </a:lnTo>
                  <a:lnTo>
                    <a:pt x="43" y="0"/>
                  </a:lnTo>
                  <a:lnTo>
                    <a:pt x="39" y="3"/>
                  </a:lnTo>
                  <a:lnTo>
                    <a:pt x="32" y="0"/>
                  </a:lnTo>
                  <a:lnTo>
                    <a:pt x="25" y="7"/>
                  </a:lnTo>
                  <a:lnTo>
                    <a:pt x="32" y="10"/>
                  </a:lnTo>
                  <a:lnTo>
                    <a:pt x="29" y="10"/>
                  </a:lnTo>
                  <a:lnTo>
                    <a:pt x="21" y="10"/>
                  </a:lnTo>
                  <a:lnTo>
                    <a:pt x="21" y="3"/>
                  </a:lnTo>
                  <a:lnTo>
                    <a:pt x="18" y="0"/>
                  </a:lnTo>
                  <a:lnTo>
                    <a:pt x="11" y="0"/>
                  </a:lnTo>
                  <a:lnTo>
                    <a:pt x="11" y="10"/>
                  </a:lnTo>
                  <a:lnTo>
                    <a:pt x="0" y="10"/>
                  </a:lnTo>
                  <a:lnTo>
                    <a:pt x="0" y="18"/>
                  </a:lnTo>
                  <a:lnTo>
                    <a:pt x="11" y="18"/>
                  </a:lnTo>
                  <a:lnTo>
                    <a:pt x="0" y="28"/>
                  </a:lnTo>
                  <a:lnTo>
                    <a:pt x="7" y="35"/>
                  </a:lnTo>
                  <a:lnTo>
                    <a:pt x="11" y="28"/>
                  </a:lnTo>
                  <a:lnTo>
                    <a:pt x="11" y="25"/>
                  </a:lnTo>
                  <a:lnTo>
                    <a:pt x="11" y="35"/>
                  </a:lnTo>
                  <a:lnTo>
                    <a:pt x="21" y="35"/>
                  </a:lnTo>
                  <a:lnTo>
                    <a:pt x="21" y="21"/>
                  </a:lnTo>
                  <a:lnTo>
                    <a:pt x="25" y="28"/>
                  </a:lnTo>
                  <a:lnTo>
                    <a:pt x="29" y="25"/>
                  </a:lnTo>
                  <a:lnTo>
                    <a:pt x="25" y="21"/>
                  </a:lnTo>
                  <a:lnTo>
                    <a:pt x="25" y="18"/>
                  </a:lnTo>
                  <a:lnTo>
                    <a:pt x="21" y="18"/>
                  </a:lnTo>
                  <a:lnTo>
                    <a:pt x="29" y="18"/>
                  </a:lnTo>
                  <a:lnTo>
                    <a:pt x="29" y="21"/>
                  </a:lnTo>
                  <a:lnTo>
                    <a:pt x="32" y="18"/>
                  </a:lnTo>
                  <a:lnTo>
                    <a:pt x="29" y="21"/>
                  </a:lnTo>
                  <a:lnTo>
                    <a:pt x="32" y="25"/>
                  </a:lnTo>
                  <a:lnTo>
                    <a:pt x="36" y="25"/>
                  </a:lnTo>
                  <a:lnTo>
                    <a:pt x="25" y="32"/>
                  </a:lnTo>
                  <a:lnTo>
                    <a:pt x="32" y="35"/>
                  </a:lnTo>
                  <a:lnTo>
                    <a:pt x="29" y="35"/>
                  </a:lnTo>
                  <a:lnTo>
                    <a:pt x="0" y="35"/>
                  </a:lnTo>
                  <a:lnTo>
                    <a:pt x="0" y="43"/>
                  </a:lnTo>
                  <a:lnTo>
                    <a:pt x="21" y="43"/>
                  </a:lnTo>
                  <a:lnTo>
                    <a:pt x="11" y="50"/>
                  </a:lnTo>
                  <a:lnTo>
                    <a:pt x="0" y="53"/>
                  </a:lnTo>
                  <a:lnTo>
                    <a:pt x="7" y="60"/>
                  </a:lnTo>
                  <a:lnTo>
                    <a:pt x="18" y="57"/>
                  </a:lnTo>
                  <a:lnTo>
                    <a:pt x="18" y="60"/>
                  </a:lnTo>
                  <a:lnTo>
                    <a:pt x="36" y="60"/>
                  </a:lnTo>
                  <a:lnTo>
                    <a:pt x="36" y="64"/>
                  </a:lnTo>
                  <a:lnTo>
                    <a:pt x="4" y="60"/>
                  </a:lnTo>
                  <a:lnTo>
                    <a:pt x="4" y="68"/>
                  </a:lnTo>
                  <a:lnTo>
                    <a:pt x="36" y="68"/>
                  </a:lnTo>
                  <a:lnTo>
                    <a:pt x="32" y="71"/>
                  </a:lnTo>
                  <a:lnTo>
                    <a:pt x="29" y="71"/>
                  </a:lnTo>
                  <a:lnTo>
                    <a:pt x="29" y="78"/>
                  </a:lnTo>
                  <a:lnTo>
                    <a:pt x="39" y="78"/>
                  </a:lnTo>
                  <a:lnTo>
                    <a:pt x="43" y="78"/>
                  </a:lnTo>
                  <a:lnTo>
                    <a:pt x="46" y="75"/>
                  </a:lnTo>
                  <a:lnTo>
                    <a:pt x="46" y="68"/>
                  </a:lnTo>
                  <a:lnTo>
                    <a:pt x="78" y="68"/>
                  </a:lnTo>
                  <a:lnTo>
                    <a:pt x="78" y="64"/>
                  </a:lnTo>
                  <a:lnTo>
                    <a:pt x="46" y="64"/>
                  </a:lnTo>
                  <a:lnTo>
                    <a:pt x="46" y="60"/>
                  </a:lnTo>
                  <a:lnTo>
                    <a:pt x="64" y="60"/>
                  </a:lnTo>
                  <a:lnTo>
                    <a:pt x="64" y="57"/>
                  </a:lnTo>
                  <a:lnTo>
                    <a:pt x="75" y="60"/>
                  </a:lnTo>
                  <a:lnTo>
                    <a:pt x="78" y="50"/>
                  </a:lnTo>
                  <a:lnTo>
                    <a:pt x="68" y="50"/>
                  </a:lnTo>
                  <a:lnTo>
                    <a:pt x="61" y="43"/>
                  </a:lnTo>
                  <a:lnTo>
                    <a:pt x="78" y="43"/>
                  </a:lnTo>
                  <a:lnTo>
                    <a:pt x="78" y="35"/>
                  </a:lnTo>
                  <a:lnTo>
                    <a:pt x="43" y="35"/>
                  </a:lnTo>
                  <a:lnTo>
                    <a:pt x="46" y="35"/>
                  </a:lnTo>
                  <a:lnTo>
                    <a:pt x="50" y="32"/>
                  </a:lnTo>
                  <a:lnTo>
                    <a:pt x="54" y="32"/>
                  </a:lnTo>
                  <a:lnTo>
                    <a:pt x="57" y="25"/>
                  </a:lnTo>
                  <a:lnTo>
                    <a:pt x="57" y="35"/>
                  </a:lnTo>
                  <a:lnTo>
                    <a:pt x="68" y="35"/>
                  </a:lnTo>
                  <a:lnTo>
                    <a:pt x="68" y="21"/>
                  </a:lnTo>
                  <a:lnTo>
                    <a:pt x="71" y="32"/>
                  </a:lnTo>
                  <a:lnTo>
                    <a:pt x="78" y="28"/>
                  </a:lnTo>
                  <a:lnTo>
                    <a:pt x="71" y="18"/>
                  </a:lnTo>
                  <a:lnTo>
                    <a:pt x="78" y="18"/>
                  </a:lnTo>
                  <a:lnTo>
                    <a:pt x="78" y="10"/>
                  </a:lnTo>
                  <a:lnTo>
                    <a:pt x="68" y="10"/>
                  </a:lnTo>
                  <a:lnTo>
                    <a:pt x="68" y="3"/>
                  </a:lnTo>
                  <a:lnTo>
                    <a:pt x="64" y="3"/>
                  </a:lnTo>
                  <a:lnTo>
                    <a:pt x="57" y="0"/>
                  </a:lnTo>
                  <a:lnTo>
                    <a:pt x="57" y="10"/>
                  </a:lnTo>
                  <a:lnTo>
                    <a:pt x="50" y="10"/>
                  </a:lnTo>
                  <a:lnTo>
                    <a:pt x="50" y="18"/>
                  </a:lnTo>
                  <a:lnTo>
                    <a:pt x="54" y="18"/>
                  </a:lnTo>
                  <a:lnTo>
                    <a:pt x="50" y="25"/>
                  </a:lnTo>
                  <a:lnTo>
                    <a:pt x="46" y="25"/>
                  </a:lnTo>
                  <a:lnTo>
                    <a:pt x="50" y="21"/>
                  </a:lnTo>
                  <a:lnTo>
                    <a:pt x="46" y="18"/>
                  </a:lnTo>
                  <a:lnTo>
                    <a:pt x="50" y="14"/>
                  </a:lnTo>
                  <a:close/>
                  <a:moveTo>
                    <a:pt x="43" y="18"/>
                  </a:moveTo>
                  <a:lnTo>
                    <a:pt x="39" y="21"/>
                  </a:lnTo>
                  <a:lnTo>
                    <a:pt x="36" y="18"/>
                  </a:lnTo>
                  <a:lnTo>
                    <a:pt x="39" y="14"/>
                  </a:lnTo>
                  <a:lnTo>
                    <a:pt x="43" y="18"/>
                  </a:lnTo>
                  <a:close/>
                  <a:moveTo>
                    <a:pt x="68" y="21"/>
                  </a:moveTo>
                  <a:lnTo>
                    <a:pt x="68" y="18"/>
                  </a:lnTo>
                  <a:lnTo>
                    <a:pt x="71" y="18"/>
                  </a:lnTo>
                  <a:lnTo>
                    <a:pt x="68" y="21"/>
                  </a:lnTo>
                  <a:close/>
                  <a:moveTo>
                    <a:pt x="43" y="32"/>
                  </a:moveTo>
                  <a:lnTo>
                    <a:pt x="43" y="32"/>
                  </a:lnTo>
                  <a:lnTo>
                    <a:pt x="36" y="32"/>
                  </a:lnTo>
                  <a:lnTo>
                    <a:pt x="39" y="28"/>
                  </a:lnTo>
                  <a:lnTo>
                    <a:pt x="43" y="32"/>
                  </a:lnTo>
                  <a:close/>
                  <a:moveTo>
                    <a:pt x="46" y="43"/>
                  </a:moveTo>
                  <a:lnTo>
                    <a:pt x="46" y="46"/>
                  </a:lnTo>
                  <a:lnTo>
                    <a:pt x="32" y="46"/>
                  </a:lnTo>
                  <a:lnTo>
                    <a:pt x="36" y="43"/>
                  </a:lnTo>
                  <a:lnTo>
                    <a:pt x="46" y="43"/>
                  </a:lnTo>
                  <a:close/>
                  <a:moveTo>
                    <a:pt x="18" y="53"/>
                  </a:moveTo>
                  <a:lnTo>
                    <a:pt x="25" y="53"/>
                  </a:lnTo>
                  <a:lnTo>
                    <a:pt x="36" y="53"/>
                  </a:lnTo>
                  <a:lnTo>
                    <a:pt x="18" y="53"/>
                  </a:lnTo>
                  <a:close/>
                  <a:moveTo>
                    <a:pt x="50" y="53"/>
                  </a:moveTo>
                  <a:lnTo>
                    <a:pt x="50" y="53"/>
                  </a:lnTo>
                  <a:lnTo>
                    <a:pt x="57" y="53"/>
                  </a:lnTo>
                  <a:lnTo>
                    <a:pt x="61" y="53"/>
                  </a:lnTo>
                  <a:lnTo>
                    <a:pt x="46" y="53"/>
                  </a:lnTo>
                  <a:lnTo>
                    <a:pt x="50"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3" name="Freeform 149"/>
            <p:cNvSpPr>
              <a:spLocks noEditPoints="1"/>
            </p:cNvSpPr>
            <p:nvPr/>
          </p:nvSpPr>
          <p:spPr bwMode="auto">
            <a:xfrm>
              <a:off x="2011" y="3761"/>
              <a:ext cx="82" cy="78"/>
            </a:xfrm>
            <a:custGeom>
              <a:avLst/>
              <a:gdLst>
                <a:gd name="T0" fmla="*/ 25 w 82"/>
                <a:gd name="T1" fmla="*/ 10 h 78"/>
                <a:gd name="T2" fmla="*/ 25 w 82"/>
                <a:gd name="T3" fmla="*/ 3 h 78"/>
                <a:gd name="T4" fmla="*/ 25 w 82"/>
                <a:gd name="T5" fmla="*/ 0 h 78"/>
                <a:gd name="T6" fmla="*/ 21 w 82"/>
                <a:gd name="T7" fmla="*/ 0 h 78"/>
                <a:gd name="T8" fmla="*/ 14 w 82"/>
                <a:gd name="T9" fmla="*/ 0 h 78"/>
                <a:gd name="T10" fmla="*/ 3 w 82"/>
                <a:gd name="T11" fmla="*/ 18 h 78"/>
                <a:gd name="T12" fmla="*/ 14 w 82"/>
                <a:gd name="T13" fmla="*/ 25 h 78"/>
                <a:gd name="T14" fmla="*/ 7 w 82"/>
                <a:gd name="T15" fmla="*/ 39 h 78"/>
                <a:gd name="T16" fmla="*/ 0 w 82"/>
                <a:gd name="T17" fmla="*/ 50 h 78"/>
                <a:gd name="T18" fmla="*/ 3 w 82"/>
                <a:gd name="T19" fmla="*/ 60 h 78"/>
                <a:gd name="T20" fmla="*/ 14 w 82"/>
                <a:gd name="T21" fmla="*/ 78 h 78"/>
                <a:gd name="T22" fmla="*/ 25 w 82"/>
                <a:gd name="T23" fmla="*/ 43 h 78"/>
                <a:gd name="T24" fmla="*/ 28 w 82"/>
                <a:gd name="T25" fmla="*/ 50 h 78"/>
                <a:gd name="T26" fmla="*/ 32 w 82"/>
                <a:gd name="T27" fmla="*/ 46 h 78"/>
                <a:gd name="T28" fmla="*/ 35 w 82"/>
                <a:gd name="T29" fmla="*/ 43 h 78"/>
                <a:gd name="T30" fmla="*/ 32 w 82"/>
                <a:gd name="T31" fmla="*/ 39 h 78"/>
                <a:gd name="T32" fmla="*/ 28 w 82"/>
                <a:gd name="T33" fmla="*/ 32 h 78"/>
                <a:gd name="T34" fmla="*/ 25 w 82"/>
                <a:gd name="T35" fmla="*/ 35 h 78"/>
                <a:gd name="T36" fmla="*/ 35 w 82"/>
                <a:gd name="T37" fmla="*/ 25 h 78"/>
                <a:gd name="T38" fmla="*/ 50 w 82"/>
                <a:gd name="T39" fmla="*/ 21 h 78"/>
                <a:gd name="T40" fmla="*/ 32 w 82"/>
                <a:gd name="T41" fmla="*/ 32 h 78"/>
                <a:gd name="T42" fmla="*/ 39 w 82"/>
                <a:gd name="T43" fmla="*/ 39 h 78"/>
                <a:gd name="T44" fmla="*/ 42 w 82"/>
                <a:gd name="T45" fmla="*/ 50 h 78"/>
                <a:gd name="T46" fmla="*/ 46 w 82"/>
                <a:gd name="T47" fmla="*/ 57 h 78"/>
                <a:gd name="T48" fmla="*/ 25 w 82"/>
                <a:gd name="T49" fmla="*/ 68 h 78"/>
                <a:gd name="T50" fmla="*/ 28 w 82"/>
                <a:gd name="T51" fmla="*/ 75 h 78"/>
                <a:gd name="T52" fmla="*/ 32 w 82"/>
                <a:gd name="T53" fmla="*/ 78 h 78"/>
                <a:gd name="T54" fmla="*/ 53 w 82"/>
                <a:gd name="T55" fmla="*/ 68 h 78"/>
                <a:gd name="T56" fmla="*/ 71 w 82"/>
                <a:gd name="T57" fmla="*/ 78 h 78"/>
                <a:gd name="T58" fmla="*/ 74 w 82"/>
                <a:gd name="T59" fmla="*/ 75 h 78"/>
                <a:gd name="T60" fmla="*/ 82 w 82"/>
                <a:gd name="T61" fmla="*/ 68 h 78"/>
                <a:gd name="T62" fmla="*/ 67 w 82"/>
                <a:gd name="T63" fmla="*/ 64 h 78"/>
                <a:gd name="T64" fmla="*/ 60 w 82"/>
                <a:gd name="T65" fmla="*/ 60 h 78"/>
                <a:gd name="T66" fmla="*/ 74 w 82"/>
                <a:gd name="T67" fmla="*/ 32 h 78"/>
                <a:gd name="T68" fmla="*/ 60 w 82"/>
                <a:gd name="T69" fmla="*/ 21 h 78"/>
                <a:gd name="T70" fmla="*/ 78 w 82"/>
                <a:gd name="T71" fmla="*/ 10 h 78"/>
                <a:gd name="T72" fmla="*/ 60 w 82"/>
                <a:gd name="T73" fmla="*/ 7 h 78"/>
                <a:gd name="T74" fmla="*/ 60 w 82"/>
                <a:gd name="T75" fmla="*/ 3 h 78"/>
                <a:gd name="T76" fmla="*/ 60 w 82"/>
                <a:gd name="T77" fmla="*/ 0 h 78"/>
                <a:gd name="T78" fmla="*/ 57 w 82"/>
                <a:gd name="T79" fmla="*/ 0 h 78"/>
                <a:gd name="T80" fmla="*/ 50 w 82"/>
                <a:gd name="T81" fmla="*/ 0 h 78"/>
                <a:gd name="T82" fmla="*/ 32 w 82"/>
                <a:gd name="T83" fmla="*/ 10 h 78"/>
                <a:gd name="T84" fmla="*/ 25 w 82"/>
                <a:gd name="T85" fmla="*/ 18 h 78"/>
                <a:gd name="T86" fmla="*/ 53 w 82"/>
                <a:gd name="T87" fmla="*/ 53 h 78"/>
                <a:gd name="T88" fmla="*/ 50 w 82"/>
                <a:gd name="T89" fmla="*/ 46 h 78"/>
                <a:gd name="T90" fmla="*/ 60 w 82"/>
                <a:gd name="T91" fmla="*/ 39 h 78"/>
                <a:gd name="T92" fmla="*/ 53 w 82"/>
                <a:gd name="T93" fmla="*/ 53 h 78"/>
                <a:gd name="T94" fmla="*/ 53 w 82"/>
                <a:gd name="T95" fmla="*/ 53 h 7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2"/>
                <a:gd name="T145" fmla="*/ 0 h 78"/>
                <a:gd name="T146" fmla="*/ 82 w 82"/>
                <a:gd name="T147" fmla="*/ 78 h 7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2" h="78">
                  <a:moveTo>
                    <a:pt x="25" y="18"/>
                  </a:moveTo>
                  <a:lnTo>
                    <a:pt x="25" y="10"/>
                  </a:lnTo>
                  <a:lnTo>
                    <a:pt x="25" y="3"/>
                  </a:lnTo>
                  <a:lnTo>
                    <a:pt x="25" y="0"/>
                  </a:lnTo>
                  <a:lnTo>
                    <a:pt x="21" y="0"/>
                  </a:lnTo>
                  <a:lnTo>
                    <a:pt x="14" y="0"/>
                  </a:lnTo>
                  <a:lnTo>
                    <a:pt x="14" y="18"/>
                  </a:lnTo>
                  <a:lnTo>
                    <a:pt x="3" y="18"/>
                  </a:lnTo>
                  <a:lnTo>
                    <a:pt x="3" y="25"/>
                  </a:lnTo>
                  <a:lnTo>
                    <a:pt x="14" y="25"/>
                  </a:lnTo>
                  <a:lnTo>
                    <a:pt x="7" y="39"/>
                  </a:lnTo>
                  <a:lnTo>
                    <a:pt x="0" y="50"/>
                  </a:lnTo>
                  <a:lnTo>
                    <a:pt x="3" y="60"/>
                  </a:lnTo>
                  <a:lnTo>
                    <a:pt x="14" y="46"/>
                  </a:lnTo>
                  <a:lnTo>
                    <a:pt x="14" y="78"/>
                  </a:lnTo>
                  <a:lnTo>
                    <a:pt x="25" y="78"/>
                  </a:lnTo>
                  <a:lnTo>
                    <a:pt x="25" y="43"/>
                  </a:lnTo>
                  <a:lnTo>
                    <a:pt x="28" y="50"/>
                  </a:lnTo>
                  <a:lnTo>
                    <a:pt x="32" y="46"/>
                  </a:lnTo>
                  <a:lnTo>
                    <a:pt x="35" y="43"/>
                  </a:lnTo>
                  <a:lnTo>
                    <a:pt x="32" y="39"/>
                  </a:lnTo>
                  <a:lnTo>
                    <a:pt x="28" y="32"/>
                  </a:lnTo>
                  <a:lnTo>
                    <a:pt x="25" y="35"/>
                  </a:lnTo>
                  <a:lnTo>
                    <a:pt x="25" y="25"/>
                  </a:lnTo>
                  <a:lnTo>
                    <a:pt x="35" y="25"/>
                  </a:lnTo>
                  <a:lnTo>
                    <a:pt x="35" y="21"/>
                  </a:lnTo>
                  <a:lnTo>
                    <a:pt x="50" y="21"/>
                  </a:lnTo>
                  <a:lnTo>
                    <a:pt x="50" y="32"/>
                  </a:lnTo>
                  <a:lnTo>
                    <a:pt x="32" y="32"/>
                  </a:lnTo>
                  <a:lnTo>
                    <a:pt x="32" y="39"/>
                  </a:lnTo>
                  <a:lnTo>
                    <a:pt x="39" y="39"/>
                  </a:lnTo>
                  <a:lnTo>
                    <a:pt x="42" y="50"/>
                  </a:lnTo>
                  <a:lnTo>
                    <a:pt x="46" y="57"/>
                  </a:lnTo>
                  <a:lnTo>
                    <a:pt x="39" y="64"/>
                  </a:lnTo>
                  <a:lnTo>
                    <a:pt x="25" y="68"/>
                  </a:lnTo>
                  <a:lnTo>
                    <a:pt x="28" y="75"/>
                  </a:lnTo>
                  <a:lnTo>
                    <a:pt x="32" y="78"/>
                  </a:lnTo>
                  <a:lnTo>
                    <a:pt x="53" y="68"/>
                  </a:lnTo>
                  <a:lnTo>
                    <a:pt x="71" y="78"/>
                  </a:lnTo>
                  <a:lnTo>
                    <a:pt x="74" y="75"/>
                  </a:lnTo>
                  <a:lnTo>
                    <a:pt x="82" y="68"/>
                  </a:lnTo>
                  <a:lnTo>
                    <a:pt x="67" y="64"/>
                  </a:lnTo>
                  <a:lnTo>
                    <a:pt x="60" y="60"/>
                  </a:lnTo>
                  <a:lnTo>
                    <a:pt x="67" y="46"/>
                  </a:lnTo>
                  <a:lnTo>
                    <a:pt x="74" y="32"/>
                  </a:lnTo>
                  <a:lnTo>
                    <a:pt x="60" y="32"/>
                  </a:lnTo>
                  <a:lnTo>
                    <a:pt x="60" y="21"/>
                  </a:lnTo>
                  <a:lnTo>
                    <a:pt x="78" y="21"/>
                  </a:lnTo>
                  <a:lnTo>
                    <a:pt x="78" y="10"/>
                  </a:lnTo>
                  <a:lnTo>
                    <a:pt x="60" y="10"/>
                  </a:lnTo>
                  <a:lnTo>
                    <a:pt x="60" y="7"/>
                  </a:lnTo>
                  <a:lnTo>
                    <a:pt x="60" y="3"/>
                  </a:lnTo>
                  <a:lnTo>
                    <a:pt x="60" y="0"/>
                  </a:lnTo>
                  <a:lnTo>
                    <a:pt x="57" y="0"/>
                  </a:lnTo>
                  <a:lnTo>
                    <a:pt x="50" y="0"/>
                  </a:lnTo>
                  <a:lnTo>
                    <a:pt x="50" y="10"/>
                  </a:lnTo>
                  <a:lnTo>
                    <a:pt x="32" y="10"/>
                  </a:lnTo>
                  <a:lnTo>
                    <a:pt x="32" y="18"/>
                  </a:lnTo>
                  <a:lnTo>
                    <a:pt x="25" y="18"/>
                  </a:lnTo>
                  <a:close/>
                  <a:moveTo>
                    <a:pt x="53" y="53"/>
                  </a:moveTo>
                  <a:lnTo>
                    <a:pt x="53" y="53"/>
                  </a:lnTo>
                  <a:lnTo>
                    <a:pt x="50" y="46"/>
                  </a:lnTo>
                  <a:lnTo>
                    <a:pt x="50" y="39"/>
                  </a:lnTo>
                  <a:lnTo>
                    <a:pt x="60" y="39"/>
                  </a:lnTo>
                  <a:lnTo>
                    <a:pt x="53" y="5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4" name="Freeform 150"/>
            <p:cNvSpPr>
              <a:spLocks noEditPoints="1"/>
            </p:cNvSpPr>
            <p:nvPr/>
          </p:nvSpPr>
          <p:spPr bwMode="auto">
            <a:xfrm>
              <a:off x="2096" y="3761"/>
              <a:ext cx="79" cy="78"/>
            </a:xfrm>
            <a:custGeom>
              <a:avLst/>
              <a:gdLst>
                <a:gd name="T0" fmla="*/ 32 w 79"/>
                <a:gd name="T1" fmla="*/ 18 h 78"/>
                <a:gd name="T2" fmla="*/ 46 w 79"/>
                <a:gd name="T3" fmla="*/ 25 h 78"/>
                <a:gd name="T4" fmla="*/ 54 w 79"/>
                <a:gd name="T5" fmla="*/ 18 h 78"/>
                <a:gd name="T6" fmla="*/ 75 w 79"/>
                <a:gd name="T7" fmla="*/ 10 h 78"/>
                <a:gd name="T8" fmla="*/ 54 w 79"/>
                <a:gd name="T9" fmla="*/ 7 h 78"/>
                <a:gd name="T10" fmla="*/ 54 w 79"/>
                <a:gd name="T11" fmla="*/ 3 h 78"/>
                <a:gd name="T12" fmla="*/ 54 w 79"/>
                <a:gd name="T13" fmla="*/ 0 h 78"/>
                <a:gd name="T14" fmla="*/ 46 w 79"/>
                <a:gd name="T15" fmla="*/ 0 h 78"/>
                <a:gd name="T16" fmla="*/ 46 w 79"/>
                <a:gd name="T17" fmla="*/ 10 h 78"/>
                <a:gd name="T18" fmla="*/ 32 w 79"/>
                <a:gd name="T19" fmla="*/ 7 h 78"/>
                <a:gd name="T20" fmla="*/ 32 w 79"/>
                <a:gd name="T21" fmla="*/ 3 h 78"/>
                <a:gd name="T22" fmla="*/ 32 w 79"/>
                <a:gd name="T23" fmla="*/ 0 h 78"/>
                <a:gd name="T24" fmla="*/ 32 w 79"/>
                <a:gd name="T25" fmla="*/ 0 h 78"/>
                <a:gd name="T26" fmla="*/ 22 w 79"/>
                <a:gd name="T27" fmla="*/ 0 h 78"/>
                <a:gd name="T28" fmla="*/ 4 w 79"/>
                <a:gd name="T29" fmla="*/ 10 h 78"/>
                <a:gd name="T30" fmla="*/ 22 w 79"/>
                <a:gd name="T31" fmla="*/ 18 h 78"/>
                <a:gd name="T32" fmla="*/ 22 w 79"/>
                <a:gd name="T33" fmla="*/ 25 h 78"/>
                <a:gd name="T34" fmla="*/ 32 w 79"/>
                <a:gd name="T35" fmla="*/ 25 h 78"/>
                <a:gd name="T36" fmla="*/ 29 w 79"/>
                <a:gd name="T37" fmla="*/ 53 h 78"/>
                <a:gd name="T38" fmla="*/ 32 w 79"/>
                <a:gd name="T39" fmla="*/ 60 h 78"/>
                <a:gd name="T40" fmla="*/ 36 w 79"/>
                <a:gd name="T41" fmla="*/ 60 h 78"/>
                <a:gd name="T42" fmla="*/ 39 w 79"/>
                <a:gd name="T43" fmla="*/ 57 h 78"/>
                <a:gd name="T44" fmla="*/ 39 w 79"/>
                <a:gd name="T45" fmla="*/ 68 h 78"/>
                <a:gd name="T46" fmla="*/ 50 w 79"/>
                <a:gd name="T47" fmla="*/ 75 h 78"/>
                <a:gd name="T48" fmla="*/ 64 w 79"/>
                <a:gd name="T49" fmla="*/ 75 h 78"/>
                <a:gd name="T50" fmla="*/ 75 w 79"/>
                <a:gd name="T51" fmla="*/ 75 h 78"/>
                <a:gd name="T52" fmla="*/ 79 w 79"/>
                <a:gd name="T53" fmla="*/ 60 h 78"/>
                <a:gd name="T54" fmla="*/ 68 w 79"/>
                <a:gd name="T55" fmla="*/ 57 h 78"/>
                <a:gd name="T56" fmla="*/ 64 w 79"/>
                <a:gd name="T57" fmla="*/ 68 h 78"/>
                <a:gd name="T58" fmla="*/ 54 w 79"/>
                <a:gd name="T59" fmla="*/ 68 h 78"/>
                <a:gd name="T60" fmla="*/ 50 w 79"/>
                <a:gd name="T61" fmla="*/ 60 h 78"/>
                <a:gd name="T62" fmla="*/ 50 w 79"/>
                <a:gd name="T63" fmla="*/ 53 h 78"/>
                <a:gd name="T64" fmla="*/ 64 w 79"/>
                <a:gd name="T65" fmla="*/ 28 h 78"/>
                <a:gd name="T66" fmla="*/ 54 w 79"/>
                <a:gd name="T67" fmla="*/ 39 h 78"/>
                <a:gd name="T68" fmla="*/ 54 w 79"/>
                <a:gd name="T69" fmla="*/ 32 h 78"/>
                <a:gd name="T70" fmla="*/ 54 w 79"/>
                <a:gd name="T71" fmla="*/ 28 h 78"/>
                <a:gd name="T72" fmla="*/ 54 w 79"/>
                <a:gd name="T73" fmla="*/ 28 h 78"/>
                <a:gd name="T74" fmla="*/ 39 w 79"/>
                <a:gd name="T75" fmla="*/ 25 h 78"/>
                <a:gd name="T76" fmla="*/ 39 w 79"/>
                <a:gd name="T77" fmla="*/ 46 h 78"/>
                <a:gd name="T78" fmla="*/ 29 w 79"/>
                <a:gd name="T79" fmla="*/ 53 h 78"/>
                <a:gd name="T80" fmla="*/ 29 w 79"/>
                <a:gd name="T81" fmla="*/ 53 h 78"/>
                <a:gd name="T82" fmla="*/ 32 w 79"/>
                <a:gd name="T83" fmla="*/ 35 h 78"/>
                <a:gd name="T84" fmla="*/ 36 w 79"/>
                <a:gd name="T85" fmla="*/ 32 h 78"/>
                <a:gd name="T86" fmla="*/ 25 w 79"/>
                <a:gd name="T87" fmla="*/ 25 h 78"/>
                <a:gd name="T88" fmla="*/ 25 w 79"/>
                <a:gd name="T89" fmla="*/ 28 h 78"/>
                <a:gd name="T90" fmla="*/ 18 w 79"/>
                <a:gd name="T91" fmla="*/ 35 h 78"/>
                <a:gd name="T92" fmla="*/ 18 w 79"/>
                <a:gd name="T93" fmla="*/ 39 h 78"/>
                <a:gd name="T94" fmla="*/ 7 w 79"/>
                <a:gd name="T95" fmla="*/ 60 h 78"/>
                <a:gd name="T96" fmla="*/ 18 w 79"/>
                <a:gd name="T97" fmla="*/ 50 h 78"/>
                <a:gd name="T98" fmla="*/ 29 w 79"/>
                <a:gd name="T99" fmla="*/ 78 h 78"/>
                <a:gd name="T100" fmla="*/ 29 w 79"/>
                <a:gd name="T101" fmla="*/ 43 h 78"/>
                <a:gd name="T102" fmla="*/ 32 w 79"/>
                <a:gd name="T103" fmla="*/ 35 h 7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
                <a:gd name="T157" fmla="*/ 0 h 78"/>
                <a:gd name="T158" fmla="*/ 79 w 79"/>
                <a:gd name="T159" fmla="*/ 78 h 7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 h="78">
                  <a:moveTo>
                    <a:pt x="32" y="25"/>
                  </a:moveTo>
                  <a:lnTo>
                    <a:pt x="32" y="18"/>
                  </a:lnTo>
                  <a:lnTo>
                    <a:pt x="46" y="18"/>
                  </a:lnTo>
                  <a:lnTo>
                    <a:pt x="46" y="25"/>
                  </a:lnTo>
                  <a:lnTo>
                    <a:pt x="54" y="25"/>
                  </a:lnTo>
                  <a:lnTo>
                    <a:pt x="54" y="18"/>
                  </a:lnTo>
                  <a:lnTo>
                    <a:pt x="75" y="18"/>
                  </a:lnTo>
                  <a:lnTo>
                    <a:pt x="75" y="10"/>
                  </a:lnTo>
                  <a:lnTo>
                    <a:pt x="54" y="10"/>
                  </a:lnTo>
                  <a:lnTo>
                    <a:pt x="54" y="7"/>
                  </a:lnTo>
                  <a:lnTo>
                    <a:pt x="54" y="3"/>
                  </a:lnTo>
                  <a:lnTo>
                    <a:pt x="54" y="0"/>
                  </a:lnTo>
                  <a:lnTo>
                    <a:pt x="46" y="0"/>
                  </a:lnTo>
                  <a:lnTo>
                    <a:pt x="46" y="10"/>
                  </a:lnTo>
                  <a:lnTo>
                    <a:pt x="32" y="10"/>
                  </a:lnTo>
                  <a:lnTo>
                    <a:pt x="32" y="7"/>
                  </a:lnTo>
                  <a:lnTo>
                    <a:pt x="32" y="3"/>
                  </a:lnTo>
                  <a:lnTo>
                    <a:pt x="32" y="0"/>
                  </a:lnTo>
                  <a:lnTo>
                    <a:pt x="25" y="0"/>
                  </a:lnTo>
                  <a:lnTo>
                    <a:pt x="22" y="0"/>
                  </a:lnTo>
                  <a:lnTo>
                    <a:pt x="22" y="10"/>
                  </a:lnTo>
                  <a:lnTo>
                    <a:pt x="4" y="10"/>
                  </a:lnTo>
                  <a:lnTo>
                    <a:pt x="4" y="18"/>
                  </a:lnTo>
                  <a:lnTo>
                    <a:pt x="22" y="18"/>
                  </a:lnTo>
                  <a:lnTo>
                    <a:pt x="22" y="25"/>
                  </a:lnTo>
                  <a:lnTo>
                    <a:pt x="32" y="25"/>
                  </a:lnTo>
                  <a:close/>
                  <a:moveTo>
                    <a:pt x="29" y="53"/>
                  </a:moveTo>
                  <a:lnTo>
                    <a:pt x="29" y="53"/>
                  </a:lnTo>
                  <a:lnTo>
                    <a:pt x="32" y="60"/>
                  </a:lnTo>
                  <a:lnTo>
                    <a:pt x="36" y="60"/>
                  </a:lnTo>
                  <a:lnTo>
                    <a:pt x="39" y="57"/>
                  </a:lnTo>
                  <a:lnTo>
                    <a:pt x="39" y="68"/>
                  </a:lnTo>
                  <a:lnTo>
                    <a:pt x="43" y="75"/>
                  </a:lnTo>
                  <a:lnTo>
                    <a:pt x="50" y="75"/>
                  </a:lnTo>
                  <a:lnTo>
                    <a:pt x="64" y="75"/>
                  </a:lnTo>
                  <a:lnTo>
                    <a:pt x="75" y="75"/>
                  </a:lnTo>
                  <a:lnTo>
                    <a:pt x="79" y="60"/>
                  </a:lnTo>
                  <a:lnTo>
                    <a:pt x="68" y="57"/>
                  </a:lnTo>
                  <a:lnTo>
                    <a:pt x="68" y="64"/>
                  </a:lnTo>
                  <a:lnTo>
                    <a:pt x="64" y="68"/>
                  </a:lnTo>
                  <a:lnTo>
                    <a:pt x="54" y="68"/>
                  </a:lnTo>
                  <a:lnTo>
                    <a:pt x="54" y="64"/>
                  </a:lnTo>
                  <a:lnTo>
                    <a:pt x="50" y="60"/>
                  </a:lnTo>
                  <a:lnTo>
                    <a:pt x="50" y="53"/>
                  </a:lnTo>
                  <a:lnTo>
                    <a:pt x="75" y="35"/>
                  </a:lnTo>
                  <a:lnTo>
                    <a:pt x="64" y="28"/>
                  </a:lnTo>
                  <a:lnTo>
                    <a:pt x="54" y="39"/>
                  </a:lnTo>
                  <a:lnTo>
                    <a:pt x="54" y="32"/>
                  </a:lnTo>
                  <a:lnTo>
                    <a:pt x="54" y="28"/>
                  </a:lnTo>
                  <a:lnTo>
                    <a:pt x="46" y="25"/>
                  </a:lnTo>
                  <a:lnTo>
                    <a:pt x="39" y="25"/>
                  </a:lnTo>
                  <a:lnTo>
                    <a:pt x="39" y="46"/>
                  </a:lnTo>
                  <a:lnTo>
                    <a:pt x="29" y="53"/>
                  </a:lnTo>
                  <a:close/>
                  <a:moveTo>
                    <a:pt x="32" y="35"/>
                  </a:moveTo>
                  <a:lnTo>
                    <a:pt x="32" y="35"/>
                  </a:lnTo>
                  <a:lnTo>
                    <a:pt x="36" y="32"/>
                  </a:lnTo>
                  <a:lnTo>
                    <a:pt x="25" y="25"/>
                  </a:lnTo>
                  <a:lnTo>
                    <a:pt x="25" y="28"/>
                  </a:lnTo>
                  <a:lnTo>
                    <a:pt x="18" y="35"/>
                  </a:lnTo>
                  <a:lnTo>
                    <a:pt x="18" y="39"/>
                  </a:lnTo>
                  <a:lnTo>
                    <a:pt x="0" y="53"/>
                  </a:lnTo>
                  <a:lnTo>
                    <a:pt x="7" y="60"/>
                  </a:lnTo>
                  <a:lnTo>
                    <a:pt x="18" y="50"/>
                  </a:lnTo>
                  <a:lnTo>
                    <a:pt x="18" y="78"/>
                  </a:lnTo>
                  <a:lnTo>
                    <a:pt x="29" y="78"/>
                  </a:lnTo>
                  <a:lnTo>
                    <a:pt x="29" y="43"/>
                  </a:lnTo>
                  <a:lnTo>
                    <a:pt x="32"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sp>
          <p:nvSpPr>
            <p:cNvPr id="155" name="Freeform 151"/>
            <p:cNvSpPr>
              <a:spLocks/>
            </p:cNvSpPr>
            <p:nvPr/>
          </p:nvSpPr>
          <p:spPr bwMode="auto">
            <a:xfrm>
              <a:off x="2185" y="3761"/>
              <a:ext cx="75" cy="78"/>
            </a:xfrm>
            <a:custGeom>
              <a:avLst/>
              <a:gdLst>
                <a:gd name="T0" fmla="*/ 43 w 75"/>
                <a:gd name="T1" fmla="*/ 10 h 78"/>
                <a:gd name="T2" fmla="*/ 43 w 75"/>
                <a:gd name="T3" fmla="*/ 10 h 78"/>
                <a:gd name="T4" fmla="*/ 43 w 75"/>
                <a:gd name="T5" fmla="*/ 7 h 78"/>
                <a:gd name="T6" fmla="*/ 43 w 75"/>
                <a:gd name="T7" fmla="*/ 7 h 78"/>
                <a:gd name="T8" fmla="*/ 43 w 75"/>
                <a:gd name="T9" fmla="*/ 0 h 78"/>
                <a:gd name="T10" fmla="*/ 43 w 75"/>
                <a:gd name="T11" fmla="*/ 0 h 78"/>
                <a:gd name="T12" fmla="*/ 36 w 75"/>
                <a:gd name="T13" fmla="*/ 3 h 78"/>
                <a:gd name="T14" fmla="*/ 36 w 75"/>
                <a:gd name="T15" fmla="*/ 3 h 78"/>
                <a:gd name="T16" fmla="*/ 29 w 75"/>
                <a:gd name="T17" fmla="*/ 3 h 78"/>
                <a:gd name="T18" fmla="*/ 29 w 75"/>
                <a:gd name="T19" fmla="*/ 3 h 78"/>
                <a:gd name="T20" fmla="*/ 32 w 75"/>
                <a:gd name="T21" fmla="*/ 14 h 78"/>
                <a:gd name="T22" fmla="*/ 0 w 75"/>
                <a:gd name="T23" fmla="*/ 14 h 78"/>
                <a:gd name="T24" fmla="*/ 0 w 75"/>
                <a:gd name="T25" fmla="*/ 25 h 78"/>
                <a:gd name="T26" fmla="*/ 32 w 75"/>
                <a:gd name="T27" fmla="*/ 25 h 78"/>
                <a:gd name="T28" fmla="*/ 32 w 75"/>
                <a:gd name="T29" fmla="*/ 32 h 78"/>
                <a:gd name="T30" fmla="*/ 7 w 75"/>
                <a:gd name="T31" fmla="*/ 32 h 78"/>
                <a:gd name="T32" fmla="*/ 7 w 75"/>
                <a:gd name="T33" fmla="*/ 71 h 78"/>
                <a:gd name="T34" fmla="*/ 22 w 75"/>
                <a:gd name="T35" fmla="*/ 71 h 78"/>
                <a:gd name="T36" fmla="*/ 22 w 75"/>
                <a:gd name="T37" fmla="*/ 43 h 78"/>
                <a:gd name="T38" fmla="*/ 32 w 75"/>
                <a:gd name="T39" fmla="*/ 43 h 78"/>
                <a:gd name="T40" fmla="*/ 32 w 75"/>
                <a:gd name="T41" fmla="*/ 78 h 78"/>
                <a:gd name="T42" fmla="*/ 43 w 75"/>
                <a:gd name="T43" fmla="*/ 78 h 78"/>
                <a:gd name="T44" fmla="*/ 43 w 75"/>
                <a:gd name="T45" fmla="*/ 43 h 78"/>
                <a:gd name="T46" fmla="*/ 54 w 75"/>
                <a:gd name="T47" fmla="*/ 43 h 78"/>
                <a:gd name="T48" fmla="*/ 54 w 75"/>
                <a:gd name="T49" fmla="*/ 57 h 78"/>
                <a:gd name="T50" fmla="*/ 54 w 75"/>
                <a:gd name="T51" fmla="*/ 57 h 78"/>
                <a:gd name="T52" fmla="*/ 54 w 75"/>
                <a:gd name="T53" fmla="*/ 60 h 78"/>
                <a:gd name="T54" fmla="*/ 47 w 75"/>
                <a:gd name="T55" fmla="*/ 60 h 78"/>
                <a:gd name="T56" fmla="*/ 47 w 75"/>
                <a:gd name="T57" fmla="*/ 60 h 78"/>
                <a:gd name="T58" fmla="*/ 47 w 75"/>
                <a:gd name="T59" fmla="*/ 71 h 78"/>
                <a:gd name="T60" fmla="*/ 47 w 75"/>
                <a:gd name="T61" fmla="*/ 71 h 78"/>
                <a:gd name="T62" fmla="*/ 61 w 75"/>
                <a:gd name="T63" fmla="*/ 71 h 78"/>
                <a:gd name="T64" fmla="*/ 64 w 75"/>
                <a:gd name="T65" fmla="*/ 68 h 78"/>
                <a:gd name="T66" fmla="*/ 64 w 75"/>
                <a:gd name="T67" fmla="*/ 64 h 78"/>
                <a:gd name="T68" fmla="*/ 64 w 75"/>
                <a:gd name="T69" fmla="*/ 32 h 78"/>
                <a:gd name="T70" fmla="*/ 43 w 75"/>
                <a:gd name="T71" fmla="*/ 32 h 78"/>
                <a:gd name="T72" fmla="*/ 43 w 75"/>
                <a:gd name="T73" fmla="*/ 25 h 78"/>
                <a:gd name="T74" fmla="*/ 75 w 75"/>
                <a:gd name="T75" fmla="*/ 25 h 78"/>
                <a:gd name="T76" fmla="*/ 75 w 75"/>
                <a:gd name="T77" fmla="*/ 14 h 78"/>
                <a:gd name="T78" fmla="*/ 36 w 75"/>
                <a:gd name="T79" fmla="*/ 14 h 78"/>
                <a:gd name="T80" fmla="*/ 36 w 75"/>
                <a:gd name="T81" fmla="*/ 14 h 78"/>
                <a:gd name="T82" fmla="*/ 43 w 75"/>
                <a:gd name="T83" fmla="*/ 10 h 78"/>
                <a:gd name="T84" fmla="*/ 43 w 75"/>
                <a:gd name="T85" fmla="*/ 10 h 78"/>
                <a:gd name="T86" fmla="*/ 43 w 75"/>
                <a:gd name="T87" fmla="*/ 10 h 7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5"/>
                <a:gd name="T133" fmla="*/ 0 h 78"/>
                <a:gd name="T134" fmla="*/ 75 w 75"/>
                <a:gd name="T135" fmla="*/ 78 h 78"/>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5" h="78">
                  <a:moveTo>
                    <a:pt x="43" y="10"/>
                  </a:moveTo>
                  <a:lnTo>
                    <a:pt x="43" y="10"/>
                  </a:lnTo>
                  <a:lnTo>
                    <a:pt x="43" y="7"/>
                  </a:lnTo>
                  <a:lnTo>
                    <a:pt x="43" y="0"/>
                  </a:lnTo>
                  <a:lnTo>
                    <a:pt x="36" y="3"/>
                  </a:lnTo>
                  <a:lnTo>
                    <a:pt x="29" y="3"/>
                  </a:lnTo>
                  <a:lnTo>
                    <a:pt x="32" y="14"/>
                  </a:lnTo>
                  <a:lnTo>
                    <a:pt x="0" y="14"/>
                  </a:lnTo>
                  <a:lnTo>
                    <a:pt x="0" y="25"/>
                  </a:lnTo>
                  <a:lnTo>
                    <a:pt x="32" y="25"/>
                  </a:lnTo>
                  <a:lnTo>
                    <a:pt x="32" y="32"/>
                  </a:lnTo>
                  <a:lnTo>
                    <a:pt x="7" y="32"/>
                  </a:lnTo>
                  <a:lnTo>
                    <a:pt x="7" y="71"/>
                  </a:lnTo>
                  <a:lnTo>
                    <a:pt x="22" y="71"/>
                  </a:lnTo>
                  <a:lnTo>
                    <a:pt x="22" y="43"/>
                  </a:lnTo>
                  <a:lnTo>
                    <a:pt x="32" y="43"/>
                  </a:lnTo>
                  <a:lnTo>
                    <a:pt x="32" y="78"/>
                  </a:lnTo>
                  <a:lnTo>
                    <a:pt x="43" y="78"/>
                  </a:lnTo>
                  <a:lnTo>
                    <a:pt x="43" y="43"/>
                  </a:lnTo>
                  <a:lnTo>
                    <a:pt x="54" y="43"/>
                  </a:lnTo>
                  <a:lnTo>
                    <a:pt x="54" y="57"/>
                  </a:lnTo>
                  <a:lnTo>
                    <a:pt x="54" y="60"/>
                  </a:lnTo>
                  <a:lnTo>
                    <a:pt x="47" y="60"/>
                  </a:lnTo>
                  <a:lnTo>
                    <a:pt x="47" y="71"/>
                  </a:lnTo>
                  <a:lnTo>
                    <a:pt x="61" y="71"/>
                  </a:lnTo>
                  <a:lnTo>
                    <a:pt x="64" y="68"/>
                  </a:lnTo>
                  <a:lnTo>
                    <a:pt x="64" y="64"/>
                  </a:lnTo>
                  <a:lnTo>
                    <a:pt x="64" y="32"/>
                  </a:lnTo>
                  <a:lnTo>
                    <a:pt x="43" y="32"/>
                  </a:lnTo>
                  <a:lnTo>
                    <a:pt x="43" y="25"/>
                  </a:lnTo>
                  <a:lnTo>
                    <a:pt x="75" y="25"/>
                  </a:lnTo>
                  <a:lnTo>
                    <a:pt x="75" y="14"/>
                  </a:lnTo>
                  <a:lnTo>
                    <a:pt x="36" y="14"/>
                  </a:lnTo>
                  <a:lnTo>
                    <a:pt x="43"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595">
                <a:solidFill>
                  <a:srgbClr val="000000"/>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414468697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已建成营业品牌经销店的业务概况</a:t>
            </a:r>
            <a:r>
              <a:rPr lang="en-US" altLang="zh-CN" dirty="0">
                <a:latin typeface="微软雅黑" panose="020B0503020204020204" pitchFamily="34" charset="-122"/>
                <a:ea typeface="微软雅黑" panose="020B0503020204020204" pitchFamily="34" charset="-122"/>
              </a:rPr>
              <a:t>: </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7</a:t>
            </a:fld>
            <a:endParaRPr lang="sv-SE">
              <a:latin typeface="微软雅黑" panose="020B0503020204020204" pitchFamily="34" charset="-122"/>
              <a:ea typeface="微软雅黑" panose="020B0503020204020204" pitchFamily="34" charset="-122"/>
            </a:endParaRPr>
          </a:p>
        </p:txBody>
      </p:sp>
      <p:graphicFrame>
        <p:nvGraphicFramePr>
          <p:cNvPr id="9" name="Group 83"/>
          <p:cNvGraphicFramePr>
            <a:graphicFrameLocks noGrp="1"/>
          </p:cNvGraphicFramePr>
          <p:nvPr>
            <p:ph sz="half" idx="4294967295"/>
            <p:extLst>
              <p:ext uri="{D42A27DB-BD31-4B8C-83A1-F6EECF244321}">
                <p14:modId xmlns:p14="http://schemas.microsoft.com/office/powerpoint/2010/main" val="2200802321"/>
              </p:ext>
            </p:extLst>
          </p:nvPr>
        </p:nvGraphicFramePr>
        <p:xfrm>
          <a:off x="396875" y="1735577"/>
          <a:ext cx="8280466" cy="3069785"/>
        </p:xfrm>
        <a:graphic>
          <a:graphicData uri="http://schemas.openxmlformats.org/drawingml/2006/table">
            <a:tbl>
              <a:tblPr/>
              <a:tblGrid>
                <a:gridCol w="2127062">
                  <a:extLst>
                    <a:ext uri="{9D8B030D-6E8A-4147-A177-3AD203B41FA5}">
                      <a16:colId xmlns:a16="http://schemas.microsoft.com/office/drawing/2014/main" val="20000"/>
                    </a:ext>
                  </a:extLst>
                </a:gridCol>
                <a:gridCol w="1368352">
                  <a:extLst>
                    <a:ext uri="{9D8B030D-6E8A-4147-A177-3AD203B41FA5}">
                      <a16:colId xmlns:a16="http://schemas.microsoft.com/office/drawing/2014/main" val="20001"/>
                    </a:ext>
                  </a:extLst>
                </a:gridCol>
                <a:gridCol w="1442048">
                  <a:extLst>
                    <a:ext uri="{9D8B030D-6E8A-4147-A177-3AD203B41FA5}">
                      <a16:colId xmlns:a16="http://schemas.microsoft.com/office/drawing/2014/main" val="20002"/>
                    </a:ext>
                  </a:extLst>
                </a:gridCol>
                <a:gridCol w="1671502">
                  <a:extLst>
                    <a:ext uri="{9D8B030D-6E8A-4147-A177-3AD203B41FA5}">
                      <a16:colId xmlns:a16="http://schemas.microsoft.com/office/drawing/2014/main" val="20003"/>
                    </a:ext>
                  </a:extLst>
                </a:gridCol>
                <a:gridCol w="1671502">
                  <a:extLst>
                    <a:ext uri="{9D8B030D-6E8A-4147-A177-3AD203B41FA5}">
                      <a16:colId xmlns:a16="http://schemas.microsoft.com/office/drawing/2014/main" val="20004"/>
                    </a:ext>
                  </a:extLst>
                </a:gridCol>
              </a:tblGrid>
              <a:tr h="7090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名称</a:t>
                      </a: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营品牌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开业时间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设施类型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店</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展厅</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维修中心</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营范围</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进口车</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国产车</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7729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953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53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53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53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53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964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023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16622190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在建品牌经销店的业务概况</a:t>
            </a:r>
            <a:r>
              <a:rPr lang="en-US" altLang="zh-CN" dirty="0">
                <a:latin typeface="微软雅黑" panose="020B0503020204020204" pitchFamily="34" charset="-122"/>
                <a:ea typeface="微软雅黑" panose="020B0503020204020204" pitchFamily="34" charset="-122"/>
              </a:rPr>
              <a:t>: </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18</a:t>
            </a:fld>
            <a:endParaRPr lang="sv-SE">
              <a:latin typeface="微软雅黑" panose="020B0503020204020204" pitchFamily="34" charset="-122"/>
              <a:ea typeface="微软雅黑" panose="020B0503020204020204" pitchFamily="34" charset="-122"/>
            </a:endParaRPr>
          </a:p>
        </p:txBody>
      </p:sp>
      <p:graphicFrame>
        <p:nvGraphicFramePr>
          <p:cNvPr id="9" name="Group 83"/>
          <p:cNvGraphicFramePr>
            <a:graphicFrameLocks noGrp="1"/>
          </p:cNvGraphicFramePr>
          <p:nvPr>
            <p:ph sz="half" idx="4294967295"/>
            <p:extLst>
              <p:ext uri="{D42A27DB-BD31-4B8C-83A1-F6EECF244321}">
                <p14:modId xmlns:p14="http://schemas.microsoft.com/office/powerpoint/2010/main" val="51823889"/>
              </p:ext>
            </p:extLst>
          </p:nvPr>
        </p:nvGraphicFramePr>
        <p:xfrm>
          <a:off x="360363" y="1724406"/>
          <a:ext cx="8389937" cy="3036383"/>
        </p:xfrm>
        <a:graphic>
          <a:graphicData uri="http://schemas.openxmlformats.org/drawingml/2006/table">
            <a:tbl>
              <a:tblPr/>
              <a:tblGrid>
                <a:gridCol w="2231546">
                  <a:extLst>
                    <a:ext uri="{9D8B030D-6E8A-4147-A177-3AD203B41FA5}">
                      <a16:colId xmlns:a16="http://schemas.microsoft.com/office/drawing/2014/main" val="20000"/>
                    </a:ext>
                  </a:extLst>
                </a:gridCol>
                <a:gridCol w="1540870">
                  <a:extLst>
                    <a:ext uri="{9D8B030D-6E8A-4147-A177-3AD203B41FA5}">
                      <a16:colId xmlns:a16="http://schemas.microsoft.com/office/drawing/2014/main" val="20001"/>
                    </a:ext>
                  </a:extLst>
                </a:gridCol>
                <a:gridCol w="1230321">
                  <a:extLst>
                    <a:ext uri="{9D8B030D-6E8A-4147-A177-3AD203B41FA5}">
                      <a16:colId xmlns:a16="http://schemas.microsoft.com/office/drawing/2014/main" val="20002"/>
                    </a:ext>
                  </a:extLst>
                </a:gridCol>
                <a:gridCol w="1693600">
                  <a:extLst>
                    <a:ext uri="{9D8B030D-6E8A-4147-A177-3AD203B41FA5}">
                      <a16:colId xmlns:a16="http://schemas.microsoft.com/office/drawing/2014/main" val="20003"/>
                    </a:ext>
                  </a:extLst>
                </a:gridCol>
                <a:gridCol w="1693600">
                  <a:extLst>
                    <a:ext uri="{9D8B030D-6E8A-4147-A177-3AD203B41FA5}">
                      <a16:colId xmlns:a16="http://schemas.microsoft.com/office/drawing/2014/main" val="20004"/>
                    </a:ext>
                  </a:extLst>
                </a:gridCol>
              </a:tblGrid>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名称</a:t>
                      </a: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营品牌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授权时间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设施类型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店</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展厅</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商超店</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维修中心</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营范围</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进口车</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国产车</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4232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64823" marR="3241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55779926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526" name="Group 118"/>
          <p:cNvGraphicFramePr>
            <a:graphicFrameLocks noGrp="1"/>
          </p:cNvGraphicFramePr>
          <p:nvPr>
            <p:ph sz="quarter" idx="35"/>
            <p:extLst>
              <p:ext uri="{D42A27DB-BD31-4B8C-83A1-F6EECF244321}">
                <p14:modId xmlns:p14="http://schemas.microsoft.com/office/powerpoint/2010/main" val="3729520328"/>
              </p:ext>
            </p:extLst>
          </p:nvPr>
        </p:nvGraphicFramePr>
        <p:xfrm>
          <a:off x="360363" y="1347788"/>
          <a:ext cx="8470129" cy="2671531"/>
        </p:xfrm>
        <a:graphic>
          <a:graphicData uri="http://schemas.openxmlformats.org/drawingml/2006/table">
            <a:tbl>
              <a:tblPr/>
              <a:tblGrid>
                <a:gridCol w="851104">
                  <a:extLst>
                    <a:ext uri="{9D8B030D-6E8A-4147-A177-3AD203B41FA5}">
                      <a16:colId xmlns:a16="http://schemas.microsoft.com/office/drawing/2014/main" val="20000"/>
                    </a:ext>
                  </a:extLst>
                </a:gridCol>
                <a:gridCol w="629729">
                  <a:extLst>
                    <a:ext uri="{9D8B030D-6E8A-4147-A177-3AD203B41FA5}">
                      <a16:colId xmlns:a16="http://schemas.microsoft.com/office/drawing/2014/main" val="20001"/>
                    </a:ext>
                  </a:extLst>
                </a:gridCol>
                <a:gridCol w="761552">
                  <a:extLst>
                    <a:ext uri="{9D8B030D-6E8A-4147-A177-3AD203B41FA5}">
                      <a16:colId xmlns:a16="http://schemas.microsoft.com/office/drawing/2014/main" val="20002"/>
                    </a:ext>
                  </a:extLst>
                </a:gridCol>
                <a:gridCol w="703013">
                  <a:extLst>
                    <a:ext uri="{9D8B030D-6E8A-4147-A177-3AD203B41FA5}">
                      <a16:colId xmlns:a16="http://schemas.microsoft.com/office/drawing/2014/main" val="20003"/>
                    </a:ext>
                  </a:extLst>
                </a:gridCol>
                <a:gridCol w="662515">
                  <a:extLst>
                    <a:ext uri="{9D8B030D-6E8A-4147-A177-3AD203B41FA5}">
                      <a16:colId xmlns:a16="http://schemas.microsoft.com/office/drawing/2014/main" val="20004"/>
                    </a:ext>
                  </a:extLst>
                </a:gridCol>
                <a:gridCol w="687345">
                  <a:extLst>
                    <a:ext uri="{9D8B030D-6E8A-4147-A177-3AD203B41FA5}">
                      <a16:colId xmlns:a16="http://schemas.microsoft.com/office/drawing/2014/main" val="20005"/>
                    </a:ext>
                  </a:extLst>
                </a:gridCol>
                <a:gridCol w="703935">
                  <a:extLst>
                    <a:ext uri="{9D8B030D-6E8A-4147-A177-3AD203B41FA5}">
                      <a16:colId xmlns:a16="http://schemas.microsoft.com/office/drawing/2014/main" val="20006"/>
                    </a:ext>
                  </a:extLst>
                </a:gridCol>
                <a:gridCol w="530011">
                  <a:extLst>
                    <a:ext uri="{9D8B030D-6E8A-4147-A177-3AD203B41FA5}">
                      <a16:colId xmlns:a16="http://schemas.microsoft.com/office/drawing/2014/main" val="20007"/>
                    </a:ext>
                  </a:extLst>
                </a:gridCol>
                <a:gridCol w="596263">
                  <a:extLst>
                    <a:ext uri="{9D8B030D-6E8A-4147-A177-3AD203B41FA5}">
                      <a16:colId xmlns:a16="http://schemas.microsoft.com/office/drawing/2014/main" val="20008"/>
                    </a:ext>
                  </a:extLst>
                </a:gridCol>
                <a:gridCol w="596263">
                  <a:extLst>
                    <a:ext uri="{9D8B030D-6E8A-4147-A177-3AD203B41FA5}">
                      <a16:colId xmlns:a16="http://schemas.microsoft.com/office/drawing/2014/main" val="20009"/>
                    </a:ext>
                  </a:extLst>
                </a:gridCol>
                <a:gridCol w="596263">
                  <a:extLst>
                    <a:ext uri="{9D8B030D-6E8A-4147-A177-3AD203B41FA5}">
                      <a16:colId xmlns:a16="http://schemas.microsoft.com/office/drawing/2014/main" val="20010"/>
                    </a:ext>
                  </a:extLst>
                </a:gridCol>
                <a:gridCol w="637769">
                  <a:extLst>
                    <a:ext uri="{9D8B030D-6E8A-4147-A177-3AD203B41FA5}">
                      <a16:colId xmlns:a16="http://schemas.microsoft.com/office/drawing/2014/main" val="20011"/>
                    </a:ext>
                  </a:extLst>
                </a:gridCol>
                <a:gridCol w="514367">
                  <a:extLst>
                    <a:ext uri="{9D8B030D-6E8A-4147-A177-3AD203B41FA5}">
                      <a16:colId xmlns:a16="http://schemas.microsoft.com/office/drawing/2014/main" val="20012"/>
                    </a:ext>
                  </a:extLst>
                </a:gridCol>
              </a:tblGrid>
              <a:tr h="563094">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申请</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名称</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主要</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城市</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开业</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时间</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量</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辆</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售后进场台次</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净利润</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1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1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62055">
                <a:tc vMerge="1">
                  <a:txBody>
                    <a:bodyPr/>
                    <a:lstStyle/>
                    <a:p>
                      <a:endParaRPr lang="en-GB"/>
                    </a:p>
                  </a:txBody>
                  <a:tcPr/>
                </a:tc>
                <a:tc vMerge="1">
                  <a:txBody>
                    <a:bodyPr/>
                    <a:lstStyle/>
                    <a:p>
                      <a:endParaRPr lang="en-GB"/>
                    </a:p>
                  </a:txBody>
                  <a:tcPr/>
                </a:tc>
                <a:tc vMerge="1">
                  <a:txBody>
                    <a:bodyPr/>
                    <a:lstStyle/>
                    <a:p>
                      <a:endParaRPr lang="en-GB"/>
                    </a:p>
                  </a:txBody>
                  <a:tcPr/>
                </a:tc>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30332">
                <a:tc rowSpan="3">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58025">
                <a:tc vMerge="1">
                  <a:txBody>
                    <a:bodyPr/>
                    <a:lstStyle/>
                    <a:p>
                      <a:endParaRPr lang="en-GB"/>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B</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58025">
                <a:tc v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1"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54056" marR="0" marT="0" marB="0" anchor="ctr" horzOverflow="overflow">
                    <a:lnL w="28575" cap="flat" cmpd="sng" algn="ctr">
                      <a:solidFill>
                        <a:schemeClr val="tx1"/>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
        <p:nvSpPr>
          <p:cNvPr id="2" name="Title 1"/>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申请公司介绍</a:t>
            </a:r>
            <a:endParaRPr lang="en-GB" dirty="0"/>
          </a:p>
        </p:txBody>
      </p:sp>
      <p:sp>
        <p:nvSpPr>
          <p:cNvPr id="3" name="Slide Number Placeholder 2"/>
          <p:cNvSpPr>
            <a:spLocks noGrp="1"/>
          </p:cNvSpPr>
          <p:nvPr>
            <p:ph type="sldNum" sz="quarter" idx="4"/>
          </p:nvPr>
        </p:nvSpPr>
        <p:spPr/>
        <p:txBody>
          <a:bodyPr/>
          <a:lstStyle/>
          <a:p>
            <a:fld id="{6F67B5D9-DB62-4DEA-AF3E-B11D0AE898D7}" type="slidenum">
              <a:rPr lang="sv-SE" smtClean="0"/>
              <a:pPr/>
              <a:t>19</a:t>
            </a:fld>
            <a:endParaRPr lang="sv-SE"/>
          </a:p>
        </p:txBody>
      </p:sp>
      <p:sp>
        <p:nvSpPr>
          <p:cNvPr id="13" name="TextBox 12"/>
          <p:cNvSpPr txBox="1"/>
          <p:nvPr/>
        </p:nvSpPr>
        <p:spPr>
          <a:xfrm>
            <a:off x="373819" y="4457074"/>
            <a:ext cx="5946702" cy="253916"/>
          </a:xfrm>
          <a:prstGeom prst="rect">
            <a:avLst/>
          </a:prstGeom>
          <a:noFill/>
        </p:spPr>
        <p:txBody>
          <a:bodyPr wrap="square" rtlCol="0">
            <a:spAutoFit/>
          </a:bodyPr>
          <a:lstStyle/>
          <a:p>
            <a:r>
              <a:rPr lang="zh-CN" altLang="en-US" sz="1050" dirty="0">
                <a:latin typeface="微软雅黑" panose="020B0503020204020204" pitchFamily="34" charset="-122"/>
                <a:ea typeface="微软雅黑" panose="020B0503020204020204" pitchFamily="34" charset="-122"/>
              </a:rPr>
              <a:t>注：无证明材料的数据，请标红</a:t>
            </a:r>
            <a:endParaRPr lang="en-GB" sz="105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6033810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联系人信息</a:t>
            </a:r>
            <a:endParaRPr lang="en-GB" b="1" dirty="0">
              <a:latin typeface="微软雅黑" panose="020B0503020204020204" pitchFamily="34" charset="-122"/>
              <a:ea typeface="微软雅黑" panose="020B0503020204020204" pitchFamily="34" charset="-122"/>
            </a:endParaRPr>
          </a:p>
        </p:txBody>
      </p:sp>
      <p:sp>
        <p:nvSpPr>
          <p:cNvPr id="5" name="Slide Number Placeholder 4"/>
          <p:cNvSpPr>
            <a:spLocks noGrp="1"/>
          </p:cNvSpPr>
          <p:nvPr>
            <p:ph type="sldNum" sz="quarter" idx="4"/>
          </p:nvPr>
        </p:nvSpPr>
        <p:spPr/>
        <p:txBody>
          <a:bodyPr/>
          <a:lstStyle/>
          <a:p>
            <a:fld id="{6F67B5D9-DB62-4DEA-AF3E-B11D0AE898D7}" type="slidenum">
              <a:rPr lang="sv-SE" sz="600" smtClean="0">
                <a:latin typeface="微软雅黑" panose="020B0503020204020204" pitchFamily="34" charset="-122"/>
                <a:ea typeface="微软雅黑" panose="020B0503020204020204" pitchFamily="34" charset="-122"/>
              </a:rPr>
              <a:pPr/>
              <a:t>2</a:t>
            </a:fld>
            <a:endParaRPr lang="sv-SE" sz="600">
              <a:latin typeface="微软雅黑" panose="020B0503020204020204" pitchFamily="34" charset="-122"/>
              <a:ea typeface="微软雅黑" panose="020B0503020204020204" pitchFamily="34" charset="-122"/>
            </a:endParaRPr>
          </a:p>
        </p:txBody>
      </p:sp>
      <p:graphicFrame>
        <p:nvGraphicFramePr>
          <p:cNvPr id="10" name="Content Placeholder 7"/>
          <p:cNvGraphicFramePr>
            <a:graphicFrameLocks/>
          </p:cNvGraphicFramePr>
          <p:nvPr>
            <p:extLst>
              <p:ext uri="{D42A27DB-BD31-4B8C-83A1-F6EECF244321}">
                <p14:modId xmlns:p14="http://schemas.microsoft.com/office/powerpoint/2010/main" val="1149395014"/>
              </p:ext>
            </p:extLst>
          </p:nvPr>
        </p:nvGraphicFramePr>
        <p:xfrm>
          <a:off x="453916" y="2543675"/>
          <a:ext cx="8222417" cy="1993719"/>
        </p:xfrm>
        <a:graphic>
          <a:graphicData uri="http://schemas.openxmlformats.org/drawingml/2006/table">
            <a:tbl>
              <a:tblPr/>
              <a:tblGrid>
                <a:gridCol w="1767151">
                  <a:extLst>
                    <a:ext uri="{9D8B030D-6E8A-4147-A177-3AD203B41FA5}">
                      <a16:colId xmlns:a16="http://schemas.microsoft.com/office/drawing/2014/main" val="20000"/>
                    </a:ext>
                  </a:extLst>
                </a:gridCol>
                <a:gridCol w="2348294">
                  <a:extLst>
                    <a:ext uri="{9D8B030D-6E8A-4147-A177-3AD203B41FA5}">
                      <a16:colId xmlns:a16="http://schemas.microsoft.com/office/drawing/2014/main" val="20001"/>
                    </a:ext>
                  </a:extLst>
                </a:gridCol>
                <a:gridCol w="1570611">
                  <a:extLst>
                    <a:ext uri="{9D8B030D-6E8A-4147-A177-3AD203B41FA5}">
                      <a16:colId xmlns:a16="http://schemas.microsoft.com/office/drawing/2014/main" val="20002"/>
                    </a:ext>
                  </a:extLst>
                </a:gridCol>
                <a:gridCol w="2536361">
                  <a:extLst>
                    <a:ext uri="{9D8B030D-6E8A-4147-A177-3AD203B41FA5}">
                      <a16:colId xmlns:a16="http://schemas.microsoft.com/office/drawing/2014/main" val="20003"/>
                    </a:ext>
                  </a:extLst>
                </a:gridCol>
              </a:tblGrid>
              <a:tr h="66457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联 系 人</a:t>
                      </a: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en-US"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职位：</a:t>
                      </a: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66457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固定电话</a:t>
                      </a:r>
                      <a:r>
                        <a:rPr kumimoji="0" lang="en-US"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移动电话：</a:t>
                      </a:r>
                      <a:r>
                        <a:rPr kumimoji="0" lang="en-US"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en-US"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66457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电子邮箱</a:t>
                      </a:r>
                      <a:r>
                        <a:rPr kumimoji="0" lang="en-US"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61736" marR="61736"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2"/>
                  </a:ext>
                </a:extLst>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3961528607"/>
              </p:ext>
            </p:extLst>
          </p:nvPr>
        </p:nvGraphicFramePr>
        <p:xfrm>
          <a:off x="453916" y="1233291"/>
          <a:ext cx="8222417" cy="1199330"/>
        </p:xfrm>
        <a:graphic>
          <a:graphicData uri="http://schemas.openxmlformats.org/drawingml/2006/table">
            <a:tbl>
              <a:tblPr/>
              <a:tblGrid>
                <a:gridCol w="2366863">
                  <a:extLst>
                    <a:ext uri="{9D8B030D-6E8A-4147-A177-3AD203B41FA5}">
                      <a16:colId xmlns:a16="http://schemas.microsoft.com/office/drawing/2014/main" val="20000"/>
                    </a:ext>
                  </a:extLst>
                </a:gridCol>
                <a:gridCol w="5855554">
                  <a:extLst>
                    <a:ext uri="{9D8B030D-6E8A-4147-A177-3AD203B41FA5}">
                      <a16:colId xmlns:a16="http://schemas.microsoft.com/office/drawing/2014/main" val="20001"/>
                    </a:ext>
                  </a:extLst>
                </a:gridCol>
              </a:tblGrid>
              <a:tr h="3886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申请公司名称</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12779" marR="222005"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222005" marR="112779"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059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申请城市</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12779" marR="222005"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222005" marR="112779"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476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日期</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112779" marR="222005"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月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日</a:t>
                      </a:r>
                    </a:p>
                  </a:txBody>
                  <a:tcPr marL="222005" marR="112779" marT="34231" marB="3423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08998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申请公司介绍</a:t>
            </a:r>
            <a:endParaRPr lang="en-GB" dirty="0"/>
          </a:p>
        </p:txBody>
      </p:sp>
      <p:sp>
        <p:nvSpPr>
          <p:cNvPr id="4" name="Slide Number Placeholder 3"/>
          <p:cNvSpPr>
            <a:spLocks noGrp="1"/>
          </p:cNvSpPr>
          <p:nvPr>
            <p:ph type="sldNum" sz="quarter" idx="4"/>
          </p:nvPr>
        </p:nvSpPr>
        <p:spPr/>
        <p:txBody>
          <a:bodyPr/>
          <a:lstStyle/>
          <a:p>
            <a:fld id="{6F67B5D9-DB62-4DEA-AF3E-B11D0AE898D7}" type="slidenum">
              <a:rPr lang="sv-SE" smtClean="0"/>
              <a:pPr/>
              <a:t>20</a:t>
            </a:fld>
            <a:endParaRPr lang="sv-SE"/>
          </a:p>
        </p:txBody>
      </p:sp>
      <p:graphicFrame>
        <p:nvGraphicFramePr>
          <p:cNvPr id="2" name="Table 1"/>
          <p:cNvGraphicFramePr>
            <a:graphicFrameLocks noGrp="1"/>
          </p:cNvGraphicFramePr>
          <p:nvPr>
            <p:extLst>
              <p:ext uri="{D42A27DB-BD31-4B8C-83A1-F6EECF244321}">
                <p14:modId xmlns:p14="http://schemas.microsoft.com/office/powerpoint/2010/main" val="2574327672"/>
              </p:ext>
            </p:extLst>
          </p:nvPr>
        </p:nvGraphicFramePr>
        <p:xfrm>
          <a:off x="451573" y="1415737"/>
          <a:ext cx="8298922" cy="2781794"/>
        </p:xfrm>
        <a:graphic>
          <a:graphicData uri="http://schemas.openxmlformats.org/drawingml/2006/table">
            <a:tbl>
              <a:tblPr/>
              <a:tblGrid>
                <a:gridCol w="458030">
                  <a:extLst>
                    <a:ext uri="{9D8B030D-6E8A-4147-A177-3AD203B41FA5}">
                      <a16:colId xmlns:a16="http://schemas.microsoft.com/office/drawing/2014/main" val="20000"/>
                    </a:ext>
                  </a:extLst>
                </a:gridCol>
                <a:gridCol w="701483">
                  <a:extLst>
                    <a:ext uri="{9D8B030D-6E8A-4147-A177-3AD203B41FA5}">
                      <a16:colId xmlns:a16="http://schemas.microsoft.com/office/drawing/2014/main" val="20001"/>
                    </a:ext>
                  </a:extLst>
                </a:gridCol>
                <a:gridCol w="478971">
                  <a:extLst>
                    <a:ext uri="{9D8B030D-6E8A-4147-A177-3AD203B41FA5}">
                      <a16:colId xmlns:a16="http://schemas.microsoft.com/office/drawing/2014/main" val="20002"/>
                    </a:ext>
                  </a:extLst>
                </a:gridCol>
                <a:gridCol w="728363">
                  <a:extLst>
                    <a:ext uri="{9D8B030D-6E8A-4147-A177-3AD203B41FA5}">
                      <a16:colId xmlns:a16="http://schemas.microsoft.com/office/drawing/2014/main" val="20003"/>
                    </a:ext>
                  </a:extLst>
                </a:gridCol>
                <a:gridCol w="608147">
                  <a:extLst>
                    <a:ext uri="{9D8B030D-6E8A-4147-A177-3AD203B41FA5}">
                      <a16:colId xmlns:a16="http://schemas.microsoft.com/office/drawing/2014/main" val="20004"/>
                    </a:ext>
                  </a:extLst>
                </a:gridCol>
                <a:gridCol w="665491">
                  <a:extLst>
                    <a:ext uri="{9D8B030D-6E8A-4147-A177-3AD203B41FA5}">
                      <a16:colId xmlns:a16="http://schemas.microsoft.com/office/drawing/2014/main" val="20005"/>
                    </a:ext>
                  </a:extLst>
                </a:gridCol>
                <a:gridCol w="665491">
                  <a:extLst>
                    <a:ext uri="{9D8B030D-6E8A-4147-A177-3AD203B41FA5}">
                      <a16:colId xmlns:a16="http://schemas.microsoft.com/office/drawing/2014/main" val="20006"/>
                    </a:ext>
                  </a:extLst>
                </a:gridCol>
                <a:gridCol w="665491">
                  <a:extLst>
                    <a:ext uri="{9D8B030D-6E8A-4147-A177-3AD203B41FA5}">
                      <a16:colId xmlns:a16="http://schemas.microsoft.com/office/drawing/2014/main" val="20007"/>
                    </a:ext>
                  </a:extLst>
                </a:gridCol>
                <a:gridCol w="665491">
                  <a:extLst>
                    <a:ext uri="{9D8B030D-6E8A-4147-A177-3AD203B41FA5}">
                      <a16:colId xmlns:a16="http://schemas.microsoft.com/office/drawing/2014/main" val="20008"/>
                    </a:ext>
                  </a:extLst>
                </a:gridCol>
                <a:gridCol w="665491">
                  <a:extLst>
                    <a:ext uri="{9D8B030D-6E8A-4147-A177-3AD203B41FA5}">
                      <a16:colId xmlns:a16="http://schemas.microsoft.com/office/drawing/2014/main" val="20009"/>
                    </a:ext>
                  </a:extLst>
                </a:gridCol>
                <a:gridCol w="665491">
                  <a:extLst>
                    <a:ext uri="{9D8B030D-6E8A-4147-A177-3AD203B41FA5}">
                      <a16:colId xmlns:a16="http://schemas.microsoft.com/office/drawing/2014/main" val="20010"/>
                    </a:ext>
                  </a:extLst>
                </a:gridCol>
                <a:gridCol w="665491">
                  <a:extLst>
                    <a:ext uri="{9D8B030D-6E8A-4147-A177-3AD203B41FA5}">
                      <a16:colId xmlns:a16="http://schemas.microsoft.com/office/drawing/2014/main" val="20011"/>
                    </a:ext>
                  </a:extLst>
                </a:gridCol>
                <a:gridCol w="665491">
                  <a:extLst>
                    <a:ext uri="{9D8B030D-6E8A-4147-A177-3AD203B41FA5}">
                      <a16:colId xmlns:a16="http://schemas.microsoft.com/office/drawing/2014/main" val="20012"/>
                    </a:ext>
                  </a:extLst>
                </a:gridCol>
              </a:tblGrid>
              <a:tr h="547707">
                <a:tc rowSpan="2">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申请公司名称</a:t>
                      </a:r>
                      <a:endParaRPr kumimoji="0" lang="en-GB" altLang="zh-CN"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 </a:t>
                      </a: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主要</a:t>
                      </a:r>
                      <a:endParaRPr kumimoji="0" lang="en-US" altLang="zh-CN"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品牌</a:t>
                      </a:r>
                      <a:endParaRPr kumimoji="0" lang="en-GB"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城市</a:t>
                      </a:r>
                    </a:p>
                  </a:txBody>
                  <a:tcPr marL="5269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开业</a:t>
                      </a:r>
                      <a:endParaRPr kumimoji="0" lang="en-US" altLang="zh-CN"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时间</a:t>
                      </a:r>
                    </a:p>
                  </a:txBody>
                  <a:tcPr marL="5269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3">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销量全国排名</a:t>
                      </a: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市占率（城市</a:t>
                      </a:r>
                      <a:r>
                        <a:rPr kumimoji="0" lang="en-US" altLang="zh-CN"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a:t>
                      </a: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省</a:t>
                      </a:r>
                      <a:r>
                        <a:rPr kumimoji="0" lang="en-US" altLang="zh-CN"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a:t>
                      </a: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全国）</a:t>
                      </a: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满意度全国排名</a:t>
                      </a: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530138">
                <a:tc vMerge="1">
                  <a:txBody>
                    <a:bodyPr/>
                    <a:lstStyle/>
                    <a:p>
                      <a:endParaRPr lang="en-GB"/>
                    </a:p>
                  </a:txBody>
                  <a:tcPr/>
                </a:tc>
                <a:tc vMerge="1">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l" defTabSz="608013" rtl="0" eaLnBrk="1" fontAlgn="ctr" latinLnBrk="0" hangingPunct="1">
                        <a:lnSpc>
                          <a:spcPct val="100000"/>
                        </a:lnSpc>
                        <a:spcBef>
                          <a:spcPct val="0"/>
                        </a:spcBef>
                        <a:spcAft>
                          <a:spcPct val="0"/>
                        </a:spcAft>
                        <a:buClrTx/>
                        <a:buSzTx/>
                        <a:buFontTx/>
                        <a:buNone/>
                        <a:tabLst/>
                      </a:pPr>
                      <a:endParaRPr kumimoji="0" lang="en-GB" altLang="en-US" sz="800" b="0" i="0" u="none" strike="noStrike" cap="none" normalizeH="0" baseline="0" dirty="0">
                        <a:ln>
                          <a:noFill/>
                        </a:ln>
                        <a:solidFill>
                          <a:schemeClr val="bg1"/>
                        </a:solidFill>
                        <a:effectLst/>
                        <a:latin typeface="微软雅黑" panose="020B0503020204020204" pitchFamily="34" charset="-122"/>
                        <a:ea typeface="微软雅黑" panose="020B0503020204020204" pitchFamily="34" charset="-122"/>
                      </a:endParaRPr>
                    </a:p>
                  </a:txBody>
                  <a:tcPr marL="7144" marR="7144" marT="7145" marB="0" anchor="ctr" horzOverflow="overflow">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lnTlToBr>
                      <a:noFill/>
                    </a:lnTlToBr>
                    <a:lnBlToTr>
                      <a:noFill/>
                    </a:lnBlToTr>
                    <a:solidFill>
                      <a:srgbClr val="7F7F7F"/>
                    </a:solidFill>
                  </a:tcPr>
                </a:tc>
                <a:tc vMerge="1">
                  <a:txBody>
                    <a:bodyPr/>
                    <a:lstStyle/>
                    <a:p>
                      <a:endParaRPr lang="en-GB"/>
                    </a:p>
                  </a:txBody>
                  <a:tcPr/>
                </a:tc>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5098">
                <a:tc rowSpan="3">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269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269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2123">
                <a:tc vMerge="1">
                  <a:txBody>
                    <a:bodyPr/>
                    <a:lstStyle/>
                    <a:p>
                      <a:endParaRPr lang="en-GB"/>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B</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86728">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5382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defTabSz="608013">
                        <a:spcBef>
                          <a:spcPct val="20000"/>
                        </a:spcBef>
                        <a:buFont typeface="+mj-lt"/>
                        <a:defRPr sz="2200">
                          <a:solidFill>
                            <a:srgbClr val="4D4D4D"/>
                          </a:solidFill>
                          <a:latin typeface="Arial Unicode MS" panose="020B0604020202020204" pitchFamily="34" charset="-128"/>
                          <a:ea typeface="微软雅黑" panose="020B0503020204020204" pitchFamily="34" charset="-122"/>
                        </a:defRPr>
                      </a:lvl1pPr>
                      <a:lvl2pPr marL="742950" indent="-285750" defTabSz="608013">
                        <a:spcBef>
                          <a:spcPct val="20000"/>
                        </a:spcBef>
                        <a:defRPr sz="2200">
                          <a:solidFill>
                            <a:srgbClr val="4D4D4D"/>
                          </a:solidFill>
                          <a:latin typeface="Arial Unicode MS" panose="020B0604020202020204" pitchFamily="34" charset="-128"/>
                          <a:ea typeface="微软雅黑" panose="020B0503020204020204" pitchFamily="34" charset="-122"/>
                        </a:defRPr>
                      </a:lvl2pPr>
                      <a:lvl3pPr marL="1143000" indent="-228600" defTabSz="608013">
                        <a:spcBef>
                          <a:spcPct val="20000"/>
                        </a:spcBef>
                        <a:defRPr sz="1600">
                          <a:solidFill>
                            <a:srgbClr val="4D4D4D"/>
                          </a:solidFill>
                          <a:latin typeface="Arial Unicode MS" panose="020B0604020202020204" pitchFamily="34" charset="-128"/>
                          <a:ea typeface="微软雅黑" panose="020B0503020204020204" pitchFamily="34" charset="-122"/>
                        </a:defRPr>
                      </a:lvl3pPr>
                      <a:lvl4pPr marL="16002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4pPr>
                      <a:lvl5pPr marL="2057400" indent="-228600" defTabSz="608013">
                        <a:spcBef>
                          <a:spcPct val="20000"/>
                        </a:spcBef>
                        <a:defRPr sz="1900">
                          <a:solidFill>
                            <a:srgbClr val="4D4D4D"/>
                          </a:solidFill>
                          <a:latin typeface="Arial Unicode MS" panose="020B0604020202020204" pitchFamily="34" charset="-128"/>
                          <a:ea typeface="微软雅黑" panose="020B0503020204020204" pitchFamily="34" charset="-122"/>
                        </a:defRPr>
                      </a:lvl5pPr>
                      <a:lvl6pPr marL="25146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6pPr>
                      <a:lvl7pPr marL="29718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7pPr>
                      <a:lvl8pPr marL="34290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8pPr>
                      <a:lvl9pPr marL="3886200" indent="-228600" defTabSz="608013" eaLnBrk="0" fontAlgn="base" hangingPunct="0">
                        <a:spcBef>
                          <a:spcPct val="20000"/>
                        </a:spcBef>
                        <a:spcAft>
                          <a:spcPct val="0"/>
                        </a:spcAft>
                        <a:defRPr sz="1900">
                          <a:solidFill>
                            <a:srgbClr val="4D4D4D"/>
                          </a:solidFill>
                          <a:latin typeface="Arial Unicode MS" panose="020B0604020202020204" pitchFamily="34" charset="-128"/>
                          <a:ea typeface="微软雅黑" panose="020B0503020204020204" pitchFamily="34" charset="-122"/>
                        </a:defRPr>
                      </a:lvl9pPr>
                    </a:lstStyle>
                    <a:p>
                      <a:pPr marL="0" marR="0" lvl="0" indent="0" algn="ctr" defTabSz="608013" rtl="0" eaLnBrk="1" fontAlgn="ctr"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7140" marR="7140" marT="7141"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15643989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464866" y="1296691"/>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请提供销量及满意度排名的相关证明文件</a:t>
            </a:r>
          </a:p>
          <a:p>
            <a:pPr marL="0" indent="0">
              <a:buNone/>
            </a:pPr>
            <a:endParaRPr lang="en-GB" dirty="0">
              <a:latin typeface="微软雅黑" panose="020B0503020204020204" pitchFamily="34" charset="-122"/>
              <a:ea typeface="微软雅黑" panose="020B0503020204020204" pitchFamily="34" charset="-122"/>
            </a:endParaRPr>
          </a:p>
        </p:txBody>
      </p:sp>
      <p:sp>
        <p:nvSpPr>
          <p:cNvPr id="8" name="Rectangle 111"/>
          <p:cNvSpPr>
            <a:spLocks noGrp="1" noChangeArrowheads="1"/>
          </p:cNvSpPr>
          <p:nvPr>
            <p:ph type="title"/>
          </p:nvPr>
        </p:nvSpPr>
        <p:spPr bwMode="auto">
          <a:xfrm>
            <a:off x="360363" y="653790"/>
            <a:ext cx="8389937" cy="478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0121" tIns="35061" rIns="70121" bIns="35061" rtlCol="0" anchor="b">
            <a:spAutoFit/>
          </a:bodyPr>
          <a:lstStyle>
            <a:lvl1pPr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a:lnSpc>
                <a:spcPct val="150000"/>
              </a:lnSpc>
            </a:pPr>
            <a:r>
              <a:rPr lang="zh-CN" altLang="en-US" b="1" dirty="0">
                <a:solidFill>
                  <a:schemeClr val="tx1"/>
                </a:solidFill>
                <a:latin typeface="微软雅黑" panose="020B0503020204020204" pitchFamily="34" charset="-122"/>
                <a:ea typeface="微软雅黑" panose="020B0503020204020204" pitchFamily="34" charset="-122"/>
              </a:rPr>
              <a:t>申请公司运营业绩</a:t>
            </a:r>
            <a:r>
              <a:rPr lang="en-US" altLang="zh-CN" b="1" dirty="0">
                <a:solidFill>
                  <a:schemeClr val="tx1"/>
                </a:solidFill>
                <a:latin typeface="微软雅黑" panose="020B0503020204020204" pitchFamily="34" charset="-122"/>
                <a:ea typeface="微软雅黑" panose="020B0503020204020204" pitchFamily="34" charset="-122"/>
              </a:rPr>
              <a:t>-</a:t>
            </a:r>
            <a:r>
              <a:rPr lang="zh-CN" altLang="en-US" b="1" dirty="0">
                <a:solidFill>
                  <a:schemeClr val="tx1"/>
                </a:solidFill>
                <a:latin typeface="微软雅黑" panose="020B0503020204020204" pitchFamily="34" charset="-122"/>
                <a:ea typeface="微软雅黑" panose="020B0503020204020204" pitchFamily="34" charset="-122"/>
              </a:rPr>
              <a:t>证明文件</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1</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906372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经销店的经营状况</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2</a:t>
            </a:fld>
            <a:endParaRPr lang="sv-SE">
              <a:latin typeface="微软雅黑" panose="020B0503020204020204" pitchFamily="34" charset="-122"/>
              <a:ea typeface="微软雅黑" panose="020B0503020204020204" pitchFamily="34" charset="-122"/>
            </a:endParaRPr>
          </a:p>
        </p:txBody>
      </p:sp>
      <p:graphicFrame>
        <p:nvGraphicFramePr>
          <p:cNvPr id="9" name="Group 143"/>
          <p:cNvGraphicFramePr>
            <a:graphicFrameLocks noGrp="1"/>
          </p:cNvGraphicFramePr>
          <p:nvPr>
            <p:extLst>
              <p:ext uri="{D42A27DB-BD31-4B8C-83A1-F6EECF244321}">
                <p14:modId xmlns:p14="http://schemas.microsoft.com/office/powerpoint/2010/main" val="1964349519"/>
              </p:ext>
            </p:extLst>
          </p:nvPr>
        </p:nvGraphicFramePr>
        <p:xfrm>
          <a:off x="360363" y="1690574"/>
          <a:ext cx="8323284" cy="3169900"/>
        </p:xfrm>
        <a:graphic>
          <a:graphicData uri="http://schemas.openxmlformats.org/drawingml/2006/table">
            <a:tbl>
              <a:tblPr/>
              <a:tblGrid>
                <a:gridCol w="4237814">
                  <a:extLst>
                    <a:ext uri="{9D8B030D-6E8A-4147-A177-3AD203B41FA5}">
                      <a16:colId xmlns:a16="http://schemas.microsoft.com/office/drawing/2014/main" val="20000"/>
                    </a:ext>
                  </a:extLst>
                </a:gridCol>
                <a:gridCol w="1387488">
                  <a:extLst>
                    <a:ext uri="{9D8B030D-6E8A-4147-A177-3AD203B41FA5}">
                      <a16:colId xmlns:a16="http://schemas.microsoft.com/office/drawing/2014/main" val="20001"/>
                    </a:ext>
                  </a:extLst>
                </a:gridCol>
                <a:gridCol w="1412058">
                  <a:extLst>
                    <a:ext uri="{9D8B030D-6E8A-4147-A177-3AD203B41FA5}">
                      <a16:colId xmlns:a16="http://schemas.microsoft.com/office/drawing/2014/main" val="20002"/>
                    </a:ext>
                  </a:extLst>
                </a:gridCol>
                <a:gridCol w="1285924">
                  <a:extLst>
                    <a:ext uri="{9D8B030D-6E8A-4147-A177-3AD203B41FA5}">
                      <a16:colId xmlns:a16="http://schemas.microsoft.com/office/drawing/2014/main" val="20003"/>
                    </a:ext>
                  </a:extLst>
                </a:gridCol>
              </a:tblGrid>
              <a:tr h="2882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年度</a:t>
                      </a: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882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已开业</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数量总计</a:t>
                      </a: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882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销量</a:t>
                      </a: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88289">
                <a:tc>
                  <a:txBody>
                    <a:bodyPr/>
                    <a:lstStyle>
                      <a:lvl1pPr indent="3587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358775"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销量增长率</a:t>
                      </a: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882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入场台次</a:t>
                      </a: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88289">
                <a:tc>
                  <a:txBody>
                    <a:bodyPr/>
                    <a:lstStyle>
                      <a:lvl1pPr indent="3587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358775"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入场台次增长率</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882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销售收入（百万元）</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88289">
                <a:tc>
                  <a:txBody>
                    <a:bodyPr/>
                    <a:lstStyle>
                      <a:lvl1pPr indent="3587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358775"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平均销售收入增长率</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49011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总业务收入（包括销售服务配件精品总量）（百万元）</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88289">
                <a:tc>
                  <a:txBody>
                    <a:bodyPr/>
                    <a:lstStyle>
                      <a:lvl1pPr indent="3587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358775" algn="l" defTabSz="914400" rtl="0" eaLnBrk="1" fontAlgn="b"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每个</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4S</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店的总业务收入增长率</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1" marR="82321" marT="41147" marB="41147" anchor="b"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30838135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370154" y="1294949"/>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品牌经销店的销售业绩，如果适用</a:t>
            </a:r>
            <a:r>
              <a:rPr lang="en-US" altLang="zh-CN" dirty="0">
                <a:latin typeface="微软雅黑" panose="020B0503020204020204" pitchFamily="34" charset="-122"/>
                <a:ea typeface="微软雅黑" panose="020B0503020204020204" pitchFamily="34" charset="-122"/>
              </a:rPr>
              <a:t>(2):</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3</a:t>
            </a:fld>
            <a:endParaRPr lang="sv-SE">
              <a:latin typeface="微软雅黑" panose="020B0503020204020204" pitchFamily="34" charset="-122"/>
              <a:ea typeface="微软雅黑" panose="020B0503020204020204" pitchFamily="34" charset="-122"/>
            </a:endParaRPr>
          </a:p>
        </p:txBody>
      </p:sp>
      <p:graphicFrame>
        <p:nvGraphicFramePr>
          <p:cNvPr id="9" name="Group 141"/>
          <p:cNvGraphicFramePr>
            <a:graphicFrameLocks noGrp="1"/>
          </p:cNvGraphicFramePr>
          <p:nvPr>
            <p:extLst>
              <p:ext uri="{D42A27DB-BD31-4B8C-83A1-F6EECF244321}">
                <p14:modId xmlns:p14="http://schemas.microsoft.com/office/powerpoint/2010/main" val="740970854"/>
              </p:ext>
            </p:extLst>
          </p:nvPr>
        </p:nvGraphicFramePr>
        <p:xfrm>
          <a:off x="387085" y="1597293"/>
          <a:ext cx="8304069" cy="3025144"/>
        </p:xfrm>
        <a:graphic>
          <a:graphicData uri="http://schemas.openxmlformats.org/drawingml/2006/table">
            <a:tbl>
              <a:tblPr/>
              <a:tblGrid>
                <a:gridCol w="651372">
                  <a:extLst>
                    <a:ext uri="{9D8B030D-6E8A-4147-A177-3AD203B41FA5}">
                      <a16:colId xmlns:a16="http://schemas.microsoft.com/office/drawing/2014/main" val="20000"/>
                    </a:ext>
                  </a:extLst>
                </a:gridCol>
                <a:gridCol w="564501">
                  <a:extLst>
                    <a:ext uri="{9D8B030D-6E8A-4147-A177-3AD203B41FA5}">
                      <a16:colId xmlns:a16="http://schemas.microsoft.com/office/drawing/2014/main" val="20001"/>
                    </a:ext>
                  </a:extLst>
                </a:gridCol>
                <a:gridCol w="564501">
                  <a:extLst>
                    <a:ext uri="{9D8B030D-6E8A-4147-A177-3AD203B41FA5}">
                      <a16:colId xmlns:a16="http://schemas.microsoft.com/office/drawing/2014/main" val="20002"/>
                    </a:ext>
                  </a:extLst>
                </a:gridCol>
                <a:gridCol w="479947">
                  <a:extLst>
                    <a:ext uri="{9D8B030D-6E8A-4147-A177-3AD203B41FA5}">
                      <a16:colId xmlns:a16="http://schemas.microsoft.com/office/drawing/2014/main" val="20003"/>
                    </a:ext>
                  </a:extLst>
                </a:gridCol>
                <a:gridCol w="649055">
                  <a:extLst>
                    <a:ext uri="{9D8B030D-6E8A-4147-A177-3AD203B41FA5}">
                      <a16:colId xmlns:a16="http://schemas.microsoft.com/office/drawing/2014/main" val="20004"/>
                    </a:ext>
                  </a:extLst>
                </a:gridCol>
                <a:gridCol w="564501">
                  <a:extLst>
                    <a:ext uri="{9D8B030D-6E8A-4147-A177-3AD203B41FA5}">
                      <a16:colId xmlns:a16="http://schemas.microsoft.com/office/drawing/2014/main" val="20005"/>
                    </a:ext>
                  </a:extLst>
                </a:gridCol>
                <a:gridCol w="650078">
                  <a:extLst>
                    <a:ext uri="{9D8B030D-6E8A-4147-A177-3AD203B41FA5}">
                      <a16:colId xmlns:a16="http://schemas.microsoft.com/office/drawing/2014/main" val="20006"/>
                    </a:ext>
                  </a:extLst>
                </a:gridCol>
                <a:gridCol w="478924">
                  <a:extLst>
                    <a:ext uri="{9D8B030D-6E8A-4147-A177-3AD203B41FA5}">
                      <a16:colId xmlns:a16="http://schemas.microsoft.com/office/drawing/2014/main" val="20007"/>
                    </a:ext>
                  </a:extLst>
                </a:gridCol>
                <a:gridCol w="564501">
                  <a:extLst>
                    <a:ext uri="{9D8B030D-6E8A-4147-A177-3AD203B41FA5}">
                      <a16:colId xmlns:a16="http://schemas.microsoft.com/office/drawing/2014/main" val="20008"/>
                    </a:ext>
                  </a:extLst>
                </a:gridCol>
                <a:gridCol w="564501">
                  <a:extLst>
                    <a:ext uri="{9D8B030D-6E8A-4147-A177-3AD203B41FA5}">
                      <a16:colId xmlns:a16="http://schemas.microsoft.com/office/drawing/2014/main" val="20009"/>
                    </a:ext>
                  </a:extLst>
                </a:gridCol>
                <a:gridCol w="564501">
                  <a:extLst>
                    <a:ext uri="{9D8B030D-6E8A-4147-A177-3AD203B41FA5}">
                      <a16:colId xmlns:a16="http://schemas.microsoft.com/office/drawing/2014/main" val="20010"/>
                    </a:ext>
                  </a:extLst>
                </a:gridCol>
                <a:gridCol w="564501">
                  <a:extLst>
                    <a:ext uri="{9D8B030D-6E8A-4147-A177-3AD203B41FA5}">
                      <a16:colId xmlns:a16="http://schemas.microsoft.com/office/drawing/2014/main" val="20011"/>
                    </a:ext>
                  </a:extLst>
                </a:gridCol>
                <a:gridCol w="564501">
                  <a:extLst>
                    <a:ext uri="{9D8B030D-6E8A-4147-A177-3AD203B41FA5}">
                      <a16:colId xmlns:a16="http://schemas.microsoft.com/office/drawing/2014/main" val="20012"/>
                    </a:ext>
                  </a:extLst>
                </a:gridCol>
                <a:gridCol w="878685">
                  <a:extLst>
                    <a:ext uri="{9D8B030D-6E8A-4147-A177-3AD203B41FA5}">
                      <a16:colId xmlns:a16="http://schemas.microsoft.com/office/drawing/2014/main" val="20013"/>
                    </a:ext>
                  </a:extLst>
                </a:gridCol>
              </a:tblGrid>
              <a:tr h="672977">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名称</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成交率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订单</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意向客户</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售效率 </a:t>
                      </a:r>
                    </a:p>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销售顾问月均销台数</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售顾问流失率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4">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400" b="0" i="0" u="none" strike="noStrike" cap="none" normalizeH="0" baseline="0" dirty="0">
                          <a:ln>
                            <a:noFill/>
                          </a:ln>
                          <a:solidFill>
                            <a:schemeClr val="tx2"/>
                          </a:solidFill>
                          <a:effectLst/>
                          <a:latin typeface="微软雅黑" panose="020B0503020204020204" pitchFamily="34" charset="-122"/>
                          <a:ea typeface="微软雅黑" panose="020B0503020204020204" pitchFamily="34" charset="-122"/>
                          <a:cs typeface="Times New Roman" panose="02020603050405020304" pitchFamily="18" charset="0"/>
                        </a:rPr>
                        <a:t>新车销售收入 </a:t>
                      </a:r>
                      <a:r>
                        <a:rPr kumimoji="0" lang="en-US" altLang="zh-CN" sz="1400" b="0" i="0" u="none" strike="noStrike" cap="none" normalizeH="0" baseline="0" dirty="0">
                          <a:ln>
                            <a:noFill/>
                          </a:ln>
                          <a:solidFill>
                            <a:schemeClr val="tx2"/>
                          </a:solidFill>
                          <a:effectLst/>
                          <a:latin typeface="微软雅黑" panose="020B0503020204020204" pitchFamily="34" charset="-122"/>
                          <a:ea typeface="微软雅黑" panose="020B0503020204020204" pitchFamily="34" charset="-122"/>
                          <a:cs typeface="Times New Roman" panose="02020603050405020304" pitchFamily="18" charset="0"/>
                        </a:rPr>
                        <a:t>(</a:t>
                      </a:r>
                      <a:r>
                        <a:rPr kumimoji="0" lang="zh-CN" altLang="en-US" sz="1400" b="0" i="0" u="none" strike="noStrike" cap="none" normalizeH="0" baseline="0" dirty="0">
                          <a:ln>
                            <a:noFill/>
                          </a:ln>
                          <a:solidFill>
                            <a:schemeClr val="tx2"/>
                          </a:solidFill>
                          <a:effectLst/>
                          <a:latin typeface="微软雅黑" panose="020B0503020204020204" pitchFamily="34" charset="-122"/>
                          <a:ea typeface="微软雅黑" panose="020B0503020204020204" pitchFamily="34" charset="-122"/>
                          <a:cs typeface="Times New Roman" panose="02020603050405020304" pitchFamily="18" charset="0"/>
                        </a:rPr>
                        <a:t>万元</a:t>
                      </a:r>
                      <a:r>
                        <a:rPr kumimoji="0" lang="en-US" altLang="zh-CN" sz="1400" b="0" i="0" u="none" strike="noStrike" cap="none" normalizeH="0" baseline="0" dirty="0">
                          <a:ln>
                            <a:noFill/>
                          </a:ln>
                          <a:solidFill>
                            <a:schemeClr val="tx2"/>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6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endParaRPr kumimoji="0" lang="en-US" altLang="zh-CN" sz="1600" b="0" i="0" u="none" strike="noStrike" cap="none" normalizeH="0" baseline="0" dirty="0">
                        <a:ln>
                          <a:noFill/>
                        </a:ln>
                        <a:solidFill>
                          <a:schemeClr val="tx2"/>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0" marR="0" marT="0" marB="0" anchor="ctr"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8070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平均</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endParaRPr>
                    </a:p>
                    <a:p>
                      <a:pPr marL="0" marR="0" lvl="0" indent="0" algn="ctr" defTabSz="914400" rtl="0" eaLnBrk="0" fontAlgn="base" latinLnBrk="0" hangingPunct="0">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增长率</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Times New Roman" panose="02020603050405020304" pitchFamily="18" charset="0"/>
                        </a:rPr>
                        <a:t>%</a:t>
                      </a:r>
                    </a:p>
                  </a:txBody>
                  <a:tcPr marL="86223" marR="86223" marT="43123" marB="4312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6260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4485">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167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260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6167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64485">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6167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6482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Arial" panose="020B0604020202020204" pitchFamily="34" charset="0"/>
                        <a:ea typeface="宋体" panose="02010600030101010101" pitchFamily="2"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384049081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品牌经销店的售后服务业绩，如果适用</a:t>
            </a:r>
            <a:r>
              <a:rPr lang="en-US" altLang="zh-CN" dirty="0">
                <a:latin typeface="微软雅黑" panose="020B0503020204020204" pitchFamily="34" charset="-122"/>
                <a:ea typeface="微软雅黑" panose="020B0503020204020204" pitchFamily="34" charset="-122"/>
              </a:rPr>
              <a:t>(2):</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4</a:t>
            </a:fld>
            <a:endParaRPr lang="sv-SE">
              <a:latin typeface="微软雅黑" panose="020B0503020204020204" pitchFamily="34" charset="-122"/>
              <a:ea typeface="微软雅黑" panose="020B0503020204020204" pitchFamily="34" charset="-122"/>
            </a:endParaRPr>
          </a:p>
        </p:txBody>
      </p:sp>
      <p:graphicFrame>
        <p:nvGraphicFramePr>
          <p:cNvPr id="10" name="Group 118"/>
          <p:cNvGraphicFramePr>
            <a:graphicFrameLocks noGrp="1"/>
          </p:cNvGraphicFramePr>
          <p:nvPr>
            <p:ph sz="half" idx="4294967295"/>
            <p:extLst>
              <p:ext uri="{D42A27DB-BD31-4B8C-83A1-F6EECF244321}">
                <p14:modId xmlns:p14="http://schemas.microsoft.com/office/powerpoint/2010/main" val="2182901813"/>
              </p:ext>
            </p:extLst>
          </p:nvPr>
        </p:nvGraphicFramePr>
        <p:xfrm>
          <a:off x="403159" y="1676370"/>
          <a:ext cx="8304344" cy="3159473"/>
        </p:xfrm>
        <a:graphic>
          <a:graphicData uri="http://schemas.openxmlformats.org/drawingml/2006/table">
            <a:tbl>
              <a:tblPr/>
              <a:tblGrid>
                <a:gridCol w="673100">
                  <a:extLst>
                    <a:ext uri="{9D8B030D-6E8A-4147-A177-3AD203B41FA5}">
                      <a16:colId xmlns:a16="http://schemas.microsoft.com/office/drawing/2014/main" val="20000"/>
                    </a:ext>
                  </a:extLst>
                </a:gridCol>
                <a:gridCol w="576641">
                  <a:extLst>
                    <a:ext uri="{9D8B030D-6E8A-4147-A177-3AD203B41FA5}">
                      <a16:colId xmlns:a16="http://schemas.microsoft.com/office/drawing/2014/main" val="20001"/>
                    </a:ext>
                  </a:extLst>
                </a:gridCol>
                <a:gridCol w="481240">
                  <a:extLst>
                    <a:ext uri="{9D8B030D-6E8A-4147-A177-3AD203B41FA5}">
                      <a16:colId xmlns:a16="http://schemas.microsoft.com/office/drawing/2014/main" val="20002"/>
                    </a:ext>
                  </a:extLst>
                </a:gridCol>
                <a:gridCol w="528941">
                  <a:extLst>
                    <a:ext uri="{9D8B030D-6E8A-4147-A177-3AD203B41FA5}">
                      <a16:colId xmlns:a16="http://schemas.microsoft.com/office/drawing/2014/main" val="20003"/>
                    </a:ext>
                  </a:extLst>
                </a:gridCol>
                <a:gridCol w="576641">
                  <a:extLst>
                    <a:ext uri="{9D8B030D-6E8A-4147-A177-3AD203B41FA5}">
                      <a16:colId xmlns:a16="http://schemas.microsoft.com/office/drawing/2014/main" val="20004"/>
                    </a:ext>
                  </a:extLst>
                </a:gridCol>
                <a:gridCol w="528939">
                  <a:extLst>
                    <a:ext uri="{9D8B030D-6E8A-4147-A177-3AD203B41FA5}">
                      <a16:colId xmlns:a16="http://schemas.microsoft.com/office/drawing/2014/main" val="20005"/>
                    </a:ext>
                  </a:extLst>
                </a:gridCol>
                <a:gridCol w="528941">
                  <a:extLst>
                    <a:ext uri="{9D8B030D-6E8A-4147-A177-3AD203B41FA5}">
                      <a16:colId xmlns:a16="http://schemas.microsoft.com/office/drawing/2014/main" val="20006"/>
                    </a:ext>
                  </a:extLst>
                </a:gridCol>
                <a:gridCol w="481240">
                  <a:extLst>
                    <a:ext uri="{9D8B030D-6E8A-4147-A177-3AD203B41FA5}">
                      <a16:colId xmlns:a16="http://schemas.microsoft.com/office/drawing/2014/main" val="20007"/>
                    </a:ext>
                  </a:extLst>
                </a:gridCol>
                <a:gridCol w="481240">
                  <a:extLst>
                    <a:ext uri="{9D8B030D-6E8A-4147-A177-3AD203B41FA5}">
                      <a16:colId xmlns:a16="http://schemas.microsoft.com/office/drawing/2014/main" val="20008"/>
                    </a:ext>
                  </a:extLst>
                </a:gridCol>
                <a:gridCol w="673100">
                  <a:extLst>
                    <a:ext uri="{9D8B030D-6E8A-4147-A177-3AD203B41FA5}">
                      <a16:colId xmlns:a16="http://schemas.microsoft.com/office/drawing/2014/main" val="20009"/>
                    </a:ext>
                  </a:extLst>
                </a:gridCol>
                <a:gridCol w="673100">
                  <a:extLst>
                    <a:ext uri="{9D8B030D-6E8A-4147-A177-3AD203B41FA5}">
                      <a16:colId xmlns:a16="http://schemas.microsoft.com/office/drawing/2014/main" val="20010"/>
                    </a:ext>
                  </a:extLst>
                </a:gridCol>
                <a:gridCol w="673100">
                  <a:extLst>
                    <a:ext uri="{9D8B030D-6E8A-4147-A177-3AD203B41FA5}">
                      <a16:colId xmlns:a16="http://schemas.microsoft.com/office/drawing/2014/main" val="20011"/>
                    </a:ext>
                  </a:extLst>
                </a:gridCol>
                <a:gridCol w="673100">
                  <a:extLst>
                    <a:ext uri="{9D8B030D-6E8A-4147-A177-3AD203B41FA5}">
                      <a16:colId xmlns:a16="http://schemas.microsoft.com/office/drawing/2014/main" val="20012"/>
                    </a:ext>
                  </a:extLst>
                </a:gridCol>
                <a:gridCol w="755021">
                  <a:extLst>
                    <a:ext uri="{9D8B030D-6E8A-4147-A177-3AD203B41FA5}">
                      <a16:colId xmlns:a16="http://schemas.microsoft.com/office/drawing/2014/main" val="20013"/>
                    </a:ext>
                  </a:extLst>
                </a:gridCol>
              </a:tblGrid>
              <a:tr h="482668">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名称</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l"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客单价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技师效率</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技师日均工单数</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客户回厂率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gridSpan="4">
                  <a:txBody>
                    <a:bodyPr/>
                    <a:lstStyle/>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维修收入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万元</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rgbClr val="000000"/>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84167">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平均增长率</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651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9338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2651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2651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2414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2769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2532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27"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10429127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noAutofit/>
          </a:bodyPr>
          <a:lstStyle/>
          <a:p>
            <a:pPr marL="0" indent="0">
              <a:buNone/>
            </a:pPr>
            <a:r>
              <a:rPr lang="zh-CN" altLang="en-US" dirty="0">
                <a:latin typeface="微软雅黑" panose="020B0503020204020204" pitchFamily="34" charset="-122"/>
                <a:ea typeface="微软雅黑" panose="020B0503020204020204" pitchFamily="34" charset="-122"/>
              </a:rPr>
              <a:t>申请公司或主投资人所有经销店其它运营质量 *</a:t>
            </a:r>
            <a:r>
              <a:rPr lang="en-US" altLang="zh-CN" dirty="0">
                <a:latin typeface="微软雅黑" panose="020B0503020204020204" pitchFamily="34" charset="-122"/>
                <a:ea typeface="微软雅黑" panose="020B0503020204020204" pitchFamily="34" charset="-122"/>
              </a:rPr>
              <a:t>) :</a:t>
            </a: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r>
              <a:rPr lang="zh-CN" altLang="en-US" dirty="0">
                <a:solidFill>
                  <a:srgbClr val="FF0000"/>
                </a:solidFill>
                <a:latin typeface="微软雅黑" panose="020B0503020204020204" pitchFamily="34" charset="-122"/>
                <a:ea typeface="微软雅黑" panose="020B0503020204020204" pitchFamily="34" charset="-122"/>
              </a:rPr>
              <a:t>*</a:t>
            </a:r>
            <a:r>
              <a:rPr lang="en-US" altLang="zh-CN" dirty="0">
                <a:solidFill>
                  <a:srgbClr val="FF0000"/>
                </a:solidFill>
                <a:latin typeface="微软雅黑" panose="020B0503020204020204" pitchFamily="34" charset="-122"/>
                <a:ea typeface="微软雅黑" panose="020B0503020204020204" pitchFamily="34" charset="-122"/>
              </a:rPr>
              <a:t>) </a:t>
            </a:r>
            <a:r>
              <a:rPr lang="zh-CN" altLang="en-US" dirty="0">
                <a:solidFill>
                  <a:srgbClr val="FF0000"/>
                </a:solidFill>
                <a:latin typeface="微软雅黑" panose="020B0503020204020204" pitchFamily="34" charset="-122"/>
                <a:ea typeface="微软雅黑" panose="020B0503020204020204" pitchFamily="34" charset="-122"/>
              </a:rPr>
              <a:t>仅限于经销商承担部分</a:t>
            </a:r>
          </a:p>
          <a:p>
            <a:pPr marL="0" indent="0">
              <a:buNone/>
            </a:pPr>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5</a:t>
            </a:fld>
            <a:endParaRPr lang="sv-SE">
              <a:latin typeface="微软雅黑" panose="020B0503020204020204" pitchFamily="34" charset="-122"/>
              <a:ea typeface="微软雅黑" panose="020B0503020204020204" pitchFamily="34" charset="-122"/>
            </a:endParaRPr>
          </a:p>
        </p:txBody>
      </p:sp>
      <p:graphicFrame>
        <p:nvGraphicFramePr>
          <p:cNvPr id="9" name="Group 45"/>
          <p:cNvGraphicFramePr>
            <a:graphicFrameLocks noGrp="1"/>
          </p:cNvGraphicFramePr>
          <p:nvPr>
            <p:extLst>
              <p:ext uri="{D42A27DB-BD31-4B8C-83A1-F6EECF244321}">
                <p14:modId xmlns:p14="http://schemas.microsoft.com/office/powerpoint/2010/main" val="3317189189"/>
              </p:ext>
            </p:extLst>
          </p:nvPr>
        </p:nvGraphicFramePr>
        <p:xfrm>
          <a:off x="453916" y="1610345"/>
          <a:ext cx="8222417" cy="2804749"/>
        </p:xfrm>
        <a:graphic>
          <a:graphicData uri="http://schemas.openxmlformats.org/drawingml/2006/table">
            <a:tbl>
              <a:tblPr/>
              <a:tblGrid>
                <a:gridCol w="3470210">
                  <a:extLst>
                    <a:ext uri="{9D8B030D-6E8A-4147-A177-3AD203B41FA5}">
                      <a16:colId xmlns:a16="http://schemas.microsoft.com/office/drawing/2014/main" val="20000"/>
                    </a:ext>
                  </a:extLst>
                </a:gridCol>
                <a:gridCol w="1582960">
                  <a:extLst>
                    <a:ext uri="{9D8B030D-6E8A-4147-A177-3AD203B41FA5}">
                      <a16:colId xmlns:a16="http://schemas.microsoft.com/office/drawing/2014/main" val="20001"/>
                    </a:ext>
                  </a:extLst>
                </a:gridCol>
                <a:gridCol w="1474880">
                  <a:extLst>
                    <a:ext uri="{9D8B030D-6E8A-4147-A177-3AD203B41FA5}">
                      <a16:colId xmlns:a16="http://schemas.microsoft.com/office/drawing/2014/main" val="20002"/>
                    </a:ext>
                  </a:extLst>
                </a:gridCol>
                <a:gridCol w="1694367">
                  <a:extLst>
                    <a:ext uri="{9D8B030D-6E8A-4147-A177-3AD203B41FA5}">
                      <a16:colId xmlns:a16="http://schemas.microsoft.com/office/drawing/2014/main" val="20003"/>
                    </a:ext>
                  </a:extLst>
                </a:gridCol>
              </a:tblGrid>
              <a:tr h="36393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4210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平均单店市场营销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mp;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促销费用 </a:t>
                      </a:r>
                      <a:r>
                        <a:rPr kumimoji="0" lang="en-US" altLang="zh-CN" sz="1400" b="0" i="0" u="none" strike="noStrike" cap="none" normalizeH="0" baseline="30000" dirty="0">
                          <a:ln>
                            <a:noFill/>
                          </a:ln>
                          <a:solidFill>
                            <a:srgbClr val="FF0000"/>
                          </a:solidFill>
                          <a:effectLst/>
                          <a:latin typeface="微软雅黑" panose="020B0503020204020204" pitchFamily="34" charset="-122"/>
                          <a:ea typeface="微软雅黑" panose="020B0503020204020204" pitchFamily="34" charset="-122"/>
                          <a:cs typeface="Arial" panose="020B0604020202020204" pitchFamily="34" charset="0"/>
                        </a:rPr>
                        <a:t>*)</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8888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员工激励计划结构 </a:t>
                      </a:r>
                    </a:p>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固定工资</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奖金提成</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6296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销售顾问的平均月收入</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最高月收入</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8888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技工的平均月收入</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最高月收入</a:t>
                      </a:r>
                    </a:p>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7167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平均单店培训费用总计</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3168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人均培训费用</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64820" marR="6482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56314576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360364" y="1347788"/>
            <a:ext cx="8389936" cy="3673475"/>
          </a:xfrm>
        </p:spPr>
        <p:txBody>
          <a:bodyPr>
            <a:noAutofit/>
          </a:bodyPr>
          <a:lstStyle/>
          <a:p>
            <a:pPr marL="0" indent="0">
              <a:buNone/>
            </a:pPr>
            <a:r>
              <a:rPr lang="zh-CN" altLang="en-US" dirty="0">
                <a:latin typeface="微软雅黑" panose="020B0503020204020204" pitchFamily="34" charset="-122"/>
                <a:ea typeface="微软雅黑" panose="020B0503020204020204" pitchFamily="34" charset="-122"/>
              </a:rPr>
              <a:t>申请公司目前的财务业绩</a:t>
            </a:r>
            <a:r>
              <a:rPr lang="en-US" altLang="zh-CN" dirty="0">
                <a:latin typeface="微软雅黑" panose="020B0503020204020204" pitchFamily="34" charset="-122"/>
                <a:ea typeface="微软雅黑" panose="020B0503020204020204" pitchFamily="34" charset="-122"/>
              </a:rPr>
              <a:t>:</a:t>
            </a: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r>
              <a:rPr lang="zh-CN" altLang="en-US" dirty="0">
                <a:solidFill>
                  <a:srgbClr val="FF0000"/>
                </a:solidFill>
                <a:latin typeface="微软雅黑" panose="020B0503020204020204" pitchFamily="34" charset="-122"/>
                <a:ea typeface="微软雅黑" panose="020B0503020204020204" pitchFamily="34" charset="-122"/>
              </a:rPr>
              <a:t>*</a:t>
            </a:r>
            <a:r>
              <a:rPr lang="en-US" altLang="zh-CN" dirty="0">
                <a:solidFill>
                  <a:srgbClr val="FF0000"/>
                </a:solidFill>
                <a:latin typeface="微软雅黑" panose="020B0503020204020204" pitchFamily="34" charset="-122"/>
                <a:ea typeface="微软雅黑" panose="020B0503020204020204" pitchFamily="34" charset="-122"/>
              </a:rPr>
              <a:t>) </a:t>
            </a:r>
            <a:r>
              <a:rPr lang="zh-CN" altLang="en-US" dirty="0">
                <a:solidFill>
                  <a:srgbClr val="FF0000"/>
                </a:solidFill>
                <a:latin typeface="微软雅黑" panose="020B0503020204020204" pitchFamily="34" charset="-122"/>
                <a:ea typeface="微软雅黑" panose="020B0503020204020204" pitchFamily="34" charset="-122"/>
              </a:rPr>
              <a:t>净利润为税后净利润</a:t>
            </a:r>
          </a:p>
          <a:p>
            <a:pPr marL="0" indent="0">
              <a:buNone/>
            </a:pPr>
            <a:r>
              <a:rPr lang="zh-CN" altLang="en-US" dirty="0">
                <a:solidFill>
                  <a:srgbClr val="FF0000"/>
                </a:solidFill>
                <a:latin typeface="微软雅黑" panose="020B0503020204020204" pitchFamily="34" charset="-122"/>
                <a:ea typeface="微软雅黑" panose="020B0503020204020204" pitchFamily="34" charset="-122"/>
              </a:rPr>
              <a:t>*</a:t>
            </a:r>
            <a:r>
              <a:rPr lang="en-US" altLang="zh-CN" dirty="0">
                <a:solidFill>
                  <a:srgbClr val="FF0000"/>
                </a:solidFill>
                <a:latin typeface="微软雅黑" panose="020B0503020204020204" pitchFamily="34" charset="-122"/>
                <a:ea typeface="微软雅黑" panose="020B0503020204020204" pitchFamily="34" charset="-122"/>
              </a:rPr>
              <a:t>) </a:t>
            </a:r>
            <a:r>
              <a:rPr lang="zh-CN" altLang="en-US" dirty="0">
                <a:solidFill>
                  <a:srgbClr val="FF0000"/>
                </a:solidFill>
                <a:latin typeface="微软雅黑" panose="020B0503020204020204" pitchFamily="34" charset="-122"/>
                <a:ea typeface="微软雅黑" panose="020B0503020204020204" pitchFamily="34" charset="-122"/>
              </a:rPr>
              <a:t>服务吸收率含变动费用</a:t>
            </a: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6</a:t>
            </a:fld>
            <a:endParaRPr lang="sv-SE">
              <a:latin typeface="微软雅黑" panose="020B0503020204020204" pitchFamily="34" charset="-122"/>
              <a:ea typeface="微软雅黑" panose="020B0503020204020204" pitchFamily="34" charset="-122"/>
            </a:endParaRPr>
          </a:p>
        </p:txBody>
      </p:sp>
      <p:graphicFrame>
        <p:nvGraphicFramePr>
          <p:cNvPr id="9" name="Group 105"/>
          <p:cNvGraphicFramePr>
            <a:graphicFrameLocks noGrp="1"/>
          </p:cNvGraphicFramePr>
          <p:nvPr>
            <p:ph sz="half" idx="4294967295"/>
            <p:extLst>
              <p:ext uri="{D42A27DB-BD31-4B8C-83A1-F6EECF244321}">
                <p14:modId xmlns:p14="http://schemas.microsoft.com/office/powerpoint/2010/main" val="868200463"/>
              </p:ext>
            </p:extLst>
          </p:nvPr>
        </p:nvGraphicFramePr>
        <p:xfrm>
          <a:off x="425486" y="1642168"/>
          <a:ext cx="8259688" cy="2730555"/>
        </p:xfrm>
        <a:graphic>
          <a:graphicData uri="http://schemas.openxmlformats.org/drawingml/2006/table">
            <a:tbl>
              <a:tblPr/>
              <a:tblGrid>
                <a:gridCol w="1349893">
                  <a:extLst>
                    <a:ext uri="{9D8B030D-6E8A-4147-A177-3AD203B41FA5}">
                      <a16:colId xmlns:a16="http://schemas.microsoft.com/office/drawing/2014/main" val="20000"/>
                    </a:ext>
                  </a:extLst>
                </a:gridCol>
                <a:gridCol w="703392">
                  <a:extLst>
                    <a:ext uri="{9D8B030D-6E8A-4147-A177-3AD203B41FA5}">
                      <a16:colId xmlns:a16="http://schemas.microsoft.com/office/drawing/2014/main" val="20001"/>
                    </a:ext>
                  </a:extLst>
                </a:gridCol>
                <a:gridCol w="996904">
                  <a:extLst>
                    <a:ext uri="{9D8B030D-6E8A-4147-A177-3AD203B41FA5}">
                      <a16:colId xmlns:a16="http://schemas.microsoft.com/office/drawing/2014/main" val="20002"/>
                    </a:ext>
                  </a:extLst>
                </a:gridCol>
                <a:gridCol w="685291">
                  <a:extLst>
                    <a:ext uri="{9D8B030D-6E8A-4147-A177-3AD203B41FA5}">
                      <a16:colId xmlns:a16="http://schemas.microsoft.com/office/drawing/2014/main" val="20003"/>
                    </a:ext>
                  </a:extLst>
                </a:gridCol>
                <a:gridCol w="1015005">
                  <a:extLst>
                    <a:ext uri="{9D8B030D-6E8A-4147-A177-3AD203B41FA5}">
                      <a16:colId xmlns:a16="http://schemas.microsoft.com/office/drawing/2014/main" val="20004"/>
                    </a:ext>
                  </a:extLst>
                </a:gridCol>
                <a:gridCol w="797782">
                  <a:extLst>
                    <a:ext uri="{9D8B030D-6E8A-4147-A177-3AD203B41FA5}">
                      <a16:colId xmlns:a16="http://schemas.microsoft.com/office/drawing/2014/main" val="20005"/>
                    </a:ext>
                  </a:extLst>
                </a:gridCol>
                <a:gridCol w="903807">
                  <a:extLst>
                    <a:ext uri="{9D8B030D-6E8A-4147-A177-3AD203B41FA5}">
                      <a16:colId xmlns:a16="http://schemas.microsoft.com/office/drawing/2014/main" val="20006"/>
                    </a:ext>
                  </a:extLst>
                </a:gridCol>
                <a:gridCol w="903807">
                  <a:extLst>
                    <a:ext uri="{9D8B030D-6E8A-4147-A177-3AD203B41FA5}">
                      <a16:colId xmlns:a16="http://schemas.microsoft.com/office/drawing/2014/main" val="1173300104"/>
                    </a:ext>
                  </a:extLst>
                </a:gridCol>
                <a:gridCol w="903807">
                  <a:extLst>
                    <a:ext uri="{9D8B030D-6E8A-4147-A177-3AD203B41FA5}">
                      <a16:colId xmlns:a16="http://schemas.microsoft.com/office/drawing/2014/main" val="3525710423"/>
                    </a:ext>
                  </a:extLst>
                </a:gridCol>
              </a:tblGrid>
              <a:tr h="304689">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19</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28575" cap="flat" cmpd="sng" algn="ctr">
                      <a:solidFill>
                        <a:schemeClr val="tx1"/>
                      </a:solidFill>
                      <a:prstDash val="solid"/>
                      <a:round/>
                      <a:headEnd type="none" w="med" len="med"/>
                      <a:tailEnd type="none" w="med" len="med"/>
                    </a:ln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T w="28575" cap="flat" cmpd="sng" algn="ctr">
                      <a:solidFill>
                        <a:schemeClr val="tx1"/>
                      </a:solidFill>
                      <a:prstDash val="solid"/>
                      <a:round/>
                      <a:headEnd type="none" w="med" len="med"/>
                      <a:tailEnd type="none" w="med" len="med"/>
                    </a:lnT>
                    <a:lnTlToBr>
                      <a:noFill/>
                    </a:lnTlToBr>
                    <a:lnBlToTr>
                      <a:noFill/>
                    </a:lnBlToTr>
                    <a:noFill/>
                  </a:tcPr>
                </a:tc>
                <a:extLst>
                  <a:ext uri="{0D108BD9-81ED-4DB2-BD59-A6C34878D82A}">
                    <a16:rowId xmlns:a16="http://schemas.microsoft.com/office/drawing/2014/main" val="10000"/>
                  </a:ext>
                </a:extLst>
              </a:tr>
              <a:tr h="335740">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金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增长率 </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金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增长率 </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金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增长率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金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增长率 </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2797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总收入</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3768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毛利润</a:t>
                      </a: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3574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毛利率</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0004"/>
                  </a:ext>
                </a:extLst>
              </a:tr>
              <a:tr h="33671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净利润</a:t>
                      </a:r>
                      <a:r>
                        <a:rPr kumimoji="0" lang="en-US" altLang="zh-CN" sz="1400" b="0" i="0" u="none" strike="noStrike" cap="none" normalizeH="0" baseline="30000">
                          <a:ln>
                            <a:noFill/>
                          </a:ln>
                          <a:solidFill>
                            <a:srgbClr val="FF0000"/>
                          </a:solidFill>
                          <a:effectLst/>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3574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净利率</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0006"/>
                  </a:ext>
                </a:extLst>
              </a:tr>
              <a:tr h="41627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服务吸收率</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en-US" altLang="zh-CN" sz="1400" b="0" i="0" u="none" strike="noStrike" cap="none" normalizeH="0" baseline="30000" dirty="0">
                          <a:ln>
                            <a:noFill/>
                          </a:ln>
                          <a:solidFill>
                            <a:srgbClr val="FF0000"/>
                          </a:solidFill>
                          <a:effectLst/>
                          <a:latin typeface="微软雅黑" panose="020B0503020204020204" pitchFamily="34" charset="-122"/>
                          <a:ea typeface="微软雅黑" panose="020B0503020204020204" pitchFamily="34" charset="-122"/>
                          <a:cs typeface="Arial" panose="020B0604020202020204" pitchFamily="34" charset="0"/>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w="12700" cap="flat" cmpd="sng" algn="ctr">
                      <a:solidFill>
                        <a:schemeClr val="tx1"/>
                      </a:solidFill>
                      <a:prstDash val="solid"/>
                      <a:round/>
                      <a:headEnd type="none" w="med" len="med"/>
                      <a:tailEnd type="none" w="med" len="med"/>
                    </a:lnBlToTr>
                    <a:noFill/>
                  </a:tcPr>
                </a:tc>
                <a:extLst>
                  <a:ext uri="{0D108BD9-81ED-4DB2-BD59-A6C34878D82A}">
                    <a16:rowId xmlns:a16="http://schemas.microsoft.com/office/drawing/2014/main" val="10007"/>
                  </a:ext>
                </a:extLst>
              </a:tr>
            </a:tbl>
          </a:graphicData>
        </a:graphic>
      </p:graphicFrame>
      <p:sp>
        <p:nvSpPr>
          <p:cNvPr id="11" name="Text Box 74"/>
          <p:cNvSpPr txBox="1">
            <a:spLocks noChangeArrowheads="1"/>
          </p:cNvSpPr>
          <p:nvPr/>
        </p:nvSpPr>
        <p:spPr bwMode="auto">
          <a:xfrm>
            <a:off x="7101477" y="1243912"/>
            <a:ext cx="1612127" cy="286232"/>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r" eaLnBrk="1" fontAlgn="ctr" hangingPunct="1">
              <a:spcBef>
                <a:spcPct val="50000"/>
              </a:spcBef>
            </a:pPr>
            <a:r>
              <a:rPr lang="zh-CN" altLang="en-US" sz="1260" b="1" dirty="0">
                <a:solidFill>
                  <a:schemeClr val="bg2"/>
                </a:solidFill>
                <a:latin typeface="微软雅黑" panose="020B0503020204020204" pitchFamily="34" charset="-122"/>
                <a:ea typeface="微软雅黑" panose="020B0503020204020204" pitchFamily="34" charset="-122"/>
              </a:rPr>
              <a:t>单位</a:t>
            </a:r>
            <a:r>
              <a:rPr lang="en-US" altLang="zh-CN" sz="1260" b="1" dirty="0">
                <a:solidFill>
                  <a:schemeClr val="bg2"/>
                </a:solidFill>
                <a:latin typeface="微软雅黑" panose="020B0503020204020204" pitchFamily="34" charset="-122"/>
                <a:ea typeface="微软雅黑" panose="020B0503020204020204" pitchFamily="34" charset="-122"/>
              </a:rPr>
              <a:t>: </a:t>
            </a:r>
            <a:r>
              <a:rPr lang="zh-CN" altLang="en-US" sz="1260" b="1" dirty="0">
                <a:solidFill>
                  <a:schemeClr val="bg2"/>
                </a:solidFill>
                <a:latin typeface="微软雅黑" panose="020B0503020204020204" pitchFamily="34" charset="-122"/>
                <a:ea typeface="微软雅黑" panose="020B0503020204020204" pitchFamily="34" charset="-122"/>
              </a:rPr>
              <a:t>万元</a:t>
            </a:r>
            <a:endParaRPr lang="zh-CN" altLang="en-US" sz="1260" dirty="0">
              <a:solidFill>
                <a:schemeClr val="bg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53599153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申请公司目前的财务业绩</a:t>
            </a:r>
            <a:r>
              <a:rPr lang="en-US" altLang="zh-CN" dirty="0">
                <a:latin typeface="微软雅黑" panose="020B0503020204020204" pitchFamily="34" charset="-122"/>
                <a:ea typeface="微软雅黑" panose="020B0503020204020204" pitchFamily="34" charset="-122"/>
              </a:rPr>
              <a:t>:</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7</a:t>
            </a:fld>
            <a:endParaRPr lang="sv-SE">
              <a:latin typeface="微软雅黑" panose="020B0503020204020204" pitchFamily="34" charset="-122"/>
              <a:ea typeface="微软雅黑" panose="020B0503020204020204" pitchFamily="34" charset="-122"/>
            </a:endParaRPr>
          </a:p>
        </p:txBody>
      </p:sp>
      <p:graphicFrame>
        <p:nvGraphicFramePr>
          <p:cNvPr id="9" name="Group 119"/>
          <p:cNvGraphicFramePr>
            <a:graphicFrameLocks noGrp="1"/>
          </p:cNvGraphicFramePr>
          <p:nvPr>
            <p:ph sz="half" idx="4294967295"/>
            <p:extLst>
              <p:ext uri="{D42A27DB-BD31-4B8C-83A1-F6EECF244321}">
                <p14:modId xmlns:p14="http://schemas.microsoft.com/office/powerpoint/2010/main" val="316530642"/>
              </p:ext>
            </p:extLst>
          </p:nvPr>
        </p:nvGraphicFramePr>
        <p:xfrm>
          <a:off x="444123" y="1634020"/>
          <a:ext cx="8222416" cy="3104317"/>
        </p:xfrm>
        <a:graphic>
          <a:graphicData uri="http://schemas.openxmlformats.org/drawingml/2006/table">
            <a:tbl>
              <a:tblPr/>
              <a:tblGrid>
                <a:gridCol w="1521082">
                  <a:extLst>
                    <a:ext uri="{9D8B030D-6E8A-4147-A177-3AD203B41FA5}">
                      <a16:colId xmlns:a16="http://schemas.microsoft.com/office/drawing/2014/main" val="20000"/>
                    </a:ext>
                  </a:extLst>
                </a:gridCol>
                <a:gridCol w="2992178">
                  <a:extLst>
                    <a:ext uri="{9D8B030D-6E8A-4147-A177-3AD203B41FA5}">
                      <a16:colId xmlns:a16="http://schemas.microsoft.com/office/drawing/2014/main" val="20001"/>
                    </a:ext>
                  </a:extLst>
                </a:gridCol>
                <a:gridCol w="876943">
                  <a:extLst>
                    <a:ext uri="{9D8B030D-6E8A-4147-A177-3AD203B41FA5}">
                      <a16:colId xmlns:a16="http://schemas.microsoft.com/office/drawing/2014/main" val="20002"/>
                    </a:ext>
                  </a:extLst>
                </a:gridCol>
                <a:gridCol w="898367">
                  <a:extLst>
                    <a:ext uri="{9D8B030D-6E8A-4147-A177-3AD203B41FA5}">
                      <a16:colId xmlns:a16="http://schemas.microsoft.com/office/drawing/2014/main" val="20003"/>
                    </a:ext>
                  </a:extLst>
                </a:gridCol>
                <a:gridCol w="966923">
                  <a:extLst>
                    <a:ext uri="{9D8B030D-6E8A-4147-A177-3AD203B41FA5}">
                      <a16:colId xmlns:a16="http://schemas.microsoft.com/office/drawing/2014/main" val="3641809318"/>
                    </a:ext>
                  </a:extLst>
                </a:gridCol>
                <a:gridCol w="966923">
                  <a:extLst>
                    <a:ext uri="{9D8B030D-6E8A-4147-A177-3AD203B41FA5}">
                      <a16:colId xmlns:a16="http://schemas.microsoft.com/office/drawing/2014/main" val="20004"/>
                    </a:ext>
                  </a:extLst>
                </a:gridCol>
              </a:tblGrid>
              <a:tr h="23548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式</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19</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9996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净利润率</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税后净利润</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总营业额</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709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运营资产周转率</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总营业额</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所有者权益</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有息短期借款</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短期应付债券</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有息长期负债</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rgbClr val="C70540"/>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rgbClr val="C70540"/>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rgbClr val="C70540"/>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rgbClr val="C70540"/>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7793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资产负债率</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负债合计</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资产合计</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72005">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比率</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资产</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负债</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6692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速动比率</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资产</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存货）</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负债</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47096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净现金流</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经营活动</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投资活动</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融资活动的净现金流之和</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4912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所有者权益</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资产合计</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负债合计</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9403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固定资产原值</a:t>
                      </a: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固定资产原价</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6692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富余自有现金</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4"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7662745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如果将来新的沃尔沃汽车经销商有持股较大的股东，请按第四至二十七页的格式填写其他股东信息</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28</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60946103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zh-CN" altLang="en-US" b="1" dirty="0">
                <a:latin typeface="微软雅黑" panose="020B0503020204020204" pitchFamily="34" charset="-122"/>
                <a:ea typeface="微软雅黑" panose="020B0503020204020204" pitchFamily="34" charset="-122"/>
              </a:rPr>
              <a:t>申请沃尔沃经销商</a:t>
            </a:r>
            <a:br>
              <a:rPr lang="en-US" altLang="zh-CN" b="1" dirty="0">
                <a:latin typeface="微软雅黑" panose="020B0503020204020204" pitchFamily="34" charset="-122"/>
                <a:ea typeface="微软雅黑" panose="020B0503020204020204" pitchFamily="34" charset="-122"/>
              </a:rPr>
            </a:br>
            <a:r>
              <a:rPr lang="zh-CN" altLang="en-US" b="1" dirty="0">
                <a:latin typeface="微软雅黑" panose="020B0503020204020204" pitchFamily="34" charset="-122"/>
                <a:ea typeface="微软雅黑" panose="020B0503020204020204" pitchFamily="34" charset="-122"/>
              </a:rPr>
              <a:t>的业务计划</a:t>
            </a:r>
          </a:p>
        </p:txBody>
      </p:sp>
    </p:spTree>
    <p:extLst>
      <p:ext uri="{BB962C8B-B14F-4D97-AF65-F5344CB8AC3E}">
        <p14:creationId xmlns:p14="http://schemas.microsoft.com/office/powerpoint/2010/main" val="30488445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p:cNvSpPr>
            <a:spLocks noGrp="1"/>
          </p:cNvSpPr>
          <p:nvPr>
            <p:ph type="body" sz="quarter" idx="36"/>
          </p:nvPr>
        </p:nvSpPr>
        <p:spPr/>
        <p:txBody>
          <a:bodyPr>
            <a:normAutofit/>
          </a:bodyPr>
          <a:lstStyle/>
          <a:p>
            <a:pPr marL="623888" indent="-265113"/>
            <a:endParaRPr lang="en-US" altLang="zh-CN" sz="1800" dirty="0">
              <a:latin typeface="微软雅黑" panose="020B0503020204020204" pitchFamily="34" charset="-122"/>
              <a:ea typeface="微软雅黑" panose="020B0503020204020204" pitchFamily="34" charset="-122"/>
            </a:endParaRPr>
          </a:p>
          <a:p>
            <a:pPr marL="623888" indent="-265113"/>
            <a:r>
              <a:rPr lang="zh-CN" altLang="en-US" sz="1800" dirty="0">
                <a:latin typeface="微软雅黑" panose="020B0503020204020204" pitchFamily="34" charset="-122"/>
                <a:ea typeface="微软雅黑" panose="020B0503020204020204" pitchFamily="34" charset="-122"/>
              </a:rPr>
              <a:t> 申请公司介绍</a:t>
            </a:r>
            <a:endParaRPr lang="en-US" altLang="zh-CN" sz="1800" dirty="0">
              <a:latin typeface="微软雅黑" panose="020B0503020204020204" pitchFamily="34" charset="-122"/>
              <a:ea typeface="微软雅黑" panose="020B0503020204020204" pitchFamily="34" charset="-122"/>
            </a:endParaRPr>
          </a:p>
          <a:p>
            <a:pPr marL="623888" indent="-265113"/>
            <a:endParaRPr lang="en-US" altLang="zh-CN" sz="1800" dirty="0">
              <a:latin typeface="微软雅黑" panose="020B0503020204020204" pitchFamily="34" charset="-122"/>
              <a:ea typeface="微软雅黑" panose="020B0503020204020204" pitchFamily="34" charset="-122"/>
            </a:endParaRPr>
          </a:p>
          <a:p>
            <a:pPr marL="623888" indent="-265113"/>
            <a:r>
              <a:rPr lang="zh-CN" altLang="en-US" sz="1800" dirty="0">
                <a:latin typeface="微软雅黑" panose="020B0503020204020204" pitchFamily="34" charset="-122"/>
                <a:ea typeface="微软雅黑" panose="020B0503020204020204" pitchFamily="34" charset="-122"/>
              </a:rPr>
              <a:t>沃尔沃经销店业务计划</a:t>
            </a:r>
            <a:endParaRPr lang="en-GB" sz="1800" dirty="0">
              <a:latin typeface="微软雅黑" panose="020B0503020204020204" pitchFamily="34" charset="-122"/>
              <a:ea typeface="微软雅黑" panose="020B0503020204020204" pitchFamily="34" charset="-122"/>
            </a:endParaRPr>
          </a:p>
          <a:p>
            <a:pPr marL="0" indent="0">
              <a:buNone/>
            </a:pPr>
            <a:endParaRPr lang="en-US" altLang="zh-CN" dirty="0">
              <a:latin typeface="微软雅黑" panose="020B0503020204020204" pitchFamily="34" charset="-122"/>
              <a:ea typeface="微软雅黑" panose="020B0503020204020204" pitchFamily="34" charset="-122"/>
            </a:endParaRPr>
          </a:p>
        </p:txBody>
      </p:sp>
      <p:sp>
        <p:nvSpPr>
          <p:cNvPr id="6" name="Title 5"/>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cs typeface="Volvo Broad" panose="020B0604020202020204" charset="0"/>
              </a:rPr>
              <a:t>内容</a:t>
            </a:r>
            <a:endParaRPr lang="en-GB" dirty="0">
              <a:latin typeface="微软雅黑" panose="020B0503020204020204" pitchFamily="34" charset="-122"/>
              <a:ea typeface="微软雅黑" panose="020B0503020204020204" pitchFamily="34" charset="-122"/>
              <a:cs typeface="Volvo Broad" panose="020B0604020202020204" charset="0"/>
            </a:endParaRPr>
          </a:p>
        </p:txBody>
      </p:sp>
      <p:sp>
        <p:nvSpPr>
          <p:cNvPr id="5" name="Slide Number Placeholder 4"/>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a:t>
            </a:fld>
            <a:endParaRPr lang="sv-SE"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9191884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当地市场分析 </a:t>
            </a:r>
            <a:r>
              <a:rPr lang="en-US" altLang="zh-CN" b="1" dirty="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行政区划地图和介绍</a:t>
            </a:r>
            <a:r>
              <a:rPr lang="en-US" altLang="zh-CN" b="1" dirty="0">
                <a:latin typeface="微软雅黑" panose="020B0503020204020204" pitchFamily="34" charset="-122"/>
                <a:ea typeface="微软雅黑" panose="020B0503020204020204" pitchFamily="34" charset="-122"/>
              </a:rPr>
              <a:t>)</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0</a:t>
            </a:fld>
            <a:endParaRPr lang="sv-SE">
              <a:latin typeface="微软雅黑" panose="020B0503020204020204" pitchFamily="34" charset="-122"/>
              <a:ea typeface="微软雅黑" panose="020B0503020204020204" pitchFamily="34" charset="-122"/>
            </a:endParaRPr>
          </a:p>
        </p:txBody>
      </p:sp>
      <p:sp>
        <p:nvSpPr>
          <p:cNvPr id="9" name="Text Box 2"/>
          <p:cNvSpPr txBox="1">
            <a:spLocks noChangeArrowheads="1"/>
          </p:cNvSpPr>
          <p:nvPr/>
        </p:nvSpPr>
        <p:spPr bwMode="auto">
          <a:xfrm>
            <a:off x="453916" y="3071552"/>
            <a:ext cx="4526529" cy="1615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marL="177800" indent="-177800">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buFont typeface="Wingdings" panose="05000000000000000000" pitchFamily="2" charset="2"/>
              <a:buNone/>
            </a:pPr>
            <a:r>
              <a:rPr lang="en-US" altLang="zh-CN" sz="990" b="1" dirty="0">
                <a:solidFill>
                  <a:schemeClr val="tx1"/>
                </a:solidFill>
                <a:latin typeface="微软雅黑" panose="020B0503020204020204" pitchFamily="34" charset="-122"/>
                <a:ea typeface="微软雅黑" panose="020B0503020204020204" pitchFamily="34" charset="-122"/>
              </a:rPr>
              <a:t>- </a:t>
            </a:r>
            <a:r>
              <a:rPr lang="zh-CN" altLang="en-US" sz="990" b="1" dirty="0">
                <a:solidFill>
                  <a:schemeClr val="tx1"/>
                </a:solidFill>
                <a:latin typeface="微软雅黑" panose="020B0503020204020204" pitchFamily="34" charset="-122"/>
                <a:ea typeface="微软雅黑" panose="020B0503020204020204" pitchFamily="34" charset="-122"/>
              </a:rPr>
              <a:t>地理位置 （</a:t>
            </a:r>
            <a:r>
              <a:rPr lang="zh-CN" altLang="en-US" sz="990" b="1" dirty="0">
                <a:solidFill>
                  <a:srgbClr val="C70540"/>
                </a:solidFill>
                <a:latin typeface="微软雅黑" panose="020B0503020204020204" pitchFamily="34" charset="-122"/>
                <a:ea typeface="微软雅黑" panose="020B0503020204020204" pitchFamily="34" charset="-122"/>
              </a:rPr>
              <a:t>例</a:t>
            </a:r>
            <a:r>
              <a:rPr lang="zh-CN" altLang="en-US" sz="990" b="1" dirty="0">
                <a:solidFill>
                  <a:schemeClr val="tx1"/>
                </a:solidFill>
                <a:latin typeface="微软雅黑" panose="020B0503020204020204" pitchFamily="34" charset="-122"/>
                <a:ea typeface="微软雅黑" panose="020B0503020204020204" pitchFamily="34" charset="-122"/>
              </a:rPr>
              <a:t>）</a:t>
            </a: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1 </a:t>
            </a:r>
            <a:r>
              <a:rPr lang="zh-CN" altLang="en-US" sz="990" dirty="0">
                <a:solidFill>
                  <a:schemeClr val="tx1"/>
                </a:solidFill>
                <a:latin typeface="微软雅黑" panose="020B0503020204020204" pitchFamily="34" charset="-122"/>
                <a:ea typeface="微软雅黑" panose="020B0503020204020204" pitchFamily="34" charset="-122"/>
              </a:rPr>
              <a:t>位于中国（</a:t>
            </a:r>
            <a:r>
              <a:rPr lang="zh-CN" altLang="en-US" sz="990" dirty="0">
                <a:solidFill>
                  <a:srgbClr val="C70540"/>
                </a:solidFill>
                <a:latin typeface="微软雅黑" panose="020B0503020204020204" pitchFamily="34" charset="-122"/>
                <a:ea typeface="微软雅黑" panose="020B0503020204020204" pitchFamily="34" charset="-122"/>
              </a:rPr>
              <a:t>西南</a:t>
            </a:r>
            <a:r>
              <a:rPr lang="zh-CN" altLang="en-US" sz="990" dirty="0">
                <a:solidFill>
                  <a:schemeClr val="tx1"/>
                </a:solidFill>
                <a:latin typeface="微软雅黑" panose="020B0503020204020204" pitchFamily="34" charset="-122"/>
                <a:ea typeface="微软雅黑" panose="020B0503020204020204" pitchFamily="34" charset="-122"/>
              </a:rPr>
              <a:t>）区域，属于（ ）省</a:t>
            </a: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2 </a:t>
            </a:r>
            <a:r>
              <a:rPr lang="zh-CN" altLang="en-US" sz="990" dirty="0">
                <a:solidFill>
                  <a:schemeClr val="tx1"/>
                </a:solidFill>
                <a:latin typeface="微软雅黑" panose="020B0503020204020204" pitchFamily="34" charset="-122"/>
                <a:ea typeface="微软雅黑" panose="020B0503020204020204" pitchFamily="34" charset="-122"/>
              </a:rPr>
              <a:t>（</a:t>
            </a:r>
            <a:r>
              <a:rPr lang="zh-CN" altLang="en-US" sz="990" dirty="0">
                <a:solidFill>
                  <a:srgbClr val="C70540"/>
                </a:solidFill>
                <a:latin typeface="微软雅黑" panose="020B0503020204020204" pitchFamily="34" charset="-122"/>
                <a:ea typeface="微软雅黑" panose="020B0503020204020204" pitchFamily="34" charset="-122"/>
              </a:rPr>
              <a:t>是</a:t>
            </a:r>
            <a:r>
              <a:rPr lang="zh-CN" altLang="en-US" sz="990" dirty="0">
                <a:solidFill>
                  <a:schemeClr val="tx1"/>
                </a:solidFill>
                <a:latin typeface="微软雅黑" panose="020B0503020204020204" pitchFamily="34" charset="-122"/>
                <a:ea typeface="微软雅黑" panose="020B0503020204020204" pitchFamily="34" charset="-122"/>
              </a:rPr>
              <a:t>）沿海城市，临（</a:t>
            </a:r>
            <a:r>
              <a:rPr lang="zh-CN" altLang="en-US" sz="990" dirty="0">
                <a:solidFill>
                  <a:srgbClr val="C70540"/>
                </a:solidFill>
                <a:latin typeface="微软雅黑" panose="020B0503020204020204" pitchFamily="34" charset="-122"/>
                <a:ea typeface="微软雅黑" panose="020B0503020204020204" pitchFamily="34" charset="-122"/>
              </a:rPr>
              <a:t>东</a:t>
            </a:r>
            <a:r>
              <a:rPr lang="zh-CN" altLang="en-US" sz="990" dirty="0">
                <a:solidFill>
                  <a:schemeClr val="tx1"/>
                </a:solidFill>
                <a:latin typeface="微软雅黑" panose="020B0503020204020204" pitchFamily="34" charset="-122"/>
                <a:ea typeface="微软雅黑" panose="020B0503020204020204" pitchFamily="34" charset="-122"/>
              </a:rPr>
              <a:t>）海</a:t>
            </a: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3 </a:t>
            </a:r>
            <a:r>
              <a:rPr lang="zh-CN" altLang="en-US" sz="990" dirty="0">
                <a:solidFill>
                  <a:schemeClr val="tx1"/>
                </a:solidFill>
                <a:latin typeface="微软雅黑" panose="020B0503020204020204" pitchFamily="34" charset="-122"/>
                <a:ea typeface="微软雅黑" panose="020B0503020204020204" pitchFamily="34" charset="-122"/>
              </a:rPr>
              <a:t>城市有</a:t>
            </a:r>
            <a:r>
              <a:rPr lang="zh-CN" altLang="en-US" sz="990" dirty="0">
                <a:solidFill>
                  <a:srgbClr val="C70540"/>
                </a:solidFill>
                <a:latin typeface="微软雅黑" panose="020B0503020204020204" pitchFamily="34" charset="-122"/>
                <a:ea typeface="微软雅黑" panose="020B0503020204020204" pitchFamily="34" charset="-122"/>
              </a:rPr>
              <a:t>几个</a:t>
            </a:r>
            <a:r>
              <a:rPr lang="zh-CN" altLang="en-US" sz="990" dirty="0">
                <a:solidFill>
                  <a:schemeClr val="tx1"/>
                </a:solidFill>
                <a:latin typeface="微软雅黑" panose="020B0503020204020204" pitchFamily="34" charset="-122"/>
                <a:ea typeface="微软雅黑" panose="020B0503020204020204" pitchFamily="34" charset="-122"/>
              </a:rPr>
              <a:t>区（</a:t>
            </a:r>
            <a:r>
              <a:rPr lang="zh-CN" altLang="en-US" sz="990" dirty="0">
                <a:solidFill>
                  <a:srgbClr val="C70540"/>
                </a:solidFill>
                <a:latin typeface="微软雅黑" panose="020B0503020204020204" pitchFamily="34" charset="-122"/>
                <a:ea typeface="微软雅黑" panose="020B0503020204020204" pitchFamily="34" charset="-122"/>
              </a:rPr>
              <a:t>具体名称</a:t>
            </a:r>
            <a:r>
              <a:rPr lang="zh-CN" altLang="en-US" sz="990" dirty="0">
                <a:solidFill>
                  <a:schemeClr val="tx1"/>
                </a:solidFill>
                <a:latin typeface="微软雅黑" panose="020B0503020204020204" pitchFamily="34" charset="-122"/>
                <a:ea typeface="微软雅黑" panose="020B0503020204020204" pitchFamily="34" charset="-122"/>
              </a:rPr>
              <a:t>）； 有</a:t>
            </a:r>
            <a:r>
              <a:rPr lang="zh-CN" altLang="en-US" sz="990" dirty="0">
                <a:solidFill>
                  <a:srgbClr val="C70540"/>
                </a:solidFill>
                <a:latin typeface="微软雅黑" panose="020B0503020204020204" pitchFamily="34" charset="-122"/>
                <a:ea typeface="微软雅黑" panose="020B0503020204020204" pitchFamily="34" charset="-122"/>
              </a:rPr>
              <a:t>几个</a:t>
            </a:r>
            <a:r>
              <a:rPr lang="zh-CN" altLang="en-US" sz="990" dirty="0">
                <a:solidFill>
                  <a:schemeClr val="tx1"/>
                </a:solidFill>
                <a:latin typeface="微软雅黑" panose="020B0503020204020204" pitchFamily="34" charset="-122"/>
                <a:ea typeface="微软雅黑" panose="020B0503020204020204" pitchFamily="34" charset="-122"/>
              </a:rPr>
              <a:t>县（</a:t>
            </a:r>
            <a:r>
              <a:rPr lang="zh-CN" altLang="en-US" sz="990" dirty="0">
                <a:solidFill>
                  <a:srgbClr val="C70540"/>
                </a:solidFill>
                <a:latin typeface="微软雅黑" panose="020B0503020204020204" pitchFamily="34" charset="-122"/>
                <a:ea typeface="微软雅黑" panose="020B0503020204020204" pitchFamily="34" charset="-122"/>
              </a:rPr>
              <a:t>具体名称</a:t>
            </a:r>
            <a:r>
              <a:rPr lang="zh-CN" altLang="en-US" sz="990" dirty="0">
                <a:solidFill>
                  <a:schemeClr val="tx1"/>
                </a:solidFill>
                <a:latin typeface="微软雅黑" panose="020B0503020204020204" pitchFamily="34" charset="-122"/>
                <a:ea typeface="微软雅黑" panose="020B0503020204020204" pitchFamily="34" charset="-122"/>
              </a:rPr>
              <a:t>）； 有</a:t>
            </a:r>
            <a:r>
              <a:rPr lang="zh-CN" altLang="en-US" sz="990" dirty="0">
                <a:solidFill>
                  <a:srgbClr val="C70540"/>
                </a:solidFill>
                <a:latin typeface="微软雅黑" panose="020B0503020204020204" pitchFamily="34" charset="-122"/>
                <a:ea typeface="微软雅黑" panose="020B0503020204020204" pitchFamily="34" charset="-122"/>
              </a:rPr>
              <a:t>几个</a:t>
            </a:r>
            <a:r>
              <a:rPr lang="zh-CN" altLang="en-US" sz="990" dirty="0">
                <a:solidFill>
                  <a:schemeClr val="tx1"/>
                </a:solidFill>
                <a:latin typeface="微软雅黑" panose="020B0503020204020204" pitchFamily="34" charset="-122"/>
                <a:ea typeface="微软雅黑" panose="020B0503020204020204" pitchFamily="34" charset="-122"/>
              </a:rPr>
              <a:t>经济开发区（</a:t>
            </a:r>
            <a:r>
              <a:rPr lang="zh-CN" altLang="en-US" sz="990" dirty="0">
                <a:solidFill>
                  <a:srgbClr val="C70540"/>
                </a:solidFill>
                <a:latin typeface="微软雅黑" panose="020B0503020204020204" pitchFamily="34" charset="-122"/>
                <a:ea typeface="微软雅黑" panose="020B0503020204020204" pitchFamily="34" charset="-122"/>
              </a:rPr>
              <a:t>具体名称</a:t>
            </a:r>
            <a:r>
              <a:rPr lang="zh-CN" altLang="en-US" sz="990" dirty="0">
                <a:solidFill>
                  <a:schemeClr val="tx1"/>
                </a:solidFill>
                <a:latin typeface="微软雅黑" panose="020B0503020204020204" pitchFamily="34" charset="-122"/>
                <a:ea typeface="微软雅黑" panose="020B0503020204020204" pitchFamily="34" charset="-122"/>
              </a:rPr>
              <a:t>）</a:t>
            </a:r>
            <a:endParaRPr lang="en-US" altLang="zh-CN" sz="990" dirty="0">
              <a:solidFill>
                <a:schemeClr val="tx1"/>
              </a:solidFill>
              <a:latin typeface="微软雅黑" panose="020B0503020204020204" pitchFamily="34" charset="-122"/>
              <a:ea typeface="微软雅黑" panose="020B0503020204020204" pitchFamily="34" charset="-122"/>
            </a:endParaRPr>
          </a:p>
          <a:p>
            <a:pPr eaLnBrk="1" hangingPunct="1"/>
            <a:endParaRPr lang="zh-CN" altLang="en-US" sz="990" dirty="0">
              <a:solidFill>
                <a:schemeClr val="tx1"/>
              </a:solidFill>
              <a:latin typeface="微软雅黑" panose="020B0503020204020204" pitchFamily="34" charset="-122"/>
              <a:ea typeface="微软雅黑" panose="020B0503020204020204" pitchFamily="34" charset="-122"/>
            </a:endParaRPr>
          </a:p>
          <a:p>
            <a:pPr eaLnBrk="1" hangingPunct="1">
              <a:buFont typeface="Wingdings" panose="05000000000000000000" pitchFamily="2" charset="2"/>
              <a:buNone/>
            </a:pPr>
            <a:r>
              <a:rPr lang="en-US" altLang="zh-CN" sz="990" b="1" dirty="0">
                <a:solidFill>
                  <a:schemeClr val="tx1"/>
                </a:solidFill>
                <a:latin typeface="微软雅黑" panose="020B0503020204020204" pitchFamily="34" charset="-122"/>
                <a:ea typeface="微软雅黑" panose="020B0503020204020204" pitchFamily="34" charset="-122"/>
              </a:rPr>
              <a:t>- </a:t>
            </a:r>
            <a:r>
              <a:rPr lang="zh-CN" altLang="en-US" sz="990" b="1" dirty="0">
                <a:solidFill>
                  <a:schemeClr val="tx1"/>
                </a:solidFill>
                <a:latin typeface="微软雅黑" panose="020B0503020204020204" pitchFamily="34" charset="-122"/>
                <a:ea typeface="微软雅黑" panose="020B0503020204020204" pitchFamily="34" charset="-122"/>
              </a:rPr>
              <a:t>当地经济及人口状况</a:t>
            </a:r>
            <a:endParaRPr lang="zh-CN" altLang="en-US" sz="990" dirty="0">
              <a:solidFill>
                <a:schemeClr val="tx1"/>
              </a:solidFill>
              <a:latin typeface="微软雅黑" panose="020B0503020204020204" pitchFamily="34" charset="-122"/>
              <a:ea typeface="微软雅黑" panose="020B0503020204020204" pitchFamily="34" charset="-122"/>
            </a:endParaRP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1 </a:t>
            </a:r>
            <a:r>
              <a:rPr lang="zh-CN" altLang="en-US" sz="990" dirty="0">
                <a:solidFill>
                  <a:schemeClr val="tx1"/>
                </a:solidFill>
                <a:latin typeface="微软雅黑" panose="020B0503020204020204" pitchFamily="34" charset="-122"/>
                <a:ea typeface="微软雅黑" panose="020B0503020204020204" pitchFamily="34" charset="-122"/>
              </a:rPr>
              <a:t>以什么经济为主，发展状况和趋势如何</a:t>
            </a: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2 </a:t>
            </a:r>
            <a:r>
              <a:rPr lang="zh-CN" altLang="en-US" sz="990" dirty="0">
                <a:solidFill>
                  <a:schemeClr val="tx1"/>
                </a:solidFill>
                <a:latin typeface="微软雅黑" panose="020B0503020204020204" pitchFamily="34" charset="-122"/>
                <a:ea typeface="微软雅黑" panose="020B0503020204020204" pitchFamily="34" charset="-122"/>
              </a:rPr>
              <a:t>当地消费习惯</a:t>
            </a:r>
          </a:p>
          <a:p>
            <a:pPr eaLnBrk="1" hangingPunct="1"/>
            <a:r>
              <a:rPr lang="en-US" altLang="zh-CN" sz="990" dirty="0">
                <a:solidFill>
                  <a:schemeClr val="tx1"/>
                </a:solidFill>
                <a:latin typeface="微软雅黑" panose="020B0503020204020204" pitchFamily="34" charset="-122"/>
                <a:ea typeface="微软雅黑" panose="020B0503020204020204" pitchFamily="34" charset="-122"/>
              </a:rPr>
              <a:t>3 </a:t>
            </a:r>
            <a:r>
              <a:rPr lang="zh-CN" altLang="en-US" sz="990" dirty="0">
                <a:solidFill>
                  <a:schemeClr val="tx1"/>
                </a:solidFill>
                <a:latin typeface="微软雅黑" panose="020B0503020204020204" pitchFamily="34" charset="-122"/>
                <a:ea typeface="微软雅黑" panose="020B0503020204020204" pitchFamily="34" charset="-122"/>
              </a:rPr>
              <a:t>是否有与汽车行业相关的政策信息（如新规划的汽车城，汽车消费等新政策）</a:t>
            </a:r>
            <a:endParaRPr lang="en-US" altLang="zh-CN" sz="990" dirty="0">
              <a:solidFill>
                <a:schemeClr val="tx1"/>
              </a:solidFill>
              <a:latin typeface="微软雅黑" panose="020B0503020204020204" pitchFamily="34" charset="-122"/>
              <a:ea typeface="微软雅黑" panose="020B0503020204020204" pitchFamily="34" charset="-122"/>
            </a:endParaRPr>
          </a:p>
        </p:txBody>
      </p:sp>
      <p:pic>
        <p:nvPicPr>
          <p:cNvPr id="10" name="Picture 73" descr="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54412" y="1485570"/>
            <a:ext cx="3695888" cy="2393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Box 74"/>
          <p:cNvSpPr txBox="1">
            <a:spLocks noChangeArrowheads="1"/>
          </p:cNvSpPr>
          <p:nvPr/>
        </p:nvSpPr>
        <p:spPr bwMode="auto">
          <a:xfrm>
            <a:off x="7698134" y="4193909"/>
            <a:ext cx="983647" cy="280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6223" tIns="43112" rIns="86223" bIns="43112">
            <a:spAutoFit/>
          </a:bodyPr>
          <a:lstStyle>
            <a:lvl1pPr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algn="ctr" eaLnBrk="1" hangingPunct="1"/>
            <a:r>
              <a:rPr lang="zh-CN" altLang="en-US" sz="1260" b="1" dirty="0">
                <a:latin typeface="微软雅黑" panose="020B0503020204020204" pitchFamily="34" charset="-122"/>
                <a:ea typeface="微软雅黑" panose="020B0503020204020204" pitchFamily="34" charset="-122"/>
              </a:rPr>
              <a:t>地图（</a:t>
            </a:r>
            <a:r>
              <a:rPr lang="zh-CN" altLang="en-US" sz="1260" b="1" dirty="0">
                <a:solidFill>
                  <a:srgbClr val="C70540"/>
                </a:solidFill>
                <a:latin typeface="微软雅黑" panose="020B0503020204020204" pitchFamily="34" charset="-122"/>
                <a:ea typeface="微软雅黑" panose="020B0503020204020204" pitchFamily="34" charset="-122"/>
              </a:rPr>
              <a:t>例</a:t>
            </a:r>
            <a:r>
              <a:rPr lang="zh-CN" altLang="en-US" sz="1260" b="1" dirty="0">
                <a:latin typeface="微软雅黑" panose="020B0503020204020204" pitchFamily="34" charset="-122"/>
                <a:ea typeface="微软雅黑" panose="020B0503020204020204" pitchFamily="34" charset="-122"/>
              </a:rPr>
              <a:t>）</a:t>
            </a:r>
          </a:p>
        </p:txBody>
      </p:sp>
      <p:graphicFrame>
        <p:nvGraphicFramePr>
          <p:cNvPr id="12" name="Table 11"/>
          <p:cNvGraphicFramePr>
            <a:graphicFrameLocks noGrp="1"/>
          </p:cNvGraphicFramePr>
          <p:nvPr>
            <p:extLst>
              <p:ext uri="{D42A27DB-BD31-4B8C-83A1-F6EECF244321}">
                <p14:modId xmlns:p14="http://schemas.microsoft.com/office/powerpoint/2010/main" val="1990489723"/>
              </p:ext>
            </p:extLst>
          </p:nvPr>
        </p:nvGraphicFramePr>
        <p:xfrm>
          <a:off x="343746" y="1326833"/>
          <a:ext cx="4415539" cy="1711668"/>
        </p:xfrm>
        <a:graphic>
          <a:graphicData uri="http://schemas.openxmlformats.org/drawingml/2006/table">
            <a:tbl>
              <a:tblPr firstRow="1" bandRow="1">
                <a:tableStyleId>{5C22544A-7EE6-4342-B048-85BDC9FD1C3A}</a:tableStyleId>
              </a:tblPr>
              <a:tblGrid>
                <a:gridCol w="1057995">
                  <a:extLst>
                    <a:ext uri="{9D8B030D-6E8A-4147-A177-3AD203B41FA5}">
                      <a16:colId xmlns:a16="http://schemas.microsoft.com/office/drawing/2014/main" val="20000"/>
                    </a:ext>
                  </a:extLst>
                </a:gridCol>
                <a:gridCol w="3357544">
                  <a:extLst>
                    <a:ext uri="{9D8B030D-6E8A-4147-A177-3AD203B41FA5}">
                      <a16:colId xmlns:a16="http://schemas.microsoft.com/office/drawing/2014/main" val="20001"/>
                    </a:ext>
                  </a:extLst>
                </a:gridCol>
              </a:tblGrid>
              <a:tr h="392061">
                <a:tc gridSpan="2">
                  <a:txBody>
                    <a:bodyPr/>
                    <a:lstStyle/>
                    <a:p>
                      <a:pPr algn="ctr"/>
                      <a:r>
                        <a:rPr lang="zh-CN" altLang="en-US" sz="1400" dirty="0">
                          <a:solidFill>
                            <a:schemeClr val="tx1"/>
                          </a:solidFill>
                          <a:latin typeface="微软雅黑" panose="020B0503020204020204" pitchFamily="34" charset="-122"/>
                          <a:ea typeface="微软雅黑" panose="020B0503020204020204" pitchFamily="34" charset="-122"/>
                        </a:rPr>
                        <a:t>城市介绍</a:t>
                      </a:r>
                      <a:endParaRPr lang="en-GB" sz="1400" dirty="0">
                        <a:solidFill>
                          <a:schemeClr val="tx1"/>
                        </a:solidFill>
                        <a:latin typeface="微软雅黑" panose="020B0503020204020204" pitchFamily="34" charset="-122"/>
                        <a:ea typeface="微软雅黑" panose="020B0503020204020204" pitchFamily="34" charset="-122"/>
                      </a:endParaRPr>
                    </a:p>
                  </a:txBody>
                  <a:tcPr marL="82321" marR="82321" marT="41161" marB="41161">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hMerge="1">
                  <a:txBody>
                    <a:bodyPr/>
                    <a:lstStyle/>
                    <a:p>
                      <a:endParaRPr lang="en-GB" sz="1400" dirty="0">
                        <a:solidFill>
                          <a:schemeClr val="tx1"/>
                        </a:solidFill>
                      </a:endParaRPr>
                    </a:p>
                  </a:txBody>
                  <a:tcPr>
                    <a:noFill/>
                  </a:tcPr>
                </a:tc>
                <a:extLst>
                  <a:ext uri="{0D108BD9-81ED-4DB2-BD59-A6C34878D82A}">
                    <a16:rowId xmlns:a16="http://schemas.microsoft.com/office/drawing/2014/main" val="10000"/>
                  </a:ext>
                </a:extLst>
              </a:tr>
              <a:tr h="608225">
                <a:tc>
                  <a:txBody>
                    <a:bodyPr/>
                    <a:lstStyle/>
                    <a:p>
                      <a:r>
                        <a:rPr lang="zh-CN" altLang="en-US" sz="1400" baseline="0" dirty="0">
                          <a:solidFill>
                            <a:schemeClr val="tx1"/>
                          </a:solidFill>
                          <a:latin typeface="微软雅黑" panose="020B0503020204020204" pitchFamily="34" charset="-122"/>
                          <a:ea typeface="微软雅黑" panose="020B0503020204020204" pitchFamily="34" charset="-122"/>
                        </a:rPr>
                        <a:t>地理位置</a:t>
                      </a:r>
                      <a:endParaRPr lang="en-GB" sz="1400" baseline="0" dirty="0">
                        <a:solidFill>
                          <a:schemeClr val="tx1"/>
                        </a:solidFill>
                        <a:latin typeface="微软雅黑" panose="020B0503020204020204" pitchFamily="34" charset="-122"/>
                        <a:ea typeface="微软雅黑" panose="020B0503020204020204" pitchFamily="34" charset="-122"/>
                      </a:endParaRPr>
                    </a:p>
                  </a:txBody>
                  <a:tcPr marL="82321" marR="82321" marT="41161" marB="41161"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400" baseline="0" dirty="0">
                        <a:solidFill>
                          <a:schemeClr val="tx1"/>
                        </a:solidFill>
                        <a:latin typeface="微软雅黑" panose="020B0503020204020204" pitchFamily="34" charset="-122"/>
                        <a:ea typeface="微软雅黑" panose="020B0503020204020204" pitchFamily="34" charset="-122"/>
                      </a:endParaRPr>
                    </a:p>
                  </a:txBody>
                  <a:tcPr marL="82321" marR="82321" marT="41161" marB="41161"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711382">
                <a:tc>
                  <a:txBody>
                    <a:bodyPr/>
                    <a:lstStyle/>
                    <a:p>
                      <a:r>
                        <a:rPr lang="zh-CN" altLang="en-US" sz="1400" baseline="0" dirty="0">
                          <a:solidFill>
                            <a:schemeClr val="tx1"/>
                          </a:solidFill>
                          <a:latin typeface="微软雅黑" panose="020B0503020204020204" pitchFamily="34" charset="-122"/>
                          <a:ea typeface="微软雅黑" panose="020B0503020204020204" pitchFamily="34" charset="-122"/>
                        </a:rPr>
                        <a:t>当地经济及人口状况</a:t>
                      </a:r>
                      <a:endParaRPr lang="en-GB" sz="1400" baseline="0" dirty="0">
                        <a:solidFill>
                          <a:schemeClr val="tx1"/>
                        </a:solidFill>
                        <a:latin typeface="微软雅黑" panose="020B0503020204020204" pitchFamily="34" charset="-122"/>
                        <a:ea typeface="微软雅黑" panose="020B0503020204020204" pitchFamily="34" charset="-122"/>
                      </a:endParaRPr>
                    </a:p>
                  </a:txBody>
                  <a:tcPr marL="82321" marR="82321" marT="41161" marB="41161"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400" baseline="0" dirty="0">
                        <a:solidFill>
                          <a:schemeClr val="tx1"/>
                        </a:solidFill>
                        <a:latin typeface="微软雅黑" panose="020B0503020204020204" pitchFamily="34" charset="-122"/>
                        <a:ea typeface="微软雅黑" panose="020B0503020204020204" pitchFamily="34" charset="-122"/>
                      </a:endParaRPr>
                    </a:p>
                  </a:txBody>
                  <a:tcPr marL="82321" marR="82321" marT="41161" marB="41161"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20440653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kumimoji="1" lang="zh-CN" altLang="en-US" b="1" dirty="0">
                <a:solidFill>
                  <a:srgbClr val="000000"/>
                </a:solidFill>
                <a:latin typeface="微软雅黑" panose="020B0503020204020204" pitchFamily="34" charset="-122"/>
                <a:ea typeface="微软雅黑" panose="020B0503020204020204" pitchFamily="34" charset="-122"/>
              </a:rPr>
              <a:t>当地市场分析 （当地市场简介）</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1</a:t>
            </a:fld>
            <a:endParaRPr lang="sv-SE">
              <a:latin typeface="微软雅黑" panose="020B0503020204020204" pitchFamily="34" charset="-122"/>
              <a:ea typeface="微软雅黑" panose="020B0503020204020204" pitchFamily="34" charset="-122"/>
            </a:endParaRPr>
          </a:p>
        </p:txBody>
      </p:sp>
      <p:graphicFrame>
        <p:nvGraphicFramePr>
          <p:cNvPr id="10" name="Table 9"/>
          <p:cNvGraphicFramePr>
            <a:graphicFrameLocks noGrp="1"/>
          </p:cNvGraphicFramePr>
          <p:nvPr>
            <p:extLst>
              <p:ext uri="{D42A27DB-BD31-4B8C-83A1-F6EECF244321}">
                <p14:modId xmlns:p14="http://schemas.microsoft.com/office/powerpoint/2010/main" val="91838698"/>
              </p:ext>
            </p:extLst>
          </p:nvPr>
        </p:nvGraphicFramePr>
        <p:xfrm>
          <a:off x="453917" y="1254541"/>
          <a:ext cx="8204505" cy="3289603"/>
        </p:xfrm>
        <a:graphic>
          <a:graphicData uri="http://schemas.openxmlformats.org/drawingml/2006/table">
            <a:tbl>
              <a:tblPr firstRow="1" bandRow="1">
                <a:tableStyleId>{5C22544A-7EE6-4342-B048-85BDC9FD1C3A}</a:tableStyleId>
              </a:tblPr>
              <a:tblGrid>
                <a:gridCol w="2348993">
                  <a:extLst>
                    <a:ext uri="{9D8B030D-6E8A-4147-A177-3AD203B41FA5}">
                      <a16:colId xmlns:a16="http://schemas.microsoft.com/office/drawing/2014/main" val="20000"/>
                    </a:ext>
                  </a:extLst>
                </a:gridCol>
                <a:gridCol w="5855512">
                  <a:extLst>
                    <a:ext uri="{9D8B030D-6E8A-4147-A177-3AD203B41FA5}">
                      <a16:colId xmlns:a16="http://schemas.microsoft.com/office/drawing/2014/main" val="20001"/>
                    </a:ext>
                  </a:extLst>
                </a:gridCol>
              </a:tblGrid>
              <a:tr h="450156">
                <a:tc>
                  <a:txBody>
                    <a:bodyPr/>
                    <a:lstStyle/>
                    <a:p>
                      <a:pPr algn="ctr"/>
                      <a:r>
                        <a:rPr kumimoji="0" lang="zh-CN" altLang="en-US" sz="1400" b="0" i="0" u="none" strike="noStrike" kern="1200" cap="none" normalizeH="0" baseline="0" dirty="0">
                          <a:ln>
                            <a:noFill/>
                          </a:ln>
                          <a:solidFill>
                            <a:schemeClr val="tx1"/>
                          </a:solidFill>
                          <a:effectLst/>
                          <a:latin typeface="+mj-ea"/>
                          <a:ea typeface="+mj-ea"/>
                          <a:cs typeface="+mn-cs"/>
                        </a:rPr>
                        <a:t>分类</a:t>
                      </a:r>
                      <a:endParaRPr kumimoji="0" lang="en-GB" sz="1400" b="0" i="0" u="none" strike="noStrike" kern="1200" cap="none" normalizeH="0" baseline="0" dirty="0">
                        <a:ln>
                          <a:noFill/>
                        </a:ln>
                        <a:solidFill>
                          <a:schemeClr val="tx1"/>
                        </a:solidFill>
                        <a:effectLst/>
                        <a:latin typeface="+mj-ea"/>
                        <a:ea typeface="+mj-ea"/>
                        <a:cs typeface="+mn-cs"/>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zh-CN" altLang="en-US" sz="1400" b="0" dirty="0">
                          <a:solidFill>
                            <a:schemeClr val="tx1"/>
                          </a:solidFill>
                          <a:latin typeface="+mj-ea"/>
                          <a:ea typeface="+mj-ea"/>
                        </a:rPr>
                        <a:t>描述</a:t>
                      </a:r>
                      <a:endParaRPr lang="en-GB" sz="1400" b="0" dirty="0">
                        <a:solidFill>
                          <a:schemeClr val="tx1"/>
                        </a:solidFill>
                        <a:latin typeface="+mj-ea"/>
                        <a:ea typeface="+mj-ea"/>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450156">
                <a:tc>
                  <a:txBody>
                    <a:bodyPr/>
                    <a:lstStyle/>
                    <a:p>
                      <a:pPr algn="ctr"/>
                      <a:r>
                        <a:rPr kumimoji="0" lang="zh-CN" altLang="en-US" sz="1400" b="0" i="0" u="none" strike="noStrike" kern="1200" cap="none" normalizeH="0" baseline="0" dirty="0">
                          <a:ln>
                            <a:noFill/>
                          </a:ln>
                          <a:solidFill>
                            <a:schemeClr val="tx1"/>
                          </a:solidFill>
                          <a:effectLst/>
                          <a:latin typeface="+mj-ea"/>
                          <a:ea typeface="+mj-ea"/>
                          <a:cs typeface="+mn-cs"/>
                        </a:rPr>
                        <a:t>面积</a:t>
                      </a:r>
                      <a:r>
                        <a:rPr kumimoji="0" lang="en-US" altLang="zh-CN" sz="1400" b="0" i="0" u="none" strike="noStrike" kern="1200" cap="none" normalizeH="0" baseline="0" dirty="0">
                          <a:ln>
                            <a:noFill/>
                          </a:ln>
                          <a:solidFill>
                            <a:schemeClr val="tx1"/>
                          </a:solidFill>
                          <a:effectLst/>
                          <a:latin typeface="+mj-ea"/>
                          <a:ea typeface="+mj-ea"/>
                          <a:cs typeface="+mn-cs"/>
                        </a:rPr>
                        <a:t>(</a:t>
                      </a:r>
                      <a:r>
                        <a:rPr kumimoji="0" lang="zh-CN" altLang="en-US" sz="1400" b="0" i="0" u="none" strike="noStrike" kern="1200" cap="none" normalizeH="0" baseline="0" dirty="0">
                          <a:ln>
                            <a:noFill/>
                          </a:ln>
                          <a:solidFill>
                            <a:schemeClr val="tx1"/>
                          </a:solidFill>
                          <a:effectLst/>
                          <a:latin typeface="+mj-ea"/>
                          <a:ea typeface="+mj-ea"/>
                          <a:cs typeface="+mn-cs"/>
                        </a:rPr>
                        <a:t>平方公里</a:t>
                      </a:r>
                      <a:r>
                        <a:rPr kumimoji="0" lang="en-US" altLang="zh-CN" sz="1400" b="0" i="0" u="none" strike="noStrike" kern="1200" cap="none" normalizeH="0" baseline="0" dirty="0">
                          <a:ln>
                            <a:noFill/>
                          </a:ln>
                          <a:solidFill>
                            <a:schemeClr val="tx1"/>
                          </a:solidFill>
                          <a:effectLst/>
                          <a:latin typeface="+mj-ea"/>
                          <a:ea typeface="+mj-ea"/>
                          <a:cs typeface="+mn-cs"/>
                        </a:rPr>
                        <a:t>)</a:t>
                      </a:r>
                      <a:endParaRPr kumimoji="0" lang="en-GB" sz="1400" b="0" i="0" u="none" strike="noStrike" kern="1200" cap="none" normalizeH="0" baseline="0" dirty="0">
                        <a:ln>
                          <a:noFill/>
                        </a:ln>
                        <a:solidFill>
                          <a:schemeClr val="tx1"/>
                        </a:solidFill>
                        <a:effectLst/>
                        <a:latin typeface="+mj-ea"/>
                        <a:ea typeface="+mj-ea"/>
                        <a:cs typeface="+mn-cs"/>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400" b="0" dirty="0">
                        <a:solidFill>
                          <a:schemeClr val="tx1"/>
                        </a:solidFill>
                        <a:latin typeface="+mj-ea"/>
                        <a:ea typeface="+mj-ea"/>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450156">
                <a:tc>
                  <a:txBody>
                    <a:bodyPr/>
                    <a:lstStyle/>
                    <a:p>
                      <a:pPr algn="ctr"/>
                      <a:r>
                        <a:rPr kumimoji="0" lang="zh-CN" altLang="en-US" sz="1400" b="0" i="0" u="none" strike="noStrike" kern="1200" cap="none" normalizeH="0" baseline="0" dirty="0">
                          <a:ln>
                            <a:noFill/>
                          </a:ln>
                          <a:solidFill>
                            <a:schemeClr val="tx1"/>
                          </a:solidFill>
                          <a:effectLst/>
                          <a:latin typeface="+mj-ea"/>
                          <a:ea typeface="+mj-ea"/>
                          <a:cs typeface="+mn-cs"/>
                        </a:rPr>
                        <a:t>消费习惯</a:t>
                      </a:r>
                      <a:endParaRPr kumimoji="0" lang="en-GB" sz="1400" b="0" i="0" u="none" strike="noStrike" kern="1200" cap="none" normalizeH="0" baseline="0" dirty="0">
                        <a:ln>
                          <a:noFill/>
                        </a:ln>
                        <a:solidFill>
                          <a:schemeClr val="tx1"/>
                        </a:solidFill>
                        <a:effectLst/>
                        <a:latin typeface="+mj-ea"/>
                        <a:ea typeface="+mj-ea"/>
                        <a:cs typeface="+mn-cs"/>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400" b="0" dirty="0">
                        <a:solidFill>
                          <a:schemeClr val="tx1"/>
                        </a:solidFill>
                        <a:latin typeface="+mj-ea"/>
                        <a:ea typeface="+mj-ea"/>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796430">
                <a:tc>
                  <a:txBody>
                    <a:bodyPr/>
                    <a:lstStyle/>
                    <a:p>
                      <a:pPr marL="0" marR="0" lvl="0" indent="0" algn="ctr" defTabSz="691323"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normalizeH="0" baseline="0" dirty="0">
                          <a:ln>
                            <a:noFill/>
                          </a:ln>
                          <a:solidFill>
                            <a:schemeClr val="tx1"/>
                          </a:solidFill>
                          <a:effectLst/>
                          <a:latin typeface="+mj-ea"/>
                          <a:ea typeface="+mj-ea"/>
                          <a:cs typeface="+mn-cs"/>
                        </a:rPr>
                        <a:t>经济发展情况，如支柱产业及趋势等</a:t>
                      </a:r>
                      <a:endParaRPr kumimoji="0" lang="en-GB" sz="1400" b="0" i="0" u="none" strike="noStrike" kern="1200" cap="none" normalizeH="0" baseline="0" dirty="0">
                        <a:ln>
                          <a:noFill/>
                        </a:ln>
                        <a:solidFill>
                          <a:schemeClr val="tx1"/>
                        </a:solidFill>
                        <a:effectLst/>
                        <a:latin typeface="+mj-ea"/>
                        <a:ea typeface="+mj-ea"/>
                        <a:cs typeface="+mn-cs"/>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400" b="0" dirty="0">
                        <a:solidFill>
                          <a:schemeClr val="tx1"/>
                        </a:solidFill>
                        <a:latin typeface="+mj-ea"/>
                        <a:ea typeface="+mj-ea"/>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1142705">
                <a:tc>
                  <a:txBody>
                    <a:bodyPr/>
                    <a:lstStyle/>
                    <a:p>
                      <a:pPr marL="0" marR="0" lvl="0" indent="0" algn="ctr" defTabSz="691323" rtl="0" eaLnBrk="1" fontAlgn="auto" latinLnBrk="0" hangingPunct="1">
                        <a:lnSpc>
                          <a:spcPct val="100000"/>
                        </a:lnSpc>
                        <a:spcBef>
                          <a:spcPts val="0"/>
                        </a:spcBef>
                        <a:spcAft>
                          <a:spcPts val="0"/>
                        </a:spcAft>
                        <a:buClrTx/>
                        <a:buSzTx/>
                        <a:buFontTx/>
                        <a:buNone/>
                        <a:tabLst/>
                        <a:defRPr/>
                      </a:pPr>
                      <a:r>
                        <a:rPr kumimoji="0" lang="zh-CN" altLang="en-US" sz="1400" b="0" i="0" u="none" strike="noStrike" kern="1200" cap="none" normalizeH="0" baseline="0" dirty="0">
                          <a:ln>
                            <a:noFill/>
                          </a:ln>
                          <a:solidFill>
                            <a:schemeClr val="tx1"/>
                          </a:solidFill>
                          <a:effectLst/>
                          <a:latin typeface="+mj-ea"/>
                          <a:ea typeface="+mj-ea"/>
                          <a:cs typeface="+mn-cs"/>
                        </a:rPr>
                        <a:t>列出所有汽车商圈，含新规划的汽车城，汽车集中区域等</a:t>
                      </a:r>
                      <a:endParaRPr kumimoji="0" lang="en-US" altLang="zh-CN" sz="1400" b="0" i="0" u="none" strike="noStrike" kern="1200" cap="none" normalizeH="0" baseline="0" dirty="0">
                        <a:ln>
                          <a:noFill/>
                        </a:ln>
                        <a:solidFill>
                          <a:schemeClr val="tx1"/>
                        </a:solidFill>
                        <a:effectLst/>
                        <a:latin typeface="+mj-ea"/>
                        <a:ea typeface="+mj-ea"/>
                        <a:cs typeface="+mn-cs"/>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endParaRPr lang="en-GB" sz="1400" b="0" dirty="0">
                        <a:solidFill>
                          <a:schemeClr val="tx1"/>
                        </a:solidFill>
                        <a:latin typeface="+mj-ea"/>
                        <a:ea typeface="+mj-ea"/>
                      </a:endParaRPr>
                    </a:p>
                  </a:txBody>
                  <a:tcPr marL="76887" marR="76887" marT="38444" marB="38444"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59367261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type="body" sz="quarter" idx="36"/>
          </p:nvPr>
        </p:nvSpPr>
        <p:spPr bwMode="auto">
          <a:prstGeom prst="rect">
            <a:avLst/>
          </a:prstGeom>
          <a:solidFill>
            <a:srgbClr val="FFFFFF"/>
          </a:solidFill>
          <a:extLst>
            <a:ext uri="{91240B29-F687-4F45-9708-019B960494DF}">
              <a14:hiddenLine xmlns:a14="http://schemas.microsoft.com/office/drawing/2010/main" w="9525">
                <a:solidFill>
                  <a:srgbClr val="000000"/>
                </a:solidFill>
                <a:miter lim="800000"/>
                <a:headEnd/>
                <a:tailEnd/>
              </a14:hiddenLine>
            </a:ext>
          </a:extLst>
        </p:spPr>
        <p:txBody>
          <a:bodyPr vert="horz" lIns="86223" tIns="43112" rIns="86223" bIns="43112" rtlCol="0">
            <a:normAutofit/>
          </a:bodyPr>
          <a:lstStyle/>
          <a:p>
            <a:pPr marL="284789" indent="-308713"/>
            <a:r>
              <a:rPr kumimoji="1" lang="zh-CN" altLang="en-US" dirty="0">
                <a:solidFill>
                  <a:srgbClr val="000000"/>
                </a:solidFill>
                <a:latin typeface="微软雅黑" panose="020B0503020204020204" pitchFamily="34" charset="-122"/>
                <a:ea typeface="微软雅黑" panose="020B0503020204020204" pitchFamily="34" charset="-122"/>
              </a:rPr>
              <a:t>当地主要的大型经销商集团介绍</a:t>
            </a:r>
            <a:endParaRPr kumimoji="1" lang="en-US" altLang="zh-CN" dirty="0">
              <a:solidFill>
                <a:srgbClr val="000000"/>
              </a:solidFill>
              <a:latin typeface="微软雅黑" panose="020B0503020204020204" pitchFamily="34" charset="-122"/>
              <a:ea typeface="微软雅黑" panose="020B0503020204020204" pitchFamily="34" charset="-122"/>
            </a:endParaRPr>
          </a:p>
          <a:p>
            <a:pPr marL="284789" indent="-308713"/>
            <a:r>
              <a:rPr kumimoji="1" lang="zh-CN" altLang="en-US" dirty="0">
                <a:solidFill>
                  <a:srgbClr val="000000"/>
                </a:solidFill>
                <a:latin typeface="微软雅黑" panose="020B0503020204020204" pitchFamily="34" charset="-122"/>
                <a:ea typeface="微软雅黑" panose="020B0503020204020204" pitchFamily="34" charset="-122"/>
              </a:rPr>
              <a:t>当地优秀豪华品牌</a:t>
            </a:r>
            <a:r>
              <a:rPr kumimoji="1" lang="en-US" altLang="zh-CN" dirty="0">
                <a:solidFill>
                  <a:srgbClr val="000000"/>
                </a:solidFill>
                <a:latin typeface="微软雅黑" panose="020B0503020204020204" pitchFamily="34" charset="-122"/>
                <a:ea typeface="微软雅黑" panose="020B0503020204020204" pitchFamily="34" charset="-122"/>
              </a:rPr>
              <a:t>4S</a:t>
            </a:r>
            <a:r>
              <a:rPr kumimoji="1" lang="zh-CN" altLang="en-US" dirty="0">
                <a:solidFill>
                  <a:srgbClr val="000000"/>
                </a:solidFill>
                <a:latin typeface="微软雅黑" panose="020B0503020204020204" pitchFamily="34" charset="-122"/>
                <a:ea typeface="微软雅黑" panose="020B0503020204020204" pitchFamily="34" charset="-122"/>
              </a:rPr>
              <a:t>店介绍及竞争力分析</a:t>
            </a: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当地汽车零售市场分析</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2</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28149942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552702" y="1162456"/>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当地市场数据</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3</a:t>
            </a:fld>
            <a:endParaRPr lang="sv-SE">
              <a:latin typeface="微软雅黑" panose="020B0503020204020204" pitchFamily="34" charset="-122"/>
              <a:ea typeface="微软雅黑" panose="020B0503020204020204" pitchFamily="34" charset="-122"/>
            </a:endParaRPr>
          </a:p>
        </p:txBody>
      </p:sp>
      <p:graphicFrame>
        <p:nvGraphicFramePr>
          <p:cNvPr id="9" name="Group 708"/>
          <p:cNvGraphicFramePr>
            <a:graphicFrameLocks noGrp="1"/>
          </p:cNvGraphicFramePr>
          <p:nvPr>
            <p:extLst>
              <p:ext uri="{D42A27DB-BD31-4B8C-83A1-F6EECF244321}">
                <p14:modId xmlns:p14="http://schemas.microsoft.com/office/powerpoint/2010/main" val="2608712369"/>
              </p:ext>
            </p:extLst>
          </p:nvPr>
        </p:nvGraphicFramePr>
        <p:xfrm>
          <a:off x="360363" y="1486102"/>
          <a:ext cx="8389936" cy="3637923"/>
        </p:xfrm>
        <a:graphic>
          <a:graphicData uri="http://schemas.openxmlformats.org/drawingml/2006/table">
            <a:tbl>
              <a:tblPr/>
              <a:tblGrid>
                <a:gridCol w="2434641">
                  <a:extLst>
                    <a:ext uri="{9D8B030D-6E8A-4147-A177-3AD203B41FA5}">
                      <a16:colId xmlns:a16="http://schemas.microsoft.com/office/drawing/2014/main" val="20000"/>
                    </a:ext>
                  </a:extLst>
                </a:gridCol>
                <a:gridCol w="1230677">
                  <a:extLst>
                    <a:ext uri="{9D8B030D-6E8A-4147-A177-3AD203B41FA5}">
                      <a16:colId xmlns:a16="http://schemas.microsoft.com/office/drawing/2014/main" val="20001"/>
                    </a:ext>
                  </a:extLst>
                </a:gridCol>
                <a:gridCol w="1575787">
                  <a:extLst>
                    <a:ext uri="{9D8B030D-6E8A-4147-A177-3AD203B41FA5}">
                      <a16:colId xmlns:a16="http://schemas.microsoft.com/office/drawing/2014/main" val="20002"/>
                    </a:ext>
                  </a:extLst>
                </a:gridCol>
                <a:gridCol w="1478114">
                  <a:extLst>
                    <a:ext uri="{9D8B030D-6E8A-4147-A177-3AD203B41FA5}">
                      <a16:colId xmlns:a16="http://schemas.microsoft.com/office/drawing/2014/main" val="20003"/>
                    </a:ext>
                  </a:extLst>
                </a:gridCol>
                <a:gridCol w="1670717">
                  <a:extLst>
                    <a:ext uri="{9D8B030D-6E8A-4147-A177-3AD203B41FA5}">
                      <a16:colId xmlns:a16="http://schemas.microsoft.com/office/drawing/2014/main" val="20004"/>
                    </a:ext>
                  </a:extLst>
                </a:gridCol>
              </a:tblGrid>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dirty="0">
                          <a:ln>
                            <a:noFill/>
                          </a:ln>
                          <a:solidFill>
                            <a:srgbClr val="000000"/>
                          </a:solidFill>
                          <a:effectLst/>
                          <a:latin typeface="+mj-ea"/>
                          <a:ea typeface="+mj-ea"/>
                        </a:rPr>
                        <a:t> </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单位</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人口总计</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百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人口增长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a:ln>
                            <a:noFill/>
                          </a:ln>
                          <a:solidFill>
                            <a:srgbClr val="000000"/>
                          </a:solidFill>
                          <a:effectLst/>
                          <a:latin typeface="+mj-ea"/>
                          <a:ea typeface="+mj-ea"/>
                        </a:rPr>
                        <a:t>0.000%</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当地人均</a:t>
                      </a:r>
                      <a:r>
                        <a:rPr kumimoji="0" lang="en-US" altLang="zh-CN" sz="1200" b="0" i="0" u="none" strike="noStrike" cap="none" normalizeH="0" baseline="0" dirty="0">
                          <a:ln>
                            <a:noFill/>
                          </a:ln>
                          <a:solidFill>
                            <a:srgbClr val="000000"/>
                          </a:solidFill>
                          <a:effectLst/>
                          <a:latin typeface="+mj-ea"/>
                          <a:ea typeface="+mj-ea"/>
                        </a:rPr>
                        <a:t>GDP</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dirty="0">
                          <a:ln>
                            <a:noFill/>
                          </a:ln>
                          <a:solidFill>
                            <a:srgbClr val="000000"/>
                          </a:solidFill>
                          <a:effectLst/>
                          <a:latin typeface="+mj-ea"/>
                          <a:ea typeface="+mj-ea"/>
                        </a:rPr>
                        <a:t>RMB</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全国城镇人均</a:t>
                      </a:r>
                      <a:r>
                        <a:rPr kumimoji="0" lang="en-US" altLang="zh-CN" sz="1200" b="0" i="0" u="none" strike="noStrike" cap="none" normalizeH="0" baseline="0" dirty="0">
                          <a:ln>
                            <a:noFill/>
                          </a:ln>
                          <a:solidFill>
                            <a:srgbClr val="000000"/>
                          </a:solidFill>
                          <a:effectLst/>
                          <a:latin typeface="+mj-ea"/>
                          <a:ea typeface="+mj-ea"/>
                        </a:rPr>
                        <a:t>GDP</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dirty="0">
                          <a:ln>
                            <a:noFill/>
                          </a:ln>
                          <a:solidFill>
                            <a:srgbClr val="000000"/>
                          </a:solidFill>
                          <a:effectLst/>
                          <a:latin typeface="+mj-ea"/>
                          <a:ea typeface="+mj-ea"/>
                        </a:rPr>
                        <a:t>RMB</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a:ln>
                            <a:noFill/>
                          </a:ln>
                          <a:solidFill>
                            <a:srgbClr val="000000"/>
                          </a:solidFill>
                          <a:effectLst/>
                          <a:latin typeface="+mj-ea"/>
                          <a:ea typeface="+mj-ea"/>
                        </a:rPr>
                        <a:t>平均家庭银行存款</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dirty="0">
                          <a:ln>
                            <a:noFill/>
                          </a:ln>
                          <a:solidFill>
                            <a:srgbClr val="000000"/>
                          </a:solidFill>
                          <a:effectLst/>
                          <a:latin typeface="+mj-ea"/>
                          <a:ea typeface="+mj-ea"/>
                        </a:rPr>
                        <a:t>RMB</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a:ln>
                            <a:noFill/>
                          </a:ln>
                          <a:solidFill>
                            <a:srgbClr val="000000"/>
                          </a:solidFill>
                          <a:effectLst/>
                          <a:latin typeface="+mj-ea"/>
                          <a:ea typeface="+mj-ea"/>
                        </a:rPr>
                        <a:t>平均家庭银行存款增长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a:ln>
                            <a:noFill/>
                          </a:ln>
                          <a:solidFill>
                            <a:srgbClr val="000000"/>
                          </a:solidFill>
                          <a:effectLst/>
                          <a:latin typeface="+mj-ea"/>
                          <a:ea typeface="+mj-ea"/>
                        </a:rPr>
                        <a:t>0.000%</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a:ln>
                            <a:noFill/>
                          </a:ln>
                          <a:solidFill>
                            <a:srgbClr val="000000"/>
                          </a:solidFill>
                          <a:effectLst/>
                          <a:latin typeface="+mj-ea"/>
                          <a:ea typeface="+mj-ea"/>
                        </a:rPr>
                        <a:t>当地轿车新车上牌量</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千</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当地轿车新车上牌量增长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dirty="0">
                          <a:ln>
                            <a:noFill/>
                          </a:ln>
                          <a:solidFill>
                            <a:srgbClr val="000000"/>
                          </a:solidFill>
                          <a:effectLst/>
                          <a:latin typeface="+mj-ea"/>
                          <a:ea typeface="+mj-ea"/>
                        </a:rPr>
                        <a:t>0.000%</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72789">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当地电动车新车上牌量</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kern="1200" cap="none" normalizeH="0" baseline="0" dirty="0">
                          <a:ln>
                            <a:noFill/>
                          </a:ln>
                          <a:solidFill>
                            <a:srgbClr val="000000"/>
                          </a:solidFill>
                          <a:effectLst/>
                          <a:latin typeface="+mj-ea"/>
                          <a:ea typeface="+mn-ea"/>
                          <a:cs typeface="+mn-cs"/>
                        </a:rPr>
                        <a:t>千</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266435928"/>
                  </a:ext>
                </a:extLst>
              </a:tr>
              <a:tr h="271864">
                <a:tc>
                  <a:txBody>
                    <a:body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当地电动车新车渗透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defRPr/>
                      </a:pPr>
                      <a:r>
                        <a:rPr kumimoji="0" lang="en-US" altLang="zh-CN" sz="1200" b="0" i="0" u="none" strike="noStrike" kern="1200" cap="none" normalizeH="0" baseline="0" dirty="0">
                          <a:ln>
                            <a:noFill/>
                          </a:ln>
                          <a:solidFill>
                            <a:srgbClr val="000000"/>
                          </a:solidFill>
                          <a:effectLst/>
                          <a:latin typeface="+mj-ea"/>
                          <a:ea typeface="+mn-ea"/>
                          <a:cs typeface="+mn-cs"/>
                        </a:rPr>
                        <a:t>0.000%</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67350518"/>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城市道路面积</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a:ln>
                            <a:noFill/>
                          </a:ln>
                          <a:solidFill>
                            <a:srgbClr val="000000"/>
                          </a:solidFill>
                          <a:effectLst/>
                          <a:latin typeface="+mj-ea"/>
                          <a:ea typeface="+mj-ea"/>
                        </a:rPr>
                        <a:t>平方公里 </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7186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5000"/>
                        </a:lnSpc>
                        <a:spcBef>
                          <a:spcPct val="0"/>
                        </a:spcBef>
                        <a:spcAft>
                          <a:spcPts val="1000"/>
                        </a:spcAft>
                        <a:buClrTx/>
                        <a:buSzTx/>
                        <a:buFontTx/>
                        <a:buNone/>
                        <a:tabLst/>
                      </a:pPr>
                      <a:r>
                        <a:rPr kumimoji="0" lang="zh-CN" altLang="en-US" sz="1200" b="0" i="0" u="none" strike="noStrike" cap="none" normalizeH="0" baseline="0" dirty="0">
                          <a:ln>
                            <a:noFill/>
                          </a:ln>
                          <a:solidFill>
                            <a:srgbClr val="000000"/>
                          </a:solidFill>
                          <a:effectLst/>
                          <a:latin typeface="+mj-ea"/>
                          <a:ea typeface="+mj-ea"/>
                        </a:rPr>
                        <a:t>城市道路面积增长率</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r>
                        <a:rPr kumimoji="0" lang="en-US" altLang="zh-CN" sz="1200" b="0" i="0" u="none" strike="noStrike" cap="none" normalizeH="0" baseline="0">
                          <a:ln>
                            <a:noFill/>
                          </a:ln>
                          <a:solidFill>
                            <a:srgbClr val="000000"/>
                          </a:solidFill>
                          <a:effectLst/>
                          <a:latin typeface="+mj-ea"/>
                          <a:ea typeface="+mj-ea"/>
                        </a:rPr>
                        <a:t>0.000%</a:t>
                      </a: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5000"/>
                        </a:lnSpc>
                        <a:spcBef>
                          <a:spcPct val="0"/>
                        </a:spcBef>
                        <a:spcAft>
                          <a:spcPts val="1000"/>
                        </a:spcAft>
                        <a:buClrTx/>
                        <a:buSzTx/>
                        <a:buFontTx/>
                        <a:buNone/>
                        <a:tabLst/>
                      </a:pPr>
                      <a:endParaRPr kumimoji="0" lang="en-US" altLang="zh-CN" sz="1200" b="0" i="0" u="none" strike="noStrike" cap="none" normalizeH="0" baseline="0" dirty="0">
                        <a:ln>
                          <a:noFill/>
                        </a:ln>
                        <a:solidFill>
                          <a:srgbClr val="000000"/>
                        </a:solidFill>
                        <a:effectLst/>
                        <a:latin typeface="+mj-ea"/>
                        <a:ea typeface="+mj-ea"/>
                      </a:endParaRPr>
                    </a:p>
                  </a:txBody>
                  <a:tcPr marL="86313" marR="86313" marT="42887" marB="42887"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23844980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406089" y="1145311"/>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当地汽车市场分析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竞争品牌上牌量数据</a:t>
            </a:r>
          </a:p>
          <a:p>
            <a:pPr marL="0" indent="0">
              <a:buNone/>
            </a:pP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4</a:t>
            </a:fld>
            <a:endParaRPr lang="sv-SE">
              <a:latin typeface="微软雅黑" panose="020B0503020204020204" pitchFamily="34" charset="-122"/>
              <a:ea typeface="微软雅黑" panose="020B0503020204020204" pitchFamily="34" charset="-122"/>
            </a:endParaRPr>
          </a:p>
        </p:txBody>
      </p:sp>
      <p:graphicFrame>
        <p:nvGraphicFramePr>
          <p:cNvPr id="9" name="Group 124"/>
          <p:cNvGraphicFramePr>
            <a:graphicFrameLocks noGrp="1"/>
          </p:cNvGraphicFramePr>
          <p:nvPr>
            <p:extLst>
              <p:ext uri="{D42A27DB-BD31-4B8C-83A1-F6EECF244321}">
                <p14:modId xmlns:p14="http://schemas.microsoft.com/office/powerpoint/2010/main" val="1198029303"/>
              </p:ext>
            </p:extLst>
          </p:nvPr>
        </p:nvGraphicFramePr>
        <p:xfrm>
          <a:off x="360363" y="1482073"/>
          <a:ext cx="8616660" cy="3298581"/>
        </p:xfrm>
        <a:graphic>
          <a:graphicData uri="http://schemas.openxmlformats.org/drawingml/2006/table">
            <a:tbl>
              <a:tblPr/>
              <a:tblGrid>
                <a:gridCol w="1282672">
                  <a:extLst>
                    <a:ext uri="{9D8B030D-6E8A-4147-A177-3AD203B41FA5}">
                      <a16:colId xmlns:a16="http://schemas.microsoft.com/office/drawing/2014/main" val="20000"/>
                    </a:ext>
                  </a:extLst>
                </a:gridCol>
                <a:gridCol w="836354">
                  <a:extLst>
                    <a:ext uri="{9D8B030D-6E8A-4147-A177-3AD203B41FA5}">
                      <a16:colId xmlns:a16="http://schemas.microsoft.com/office/drawing/2014/main" val="20002"/>
                    </a:ext>
                  </a:extLst>
                </a:gridCol>
                <a:gridCol w="836305">
                  <a:extLst>
                    <a:ext uri="{9D8B030D-6E8A-4147-A177-3AD203B41FA5}">
                      <a16:colId xmlns:a16="http://schemas.microsoft.com/office/drawing/2014/main" val="20003"/>
                    </a:ext>
                  </a:extLst>
                </a:gridCol>
                <a:gridCol w="946205">
                  <a:extLst>
                    <a:ext uri="{9D8B030D-6E8A-4147-A177-3AD203B41FA5}">
                      <a16:colId xmlns:a16="http://schemas.microsoft.com/office/drawing/2014/main" val="20004"/>
                    </a:ext>
                  </a:extLst>
                </a:gridCol>
                <a:gridCol w="882595">
                  <a:extLst>
                    <a:ext uri="{9D8B030D-6E8A-4147-A177-3AD203B41FA5}">
                      <a16:colId xmlns:a16="http://schemas.microsoft.com/office/drawing/2014/main" val="1627522884"/>
                    </a:ext>
                  </a:extLst>
                </a:gridCol>
                <a:gridCol w="922351">
                  <a:extLst>
                    <a:ext uri="{9D8B030D-6E8A-4147-A177-3AD203B41FA5}">
                      <a16:colId xmlns:a16="http://schemas.microsoft.com/office/drawing/2014/main" val="20005"/>
                    </a:ext>
                  </a:extLst>
                </a:gridCol>
                <a:gridCol w="850790">
                  <a:extLst>
                    <a:ext uri="{9D8B030D-6E8A-4147-A177-3AD203B41FA5}">
                      <a16:colId xmlns:a16="http://schemas.microsoft.com/office/drawing/2014/main" val="20006"/>
                    </a:ext>
                  </a:extLst>
                </a:gridCol>
                <a:gridCol w="938254">
                  <a:extLst>
                    <a:ext uri="{9D8B030D-6E8A-4147-A177-3AD203B41FA5}">
                      <a16:colId xmlns:a16="http://schemas.microsoft.com/office/drawing/2014/main" val="20007"/>
                    </a:ext>
                  </a:extLst>
                </a:gridCol>
                <a:gridCol w="1121134">
                  <a:extLst>
                    <a:ext uri="{9D8B030D-6E8A-4147-A177-3AD203B41FA5}">
                      <a16:colId xmlns:a16="http://schemas.microsoft.com/office/drawing/2014/main" val="20008"/>
                    </a:ext>
                  </a:extLst>
                </a:gridCol>
              </a:tblGrid>
              <a:tr h="29987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区域：</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685981" rtl="0" eaLnBrk="1" fontAlgn="auto" latinLnBrk="0" hangingPunct="1">
                        <a:lnSpc>
                          <a:spcPct val="100000"/>
                        </a:lnSpc>
                        <a:spcBef>
                          <a:spcPts val="0"/>
                        </a:spcBef>
                        <a:spcAft>
                          <a:spcPts val="0"/>
                        </a:spcAft>
                        <a:buClrTx/>
                        <a:buSzTx/>
                        <a:buFontTx/>
                        <a:buNone/>
                        <a:tabLst/>
                        <a:defRPr/>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保险数</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GB"/>
                    </a:p>
                  </a:txBody>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市场份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市场份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销商数量</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在建经销商数量</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9991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分品牌</a:t>
                      </a: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前</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前</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奥迪</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宝马</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奔驰</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捷豹</a:t>
                      </a:r>
                      <a:r>
                        <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a:t>
                      </a: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路虎</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雷克萨斯</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凯迪拉克</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85" marR="127685"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英菲尼迪</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林肯</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保时捷</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讴歌</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rgbClr val="FF0000"/>
                          </a:solidFill>
                          <a:effectLst/>
                          <a:latin typeface="微软雅黑" panose="020B0503020204020204" pitchFamily="34" charset="-122"/>
                          <a:ea typeface="微软雅黑" panose="020B0503020204020204" pitchFamily="34" charset="-122"/>
                          <a:cs typeface="+mn-cs"/>
                        </a:rPr>
                        <a:t>沃尔沃</a:t>
                      </a:r>
                      <a:endParaRPr kumimoji="0" lang="en-US" altLang="zh-CN" sz="1200" b="0" i="0" u="none" strike="noStrike" kern="1200" cap="none" normalizeH="0" baseline="0" dirty="0">
                        <a:ln>
                          <a:noFill/>
                        </a:ln>
                        <a:solidFill>
                          <a:srgbClr val="FF0000"/>
                        </a:solidFill>
                        <a:effectLst/>
                        <a:latin typeface="微软雅黑" panose="020B0503020204020204" pitchFamily="34" charset="-122"/>
                        <a:ea typeface="微软雅黑" panose="020B0503020204020204" pitchFamily="34" charset="-122"/>
                        <a:cs typeface="+mn-cs"/>
                      </a:endParaRPr>
                    </a:p>
                  </a:txBody>
                  <a:tcPr marL="71952" marR="7195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33233">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细分市场容量</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71952" marR="7195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bl>
          </a:graphicData>
        </a:graphic>
      </p:graphicFrame>
      <p:sp>
        <p:nvSpPr>
          <p:cNvPr id="10" name="Text Box 145"/>
          <p:cNvSpPr txBox="1">
            <a:spLocks noChangeArrowheads="1"/>
          </p:cNvSpPr>
          <p:nvPr/>
        </p:nvSpPr>
        <p:spPr bwMode="auto">
          <a:xfrm>
            <a:off x="286653" y="4812588"/>
            <a:ext cx="3733103" cy="280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6223" tIns="43112" rIns="86223" bIns="43112">
            <a:spAutoFit/>
          </a:bodyPr>
          <a:lstStyle>
            <a:lvl1pPr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r>
              <a:rPr lang="zh-CN" altLang="en-US" sz="1260" dirty="0">
                <a:solidFill>
                  <a:schemeClr val="tx1"/>
                </a:solidFill>
                <a:latin typeface="微软雅黑" panose="020B0503020204020204" pitchFamily="34" charset="-122"/>
                <a:ea typeface="微软雅黑" panose="020B0503020204020204" pitchFamily="34" charset="-122"/>
              </a:rPr>
              <a:t>*</a:t>
            </a:r>
            <a:r>
              <a:rPr lang="zh-CN" altLang="en-US" sz="1080" dirty="0">
                <a:solidFill>
                  <a:schemeClr val="tx1"/>
                </a:solidFill>
                <a:latin typeface="微软雅黑" panose="020B0503020204020204" pitchFamily="34" charset="-122"/>
                <a:ea typeface="微软雅黑" panose="020B0503020204020204" pitchFamily="34" charset="-122"/>
              </a:rPr>
              <a:t>市场份额的分母为所列品牌本页所列所有品牌的总销量</a:t>
            </a:r>
          </a:p>
        </p:txBody>
      </p:sp>
    </p:spTree>
    <p:extLst>
      <p:ext uri="{BB962C8B-B14F-4D97-AF65-F5344CB8AC3E}">
        <p14:creationId xmlns:p14="http://schemas.microsoft.com/office/powerpoint/2010/main" val="21864278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406089" y="1145311"/>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当地汽车市场分析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新能源品牌上牌量数据</a:t>
            </a:r>
          </a:p>
          <a:p>
            <a:pPr marL="0" indent="0">
              <a:buNone/>
            </a:pP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5</a:t>
            </a:fld>
            <a:endParaRPr lang="sv-SE">
              <a:latin typeface="微软雅黑" panose="020B0503020204020204" pitchFamily="34" charset="-122"/>
              <a:ea typeface="微软雅黑" panose="020B0503020204020204" pitchFamily="34" charset="-122"/>
            </a:endParaRPr>
          </a:p>
        </p:txBody>
      </p:sp>
      <p:graphicFrame>
        <p:nvGraphicFramePr>
          <p:cNvPr id="9" name="Group 124"/>
          <p:cNvGraphicFramePr>
            <a:graphicFrameLocks noGrp="1"/>
          </p:cNvGraphicFramePr>
          <p:nvPr>
            <p:extLst>
              <p:ext uri="{D42A27DB-BD31-4B8C-83A1-F6EECF244321}">
                <p14:modId xmlns:p14="http://schemas.microsoft.com/office/powerpoint/2010/main" val="30689125"/>
              </p:ext>
            </p:extLst>
          </p:nvPr>
        </p:nvGraphicFramePr>
        <p:xfrm>
          <a:off x="360363" y="1482073"/>
          <a:ext cx="8616660" cy="1737360"/>
        </p:xfrm>
        <a:graphic>
          <a:graphicData uri="http://schemas.openxmlformats.org/drawingml/2006/table">
            <a:tbl>
              <a:tblPr/>
              <a:tblGrid>
                <a:gridCol w="1282672">
                  <a:extLst>
                    <a:ext uri="{9D8B030D-6E8A-4147-A177-3AD203B41FA5}">
                      <a16:colId xmlns:a16="http://schemas.microsoft.com/office/drawing/2014/main" val="20000"/>
                    </a:ext>
                  </a:extLst>
                </a:gridCol>
                <a:gridCol w="836354">
                  <a:extLst>
                    <a:ext uri="{9D8B030D-6E8A-4147-A177-3AD203B41FA5}">
                      <a16:colId xmlns:a16="http://schemas.microsoft.com/office/drawing/2014/main" val="20002"/>
                    </a:ext>
                  </a:extLst>
                </a:gridCol>
                <a:gridCol w="836305">
                  <a:extLst>
                    <a:ext uri="{9D8B030D-6E8A-4147-A177-3AD203B41FA5}">
                      <a16:colId xmlns:a16="http://schemas.microsoft.com/office/drawing/2014/main" val="20003"/>
                    </a:ext>
                  </a:extLst>
                </a:gridCol>
                <a:gridCol w="946205">
                  <a:extLst>
                    <a:ext uri="{9D8B030D-6E8A-4147-A177-3AD203B41FA5}">
                      <a16:colId xmlns:a16="http://schemas.microsoft.com/office/drawing/2014/main" val="20004"/>
                    </a:ext>
                  </a:extLst>
                </a:gridCol>
                <a:gridCol w="882595">
                  <a:extLst>
                    <a:ext uri="{9D8B030D-6E8A-4147-A177-3AD203B41FA5}">
                      <a16:colId xmlns:a16="http://schemas.microsoft.com/office/drawing/2014/main" val="1627522884"/>
                    </a:ext>
                  </a:extLst>
                </a:gridCol>
                <a:gridCol w="922351">
                  <a:extLst>
                    <a:ext uri="{9D8B030D-6E8A-4147-A177-3AD203B41FA5}">
                      <a16:colId xmlns:a16="http://schemas.microsoft.com/office/drawing/2014/main" val="20005"/>
                    </a:ext>
                  </a:extLst>
                </a:gridCol>
                <a:gridCol w="850790">
                  <a:extLst>
                    <a:ext uri="{9D8B030D-6E8A-4147-A177-3AD203B41FA5}">
                      <a16:colId xmlns:a16="http://schemas.microsoft.com/office/drawing/2014/main" val="20006"/>
                    </a:ext>
                  </a:extLst>
                </a:gridCol>
                <a:gridCol w="938254">
                  <a:extLst>
                    <a:ext uri="{9D8B030D-6E8A-4147-A177-3AD203B41FA5}">
                      <a16:colId xmlns:a16="http://schemas.microsoft.com/office/drawing/2014/main" val="20007"/>
                    </a:ext>
                  </a:extLst>
                </a:gridCol>
                <a:gridCol w="1121134">
                  <a:extLst>
                    <a:ext uri="{9D8B030D-6E8A-4147-A177-3AD203B41FA5}">
                      <a16:colId xmlns:a16="http://schemas.microsoft.com/office/drawing/2014/main" val="20008"/>
                    </a:ext>
                  </a:extLst>
                </a:gridCol>
              </a:tblGrid>
              <a:tr h="26560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区域：</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685981" rtl="0" eaLnBrk="1" fontAlgn="auto" latinLnBrk="0" hangingPunct="1">
                        <a:lnSpc>
                          <a:spcPct val="100000"/>
                        </a:lnSpc>
                        <a:spcBef>
                          <a:spcPts val="0"/>
                        </a:spcBef>
                        <a:spcAft>
                          <a:spcPts val="0"/>
                        </a:spcAft>
                        <a:buClrTx/>
                        <a:buSzTx/>
                        <a:buFontTx/>
                        <a:buNone/>
                        <a:tabLst/>
                        <a:defRPr/>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保险数</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tcPr>
                </a:tc>
                <a:tc hMerge="1">
                  <a:txBody>
                    <a:bodyPr/>
                    <a:lstStyle/>
                    <a:p>
                      <a:endParaRPr lang="en-GB"/>
                    </a:p>
                  </a:txBody>
                  <a:tcPr/>
                </a:tc>
                <a:tc hMerge="1">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gridSpan="3">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市场份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市场份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销商数量</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在建经销商数量</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7706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分品牌</a:t>
                      </a: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0</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1</a:t>
                      </a:r>
                      <a:endPar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202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前</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目前</a:t>
                      </a:r>
                      <a:endParaRPr kumimoji="0" lang="en-US" altLang="zh-CN" sz="12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特斯拉</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3327704901"/>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蔚来</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638576822"/>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理想</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2631101051"/>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小鹏</a:t>
                      </a: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127677" marR="127677"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4043684566"/>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rgbClr val="FF0000"/>
                        </a:solidFill>
                        <a:effectLst/>
                        <a:latin typeface="微软雅黑" panose="020B0503020204020204" pitchFamily="34" charset="-122"/>
                        <a:ea typeface="微软雅黑" panose="020B0503020204020204" pitchFamily="34" charset="-122"/>
                        <a:cs typeface="+mn-cs"/>
                      </a:endParaRPr>
                    </a:p>
                  </a:txBody>
                  <a:tcPr marL="71952" marR="7195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06581">
                <a:tc>
                  <a:txBody>
                    <a:body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en-US" altLang="zh-CN" sz="12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txBody>
                  <a:tcPr marL="71952" marR="7195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bl>
          </a:graphicData>
        </a:graphic>
      </p:graphicFrame>
      <p:sp>
        <p:nvSpPr>
          <p:cNvPr id="10" name="Text Box 145"/>
          <p:cNvSpPr txBox="1">
            <a:spLocks noChangeArrowheads="1"/>
          </p:cNvSpPr>
          <p:nvPr/>
        </p:nvSpPr>
        <p:spPr bwMode="auto">
          <a:xfrm>
            <a:off x="280516" y="4880780"/>
            <a:ext cx="3733103" cy="280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6223" tIns="43112" rIns="86223" bIns="43112">
            <a:spAutoFit/>
          </a:bodyPr>
          <a:lstStyle>
            <a:lvl1pPr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r>
              <a:rPr lang="zh-CN" altLang="en-US" sz="1260" dirty="0">
                <a:solidFill>
                  <a:schemeClr val="tx1"/>
                </a:solidFill>
                <a:latin typeface="微软雅黑" panose="020B0503020204020204" pitchFamily="34" charset="-122"/>
                <a:ea typeface="微软雅黑" panose="020B0503020204020204" pitchFamily="34" charset="-122"/>
              </a:rPr>
              <a:t>*</a:t>
            </a:r>
            <a:r>
              <a:rPr lang="zh-CN" altLang="en-US" sz="1080" dirty="0">
                <a:solidFill>
                  <a:schemeClr val="tx1"/>
                </a:solidFill>
                <a:latin typeface="微软雅黑" panose="020B0503020204020204" pitchFamily="34" charset="-122"/>
                <a:ea typeface="微软雅黑" panose="020B0503020204020204" pitchFamily="34" charset="-122"/>
              </a:rPr>
              <a:t>市场份额的分母为所列品牌本页所列所有品牌的总销量</a:t>
            </a:r>
          </a:p>
        </p:txBody>
      </p:sp>
    </p:spTree>
    <p:extLst>
      <p:ext uri="{BB962C8B-B14F-4D97-AF65-F5344CB8AC3E}">
        <p14:creationId xmlns:p14="http://schemas.microsoft.com/office/powerpoint/2010/main" val="11722830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9"/>
          <p:cNvGrpSpPr>
            <a:grpSpLocks/>
          </p:cNvGrpSpPr>
          <p:nvPr/>
        </p:nvGrpSpPr>
        <p:grpSpPr bwMode="auto">
          <a:xfrm>
            <a:off x="435748" y="1244049"/>
            <a:ext cx="5361188" cy="3398962"/>
            <a:chOff x="469421" y="1031875"/>
            <a:chExt cx="5801175" cy="3902075"/>
          </a:xfrm>
        </p:grpSpPr>
        <p:grpSp>
          <p:nvGrpSpPr>
            <p:cNvPr id="34" name="Group 30"/>
            <p:cNvGrpSpPr>
              <a:grpSpLocks/>
            </p:cNvGrpSpPr>
            <p:nvPr/>
          </p:nvGrpSpPr>
          <p:grpSpPr bwMode="auto">
            <a:xfrm>
              <a:off x="469421" y="1031875"/>
              <a:ext cx="5801175" cy="3902075"/>
              <a:chOff x="0" y="845"/>
              <a:chExt cx="4158" cy="3184"/>
            </a:xfrm>
          </p:grpSpPr>
          <p:pic>
            <p:nvPicPr>
              <p:cNvPr id="44" name="Picture 9"/>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r="14725"/>
              <a:stretch/>
            </p:blipFill>
            <p:spPr bwMode="auto">
              <a:xfrm>
                <a:off x="0" y="845"/>
                <a:ext cx="4158" cy="3184"/>
              </a:xfrm>
              <a:prstGeom prst="rect">
                <a:avLst/>
              </a:prstGeom>
              <a:noFill/>
              <a:ln w="9525" algn="ctr">
                <a:solidFill>
                  <a:schemeClr val="bg2"/>
                </a:solidFill>
                <a:miter lim="800000"/>
                <a:headEnd/>
                <a:tailEnd/>
              </a:ln>
              <a:effectLst/>
              <a:extLst>
                <a:ext uri="{909E8E84-426E-40DD-AFC4-6F175D3DCCD1}">
                  <a14:hiddenFill xmlns:a14="http://schemas.microsoft.com/office/drawing/2010/main">
                    <a:solidFill>
                      <a:srgbClr val="99C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5" name="Picture 12" descr="bmw 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308" y="2552"/>
                <a:ext cx="181"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6" name="Picture 13" descr="bmw 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925" y="1571"/>
                <a:ext cx="181"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7" name="Picture 14" descr="bmw 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699" y="2388"/>
                <a:ext cx="181"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48" name="Picture 16" descr="Benz"/>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531" y="1309"/>
                <a:ext cx="165"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0" name="Picture 17" descr="Benz"/>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858" y="3403"/>
                <a:ext cx="165"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1" name="Picture 19" descr="Benz"/>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2835" y="1707"/>
                <a:ext cx="165"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3" name="Picture 21" descr="lexus_logo"/>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613" y="2544"/>
                <a:ext cx="161" cy="13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5" name="Picture 23" descr="lexus_logo"/>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2018" y="981"/>
                <a:ext cx="161" cy="135"/>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58" name="Picture 24" descr="bmw logo"/>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1791" y="1027"/>
                <a:ext cx="181" cy="1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5" descr="Benz"/>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610" y="845"/>
                <a:ext cx="165" cy="136"/>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60" name="AutoShape 27"/>
              <p:cNvSpPr>
                <a:spLocks noChangeArrowheads="1"/>
              </p:cNvSpPr>
              <p:nvPr/>
            </p:nvSpPr>
            <p:spPr bwMode="auto">
              <a:xfrm>
                <a:off x="1008" y="936"/>
                <a:ext cx="543" cy="259"/>
              </a:xfrm>
              <a:prstGeom prst="wedgeRectCallout">
                <a:avLst>
                  <a:gd name="adj1" fmla="val 105734"/>
                  <a:gd name="adj2" fmla="val -28532"/>
                </a:avLst>
              </a:prstGeom>
              <a:noFill/>
              <a:ln w="9525" algn="ctr">
                <a:solidFill>
                  <a:srgbClr val="FF0000"/>
                </a:solidFill>
                <a:miter lim="800000"/>
                <a:headEnd/>
                <a:tailEnd/>
              </a:ln>
              <a:effectLst/>
              <a:extLst>
                <a:ext uri="{909E8E84-426E-40DD-AFC4-6F175D3DCCD1}">
                  <a14:hiddenFill xmlns:a14="http://schemas.microsoft.com/office/drawing/2010/main">
                    <a:solidFill>
                      <a:srgbClr val="99C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1199" b="1" dirty="0">
                    <a:solidFill>
                      <a:srgbClr val="FF0000"/>
                    </a:solidFill>
                    <a:latin typeface="微软雅黑" panose="020B0503020204020204" pitchFamily="34" charset="-122"/>
                    <a:ea typeface="微软雅黑" panose="020B0503020204020204" pitchFamily="34" charset="-122"/>
                  </a:rPr>
                  <a:t>B</a:t>
                </a:r>
                <a:r>
                  <a:rPr lang="zh-CN" altLang="en-US" sz="1199" b="1" dirty="0">
                    <a:solidFill>
                      <a:srgbClr val="FF0000"/>
                    </a:solidFill>
                    <a:latin typeface="微软雅黑" panose="020B0503020204020204" pitchFamily="34" charset="-122"/>
                    <a:ea typeface="微软雅黑" panose="020B0503020204020204" pitchFamily="34" charset="-122"/>
                  </a:rPr>
                  <a:t>方案</a:t>
                </a:r>
                <a:endParaRPr lang="en-US" sz="1199" b="1" dirty="0">
                  <a:solidFill>
                    <a:srgbClr val="FF0000"/>
                  </a:solidFill>
                  <a:latin typeface="微软雅黑" panose="020B0503020204020204" pitchFamily="34" charset="-122"/>
                  <a:ea typeface="微软雅黑" panose="020B0503020204020204" pitchFamily="34" charset="-122"/>
                </a:endParaRPr>
              </a:p>
            </p:txBody>
          </p:sp>
          <p:sp>
            <p:nvSpPr>
              <p:cNvPr id="61" name="AutoShape 29"/>
              <p:cNvSpPr>
                <a:spLocks noChangeArrowheads="1"/>
              </p:cNvSpPr>
              <p:nvPr/>
            </p:nvSpPr>
            <p:spPr bwMode="auto">
              <a:xfrm>
                <a:off x="267" y="1835"/>
                <a:ext cx="523" cy="259"/>
              </a:xfrm>
              <a:prstGeom prst="wedgeRectCallout">
                <a:avLst>
                  <a:gd name="adj1" fmla="val 33783"/>
                  <a:gd name="adj2" fmla="val 89638"/>
                </a:avLst>
              </a:prstGeom>
              <a:noFill/>
              <a:ln w="9525" algn="ctr">
                <a:solidFill>
                  <a:srgbClr val="FF0000"/>
                </a:solidFill>
                <a:miter lim="800000"/>
                <a:headEnd/>
                <a:tailEnd/>
              </a:ln>
              <a:effectLst/>
              <a:extLst>
                <a:ext uri="{909E8E84-426E-40DD-AFC4-6F175D3DCCD1}">
                  <a14:hiddenFill xmlns:a14="http://schemas.microsoft.com/office/drawing/2010/main">
                    <a:solidFill>
                      <a:srgbClr val="99CC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a:r>
                  <a:rPr lang="en-US" sz="1199" b="1" dirty="0">
                    <a:solidFill>
                      <a:srgbClr val="FF0000"/>
                    </a:solidFill>
                    <a:latin typeface="微软雅黑" panose="020B0503020204020204" pitchFamily="34" charset="-122"/>
                    <a:ea typeface="微软雅黑" panose="020B0503020204020204" pitchFamily="34" charset="-122"/>
                  </a:rPr>
                  <a:t>A</a:t>
                </a:r>
                <a:r>
                  <a:rPr lang="zh-CN" altLang="en-US" sz="1199" b="1" dirty="0">
                    <a:solidFill>
                      <a:srgbClr val="FF0000"/>
                    </a:solidFill>
                    <a:latin typeface="微软雅黑" panose="020B0503020204020204" pitchFamily="34" charset="-122"/>
                    <a:ea typeface="微软雅黑" panose="020B0503020204020204" pitchFamily="34" charset="-122"/>
                  </a:rPr>
                  <a:t>方案</a:t>
                </a:r>
                <a:endParaRPr lang="en-US" sz="1199" b="1" dirty="0">
                  <a:solidFill>
                    <a:srgbClr val="FF0000"/>
                  </a:solidFill>
                  <a:latin typeface="微软雅黑" panose="020B0503020204020204" pitchFamily="34" charset="-122"/>
                  <a:ea typeface="微软雅黑" panose="020B0503020204020204" pitchFamily="34" charset="-122"/>
                </a:endParaRPr>
              </a:p>
            </p:txBody>
          </p:sp>
        </p:grpSp>
        <p:sp>
          <p:nvSpPr>
            <p:cNvPr id="35" name="TextBox 1"/>
            <p:cNvSpPr txBox="1">
              <a:spLocks noChangeArrowheads="1"/>
            </p:cNvSpPr>
            <p:nvPr/>
          </p:nvSpPr>
          <p:spPr bwMode="auto">
            <a:xfrm>
              <a:off x="2633351" y="3372014"/>
              <a:ext cx="824263" cy="3178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r>
                <a:rPr lang="zh-CN" altLang="en-US" sz="1199" b="1" dirty="0">
                  <a:solidFill>
                    <a:srgbClr val="0000CC"/>
                  </a:solidFill>
                  <a:latin typeface="微软雅黑" panose="020B0503020204020204" pitchFamily="34" charset="-122"/>
                  <a:ea typeface="微软雅黑" panose="020B0503020204020204" pitchFamily="34" charset="-122"/>
                  <a:cs typeface="Arial" charset="0"/>
                </a:rPr>
                <a:t>宁波</a:t>
              </a:r>
              <a:r>
                <a:rPr lang="en-US" altLang="zh-CN" sz="1199" b="1" dirty="0">
                  <a:solidFill>
                    <a:srgbClr val="0000CC"/>
                  </a:solidFill>
                  <a:latin typeface="微软雅黑" panose="020B0503020204020204" pitchFamily="34" charset="-122"/>
                  <a:ea typeface="微软雅黑" panose="020B0503020204020204" pitchFamily="34" charset="-122"/>
                  <a:cs typeface="Arial" charset="0"/>
                </a:rPr>
                <a:t>A</a:t>
              </a:r>
              <a:r>
                <a:rPr lang="zh-CN" altLang="en-US" sz="1199" b="1" dirty="0">
                  <a:solidFill>
                    <a:srgbClr val="0000CC"/>
                  </a:solidFill>
                  <a:latin typeface="微软雅黑" panose="020B0503020204020204" pitchFamily="34" charset="-122"/>
                  <a:ea typeface="微软雅黑" panose="020B0503020204020204" pitchFamily="34" charset="-122"/>
                  <a:cs typeface="Arial" charset="0"/>
                </a:rPr>
                <a:t>店</a:t>
              </a:r>
              <a:endParaRPr lang="en-US" sz="1199" b="1" dirty="0">
                <a:solidFill>
                  <a:srgbClr val="0000CC"/>
                </a:solidFill>
                <a:latin typeface="微软雅黑" panose="020B0503020204020204" pitchFamily="34" charset="-122"/>
                <a:ea typeface="微软雅黑" panose="020B0503020204020204" pitchFamily="34" charset="-122"/>
                <a:cs typeface="Arial" charset="0"/>
              </a:endParaRPr>
            </a:p>
          </p:txBody>
        </p:sp>
        <p:sp>
          <p:nvSpPr>
            <p:cNvPr id="36" name="TextBox 27"/>
            <p:cNvSpPr txBox="1">
              <a:spLocks noChangeArrowheads="1"/>
            </p:cNvSpPr>
            <p:nvPr/>
          </p:nvSpPr>
          <p:spPr bwMode="auto">
            <a:xfrm>
              <a:off x="4922769" y="3942736"/>
              <a:ext cx="813855" cy="3178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defPPr>
                <a:defRPr lang="en-GB"/>
              </a:defPPr>
              <a:lvl1pPr eaLnBrk="1" hangingPunct="1">
                <a:defRPr sz="1200" b="1">
                  <a:solidFill>
                    <a:srgbClr val="0000CC"/>
                  </a:solidFill>
                  <a:latin typeface="Microsoft YaHei" panose="020B0503020204020204" pitchFamily="34" charset="-122"/>
                  <a:ea typeface="Microsoft YaHei" panose="020B0503020204020204" pitchFamily="34" charset="-122"/>
                  <a:cs typeface="Arial" charset="0"/>
                </a:defRPr>
              </a:lvl1pPr>
              <a:lvl2pPr marL="742950" indent="-285750" eaLnBrk="0" hangingPunct="0"/>
              <a:lvl3pPr marL="1143000" indent="-228600" eaLnBrk="0" hangingPunct="0"/>
              <a:lvl4pPr marL="1600200" indent="-228600" eaLnBrk="0" hangingPunct="0"/>
              <a:lvl5pPr marL="2057400" indent="-228600" eaLnBrk="0" hangingPunct="0"/>
              <a:lvl6pPr marL="2514600" indent="-228600" eaLnBrk="0" fontAlgn="base" hangingPunct="0">
                <a:spcBef>
                  <a:spcPct val="0"/>
                </a:spcBef>
                <a:spcAft>
                  <a:spcPct val="0"/>
                </a:spcAft>
              </a:lvl6pPr>
              <a:lvl7pPr marL="2971800" indent="-228600" eaLnBrk="0" fontAlgn="base" hangingPunct="0">
                <a:spcBef>
                  <a:spcPct val="0"/>
                </a:spcBef>
                <a:spcAft>
                  <a:spcPct val="0"/>
                </a:spcAft>
              </a:lvl7pPr>
              <a:lvl8pPr marL="3429000" indent="-228600" eaLnBrk="0" fontAlgn="base" hangingPunct="0">
                <a:spcBef>
                  <a:spcPct val="0"/>
                </a:spcBef>
                <a:spcAft>
                  <a:spcPct val="0"/>
                </a:spcAft>
              </a:lvl8pPr>
              <a:lvl9pPr marL="3886200" indent="-228600" eaLnBrk="0" fontAlgn="base" hangingPunct="0">
                <a:spcBef>
                  <a:spcPct val="0"/>
                </a:spcBef>
                <a:spcAft>
                  <a:spcPct val="0"/>
                </a:spcAft>
              </a:lvl9pPr>
            </a:lstStyle>
            <a:p>
              <a:r>
                <a:rPr lang="zh-CN" altLang="en-US" sz="1199" dirty="0">
                  <a:latin typeface="微软雅黑" panose="020B0503020204020204" pitchFamily="34" charset="-122"/>
                  <a:ea typeface="微软雅黑" panose="020B0503020204020204" pitchFamily="34" charset="-122"/>
                </a:rPr>
                <a:t>宁波</a:t>
              </a:r>
              <a:r>
                <a:rPr lang="en-US" altLang="zh-CN" sz="1199" dirty="0">
                  <a:latin typeface="微软雅黑" panose="020B0503020204020204" pitchFamily="34" charset="-122"/>
                  <a:ea typeface="微软雅黑" panose="020B0503020204020204" pitchFamily="34" charset="-122"/>
                </a:rPr>
                <a:t>B</a:t>
              </a:r>
              <a:r>
                <a:rPr lang="zh-CN" altLang="en-US" sz="1199" dirty="0">
                  <a:latin typeface="微软雅黑" panose="020B0503020204020204" pitchFamily="34" charset="-122"/>
                  <a:ea typeface="微软雅黑" panose="020B0503020204020204" pitchFamily="34" charset="-122"/>
                </a:rPr>
                <a:t>店</a:t>
              </a:r>
              <a:endParaRPr lang="en-US" sz="1199" dirty="0">
                <a:latin typeface="微软雅黑" panose="020B0503020204020204" pitchFamily="34" charset="-122"/>
                <a:ea typeface="微软雅黑" panose="020B0503020204020204" pitchFamily="34" charset="-122"/>
              </a:endParaRPr>
            </a:p>
          </p:txBody>
        </p:sp>
        <p:cxnSp>
          <p:nvCxnSpPr>
            <p:cNvPr id="39" name="Straight Connector 38"/>
            <p:cNvCxnSpPr/>
            <p:nvPr/>
          </p:nvCxnSpPr>
          <p:spPr>
            <a:xfrm flipH="1">
              <a:off x="3100388" y="1773316"/>
              <a:ext cx="135620" cy="1371522"/>
            </a:xfrm>
            <a:prstGeom prst="line">
              <a:avLst/>
            </a:prstGeom>
          </p:spPr>
          <p:style>
            <a:lnRef idx="2">
              <a:schemeClr val="accent6"/>
            </a:lnRef>
            <a:fillRef idx="0">
              <a:schemeClr val="accent6"/>
            </a:fillRef>
            <a:effectRef idx="1">
              <a:schemeClr val="accent6"/>
            </a:effectRef>
            <a:fontRef idx="minor">
              <a:schemeClr val="tx1"/>
            </a:fontRef>
          </p:style>
        </p:cxnSp>
        <p:sp>
          <p:nvSpPr>
            <p:cNvPr id="40" name="TextBox 6"/>
            <p:cNvSpPr txBox="1">
              <a:spLocks noChangeArrowheads="1"/>
            </p:cNvSpPr>
            <p:nvPr/>
          </p:nvSpPr>
          <p:spPr bwMode="auto">
            <a:xfrm>
              <a:off x="2580306" y="2088278"/>
              <a:ext cx="690702" cy="3178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r>
                <a:rPr lang="en-US" sz="1199" b="1" dirty="0">
                  <a:solidFill>
                    <a:srgbClr val="FF0000"/>
                  </a:solidFill>
                  <a:latin typeface="微软雅黑" panose="020B0503020204020204" pitchFamily="34" charset="-122"/>
                  <a:ea typeface="微软雅黑" panose="020B0503020204020204" pitchFamily="34" charset="-122"/>
                  <a:cs typeface="Arial" charset="0"/>
                </a:rPr>
                <a:t>11KM</a:t>
              </a:r>
            </a:p>
          </p:txBody>
        </p:sp>
        <p:cxnSp>
          <p:nvCxnSpPr>
            <p:cNvPr id="41" name="Straight Connector 40"/>
            <p:cNvCxnSpPr/>
            <p:nvPr/>
          </p:nvCxnSpPr>
          <p:spPr>
            <a:xfrm flipV="1">
              <a:off x="1680377" y="3241675"/>
              <a:ext cx="1288250" cy="156688"/>
            </a:xfrm>
            <a:prstGeom prst="line">
              <a:avLst/>
            </a:prstGeom>
          </p:spPr>
          <p:style>
            <a:lnRef idx="2">
              <a:schemeClr val="accent6"/>
            </a:lnRef>
            <a:fillRef idx="0">
              <a:schemeClr val="accent6"/>
            </a:fillRef>
            <a:effectRef idx="1">
              <a:schemeClr val="accent6"/>
            </a:effectRef>
            <a:fontRef idx="minor">
              <a:schemeClr val="tx1"/>
            </a:fontRef>
          </p:style>
        </p:cxnSp>
        <p:sp>
          <p:nvSpPr>
            <p:cNvPr id="42" name="TextBox 34"/>
            <p:cNvSpPr txBox="1">
              <a:spLocks noChangeArrowheads="1"/>
            </p:cNvSpPr>
            <p:nvPr/>
          </p:nvSpPr>
          <p:spPr bwMode="auto">
            <a:xfrm>
              <a:off x="2012669" y="2781719"/>
              <a:ext cx="690702" cy="3178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eaLnBrk="0" hangingPunct="0">
                <a:defRPr>
                  <a:solidFill>
                    <a:schemeClr val="tx1"/>
                  </a:solidFill>
                  <a:latin typeface="Arial" charset="0"/>
                  <a:ea typeface="宋体" pitchFamily="2" charset="-122"/>
                </a:defRPr>
              </a:lvl1pPr>
              <a:lvl2pPr marL="742950" indent="-285750" eaLnBrk="0" hangingPunct="0">
                <a:defRPr>
                  <a:solidFill>
                    <a:schemeClr val="tx1"/>
                  </a:solidFill>
                  <a:latin typeface="Arial" charset="0"/>
                  <a:ea typeface="宋体" pitchFamily="2" charset="-122"/>
                </a:defRPr>
              </a:lvl2pPr>
              <a:lvl3pPr marL="1143000" indent="-228600" eaLnBrk="0" hangingPunct="0">
                <a:defRPr>
                  <a:solidFill>
                    <a:schemeClr val="tx1"/>
                  </a:solidFill>
                  <a:latin typeface="Arial" charset="0"/>
                  <a:ea typeface="宋体" pitchFamily="2" charset="-122"/>
                </a:defRPr>
              </a:lvl3pPr>
              <a:lvl4pPr marL="1600200" indent="-228600" eaLnBrk="0" hangingPunct="0">
                <a:defRPr>
                  <a:solidFill>
                    <a:schemeClr val="tx1"/>
                  </a:solidFill>
                  <a:latin typeface="Arial" charset="0"/>
                  <a:ea typeface="宋体" pitchFamily="2" charset="-122"/>
                </a:defRPr>
              </a:lvl4pPr>
              <a:lvl5pPr marL="2057400" indent="-228600" eaLnBrk="0" hangingPunct="0">
                <a:defRPr>
                  <a:solidFill>
                    <a:schemeClr val="tx1"/>
                  </a:solidFill>
                  <a:latin typeface="Arial" charset="0"/>
                  <a:ea typeface="宋体" pitchFamily="2" charset="-122"/>
                </a:defRPr>
              </a:lvl5pPr>
              <a:lvl6pPr marL="2514600" indent="-228600" eaLnBrk="0" fontAlgn="base" hangingPunct="0">
                <a:spcBef>
                  <a:spcPct val="0"/>
                </a:spcBef>
                <a:spcAft>
                  <a:spcPct val="0"/>
                </a:spcAft>
                <a:defRPr>
                  <a:solidFill>
                    <a:schemeClr val="tx1"/>
                  </a:solidFill>
                  <a:latin typeface="Arial" charset="0"/>
                  <a:ea typeface="宋体" pitchFamily="2" charset="-122"/>
                </a:defRPr>
              </a:lvl6pPr>
              <a:lvl7pPr marL="2971800" indent="-228600" eaLnBrk="0" fontAlgn="base" hangingPunct="0">
                <a:spcBef>
                  <a:spcPct val="0"/>
                </a:spcBef>
                <a:spcAft>
                  <a:spcPct val="0"/>
                </a:spcAft>
                <a:defRPr>
                  <a:solidFill>
                    <a:schemeClr val="tx1"/>
                  </a:solidFill>
                  <a:latin typeface="Arial" charset="0"/>
                  <a:ea typeface="宋体" pitchFamily="2" charset="-122"/>
                </a:defRPr>
              </a:lvl7pPr>
              <a:lvl8pPr marL="3429000" indent="-228600" eaLnBrk="0" fontAlgn="base" hangingPunct="0">
                <a:spcBef>
                  <a:spcPct val="0"/>
                </a:spcBef>
                <a:spcAft>
                  <a:spcPct val="0"/>
                </a:spcAft>
                <a:defRPr>
                  <a:solidFill>
                    <a:schemeClr val="tx1"/>
                  </a:solidFill>
                  <a:latin typeface="Arial" charset="0"/>
                  <a:ea typeface="宋体" pitchFamily="2" charset="-122"/>
                </a:defRPr>
              </a:lvl8pPr>
              <a:lvl9pPr marL="3886200" indent="-228600" eaLnBrk="0" fontAlgn="base" hangingPunct="0">
                <a:spcBef>
                  <a:spcPct val="0"/>
                </a:spcBef>
                <a:spcAft>
                  <a:spcPct val="0"/>
                </a:spcAft>
                <a:defRPr>
                  <a:solidFill>
                    <a:schemeClr val="tx1"/>
                  </a:solidFill>
                  <a:latin typeface="Arial" charset="0"/>
                  <a:ea typeface="宋体" pitchFamily="2" charset="-122"/>
                </a:defRPr>
              </a:lvl9pPr>
            </a:lstStyle>
            <a:p>
              <a:pPr eaLnBrk="1" hangingPunct="1"/>
              <a:r>
                <a:rPr lang="en-US" sz="1199" b="1" dirty="0">
                  <a:solidFill>
                    <a:srgbClr val="FF0000"/>
                  </a:solidFill>
                  <a:latin typeface="微软雅黑" panose="020B0503020204020204" pitchFamily="34" charset="-122"/>
                  <a:ea typeface="微软雅黑" panose="020B0503020204020204" pitchFamily="34" charset="-122"/>
                  <a:cs typeface="Arial" charset="0"/>
                </a:rPr>
                <a:t>10KM</a:t>
              </a:r>
            </a:p>
          </p:txBody>
        </p:sp>
      </p:grpSp>
      <p:sp>
        <p:nvSpPr>
          <p:cNvPr id="5" name="Text Placeholder 4"/>
          <p:cNvSpPr>
            <a:spLocks noGrp="1"/>
          </p:cNvSpPr>
          <p:nvPr>
            <p:ph type="body" sz="quarter" idx="22"/>
          </p:nvPr>
        </p:nvSpPr>
        <p:spPr/>
        <p:txBody>
          <a:bodyPr/>
          <a:lstStyle/>
          <a:p>
            <a:r>
              <a:rPr lang="zh-CN" altLang="en-US" dirty="0">
                <a:latin typeface="微软雅黑" panose="020B0503020204020204" pitchFamily="34" charset="-122"/>
                <a:ea typeface="微软雅黑" panose="020B0503020204020204" pitchFamily="34" charset="-122"/>
              </a:rPr>
              <a:t>细分市场容量 </a:t>
            </a:r>
            <a:r>
              <a:rPr lang="zh-CN" altLang="en-US" u="sng"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 台</a:t>
            </a:r>
          </a:p>
          <a:p>
            <a:r>
              <a:rPr lang="zh-CN" altLang="en-US" dirty="0">
                <a:latin typeface="微软雅黑" panose="020B0503020204020204" pitchFamily="34" charset="-122"/>
                <a:ea typeface="微软雅黑" panose="020B0503020204020204" pitchFamily="34" charset="-122"/>
              </a:rPr>
              <a:t>汽车商圈共有</a:t>
            </a:r>
            <a:r>
              <a:rPr lang="zh-CN" altLang="en-US" u="sng"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个</a:t>
            </a:r>
          </a:p>
          <a:p>
            <a:endParaRPr lang="en-GB" dirty="0">
              <a:latin typeface="微软雅黑" panose="020B0503020204020204" pitchFamily="34" charset="-122"/>
              <a:ea typeface="微软雅黑" panose="020B0503020204020204" pitchFamily="34" charset="-122"/>
            </a:endParaRPr>
          </a:p>
        </p:txBody>
      </p:sp>
      <p:sp>
        <p:nvSpPr>
          <p:cNvPr id="7170" name="标题 1"/>
          <p:cNvSpPr>
            <a:spLocks noGrp="1"/>
          </p:cNvSpPr>
          <p:nvPr>
            <p:ph type="title"/>
          </p:nvPr>
        </p:nvSpPr>
        <p:spPr/>
        <p:txBody>
          <a:bodyPr vert="horz" wrap="none" lIns="0" tIns="0" rIns="0" bIns="0" rtlCol="0" anchor="b">
            <a:noAutofit/>
          </a:bodyPr>
          <a:lstStyle/>
          <a:p>
            <a:r>
              <a:rPr kumimoji="1" lang="zh-CN" altLang="en-US" b="1" dirty="0">
                <a:solidFill>
                  <a:srgbClr val="000000"/>
                </a:solidFill>
                <a:latin typeface="微软雅黑" panose="020B0503020204020204" pitchFamily="34" charset="-122"/>
                <a:ea typeface="微软雅黑" panose="020B0503020204020204" pitchFamily="34" charset="-122"/>
              </a:rPr>
              <a:t>建议</a:t>
            </a:r>
            <a:r>
              <a:rPr kumimoji="1" lang="en-US" altLang="zh-CN" b="1" dirty="0">
                <a:solidFill>
                  <a:srgbClr val="000000"/>
                </a:solidFill>
                <a:latin typeface="微软雅黑" panose="020B0503020204020204" pitchFamily="34" charset="-122"/>
                <a:ea typeface="微软雅黑" panose="020B0503020204020204" pitchFamily="34" charset="-122"/>
              </a:rPr>
              <a:t>4S</a:t>
            </a:r>
            <a:r>
              <a:rPr kumimoji="1" lang="zh-CN" altLang="en-US" b="1" dirty="0">
                <a:solidFill>
                  <a:srgbClr val="000000"/>
                </a:solidFill>
                <a:latin typeface="微软雅黑" panose="020B0503020204020204" pitchFamily="34" charset="-122"/>
                <a:ea typeface="微软雅黑" panose="020B0503020204020204" pitchFamily="34" charset="-122"/>
              </a:rPr>
              <a:t>店场地</a:t>
            </a:r>
            <a:endParaRPr kumimoji="1" lang="en-US" altLang="zh-CN" b="1" dirty="0">
              <a:solidFill>
                <a:srgbClr val="000000"/>
              </a:solidFill>
              <a:latin typeface="微软雅黑" panose="020B0503020204020204" pitchFamily="34" charset="-122"/>
              <a:ea typeface="微软雅黑" panose="020B0503020204020204" pitchFamily="34" charset="-122"/>
            </a:endParaRPr>
          </a:p>
        </p:txBody>
      </p:sp>
      <p:sp>
        <p:nvSpPr>
          <p:cNvPr id="2" name="Slide Number Placeholder 1"/>
          <p:cNvSpPr>
            <a:spLocks noGrp="1"/>
          </p:cNvSpPr>
          <p:nvPr>
            <p:ph type="sldNum" sz="quarter" idx="4"/>
          </p:nvPr>
        </p:nvSpPr>
        <p:spPr/>
        <p:txBody>
          <a:bodyPr/>
          <a:lstStyle/>
          <a:p>
            <a:pPr>
              <a:defRPr/>
            </a:pPr>
            <a:fld id="{6CD1681D-C509-41FD-8044-C8D40D76773A}" type="slidenum">
              <a:rPr lang="en-GB" altLang="zh-CN" smtClean="0">
                <a:latin typeface="微软雅黑" panose="020B0503020204020204" pitchFamily="34" charset="-122"/>
                <a:ea typeface="微软雅黑" panose="020B0503020204020204" pitchFamily="34" charset="-122"/>
              </a:rPr>
              <a:pPr>
                <a:defRPr/>
              </a:pPr>
              <a:t>36</a:t>
            </a:fld>
            <a:endParaRPr lang="en-GB" altLang="zh-CN">
              <a:latin typeface="微软雅黑" panose="020B0503020204020204" pitchFamily="34" charset="-122"/>
              <a:ea typeface="微软雅黑" panose="020B0503020204020204" pitchFamily="34" charset="-122"/>
            </a:endParaRPr>
          </a:p>
        </p:txBody>
      </p:sp>
      <p:pic>
        <p:nvPicPr>
          <p:cNvPr id="37" name="Picture 2" descr="W:\VCCN Dealer Network\VCCN DNW\02_Dealer Network Development\DND Library\Logo\Audi_128.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444009" y="3908283"/>
            <a:ext cx="253515" cy="253515"/>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W:\VCCN Dealer Network\VCCN DNW\02_Dealer Network Development\DND Library\Logo\Audi_128.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137637" y="1355285"/>
            <a:ext cx="253515" cy="253515"/>
          </a:xfrm>
          <a:prstGeom prst="rect">
            <a:avLst/>
          </a:prstGeom>
          <a:noFill/>
          <a:extLst>
            <a:ext uri="{909E8E84-426E-40DD-AFC4-6F175D3DCCD1}">
              <a14:hiddenFill xmlns:a14="http://schemas.microsoft.com/office/drawing/2010/main">
                <a:solidFill>
                  <a:srgbClr val="FFFFFF"/>
                </a:solidFill>
              </a14:hiddenFill>
            </a:ext>
          </a:extLst>
        </p:spPr>
      </p:pic>
      <p:sp>
        <p:nvSpPr>
          <p:cNvPr id="54" name="Oval 53"/>
          <p:cNvSpPr>
            <a:spLocks noChangeArrowheads="1"/>
          </p:cNvSpPr>
          <p:nvPr/>
        </p:nvSpPr>
        <p:spPr bwMode="auto">
          <a:xfrm>
            <a:off x="2706297" y="1321982"/>
            <a:ext cx="781270" cy="370026"/>
          </a:xfrm>
          <a:prstGeom prst="ellipse">
            <a:avLst/>
          </a:prstGeom>
          <a:solidFill>
            <a:srgbClr val="0070C0">
              <a:alpha val="20000"/>
            </a:srgbClr>
          </a:solidFill>
          <a:ln w="9525">
            <a:solidFill>
              <a:srgbClr val="0000CC"/>
            </a:solidFill>
            <a:round/>
            <a:headEnd/>
            <a:tailEnd/>
          </a:ln>
        </p:spPr>
        <p:txBody>
          <a:bodyPr lIns="0" tIns="0" rIns="107183" bIns="53592" anchor="ctr"/>
          <a:lstStyle>
            <a:defPPr>
              <a:defRPr lang="en-US"/>
            </a:defPPr>
            <a:lvl1pPr algn="l" rtl="0" eaLnBrk="0" fontAlgn="base" hangingPunct="0">
              <a:spcBef>
                <a:spcPct val="0"/>
              </a:spcBef>
              <a:spcAft>
                <a:spcPct val="0"/>
              </a:spcAft>
              <a:defRPr sz="2000" kern="1200">
                <a:solidFill>
                  <a:schemeClr val="tx2"/>
                </a:solidFill>
                <a:latin typeface="Arial" panose="020B0604020202020204" pitchFamily="34" charset="0"/>
                <a:ea typeface="+mn-ea"/>
                <a:cs typeface="+mn-cs"/>
              </a:defRPr>
            </a:lvl1pPr>
            <a:lvl2pPr marL="457200" algn="l" rtl="0" eaLnBrk="0" fontAlgn="base" hangingPunct="0">
              <a:spcBef>
                <a:spcPct val="0"/>
              </a:spcBef>
              <a:spcAft>
                <a:spcPct val="0"/>
              </a:spcAft>
              <a:defRPr sz="2000" kern="1200">
                <a:solidFill>
                  <a:schemeClr val="tx2"/>
                </a:solidFill>
                <a:latin typeface="Arial" panose="020B0604020202020204" pitchFamily="34" charset="0"/>
                <a:ea typeface="+mn-ea"/>
                <a:cs typeface="+mn-cs"/>
              </a:defRPr>
            </a:lvl2pPr>
            <a:lvl3pPr marL="914400" algn="l" rtl="0" eaLnBrk="0" fontAlgn="base" hangingPunct="0">
              <a:spcBef>
                <a:spcPct val="0"/>
              </a:spcBef>
              <a:spcAft>
                <a:spcPct val="0"/>
              </a:spcAft>
              <a:defRPr sz="2000" kern="1200">
                <a:solidFill>
                  <a:schemeClr val="tx2"/>
                </a:solidFill>
                <a:latin typeface="Arial" panose="020B0604020202020204" pitchFamily="34" charset="0"/>
                <a:ea typeface="+mn-ea"/>
                <a:cs typeface="+mn-cs"/>
              </a:defRPr>
            </a:lvl3pPr>
            <a:lvl4pPr marL="1371600" algn="l" rtl="0" eaLnBrk="0" fontAlgn="base" hangingPunct="0">
              <a:spcBef>
                <a:spcPct val="0"/>
              </a:spcBef>
              <a:spcAft>
                <a:spcPct val="0"/>
              </a:spcAft>
              <a:defRPr sz="2000" kern="1200">
                <a:solidFill>
                  <a:schemeClr val="tx2"/>
                </a:solidFill>
                <a:latin typeface="Arial" panose="020B0604020202020204" pitchFamily="34" charset="0"/>
                <a:ea typeface="+mn-ea"/>
                <a:cs typeface="+mn-cs"/>
              </a:defRPr>
            </a:lvl4pPr>
            <a:lvl5pPr marL="1828800" algn="l" rtl="0" eaLnBrk="0" fontAlgn="base" hangingPunct="0">
              <a:spcBef>
                <a:spcPct val="0"/>
              </a:spcBef>
              <a:spcAft>
                <a:spcPct val="0"/>
              </a:spcAft>
              <a:defRPr sz="2000" kern="1200">
                <a:solidFill>
                  <a:schemeClr val="tx2"/>
                </a:solidFill>
                <a:latin typeface="Arial" panose="020B0604020202020204" pitchFamily="34" charset="0"/>
                <a:ea typeface="+mn-ea"/>
                <a:cs typeface="+mn-cs"/>
              </a:defRPr>
            </a:lvl5pPr>
            <a:lvl6pPr marL="2286000" algn="l" defTabSz="914400" rtl="0" eaLnBrk="1" latinLnBrk="0" hangingPunct="1">
              <a:defRPr sz="2000" kern="1200">
                <a:solidFill>
                  <a:schemeClr val="tx2"/>
                </a:solidFill>
                <a:latin typeface="Arial" panose="020B0604020202020204" pitchFamily="34" charset="0"/>
                <a:ea typeface="+mn-ea"/>
                <a:cs typeface="+mn-cs"/>
              </a:defRPr>
            </a:lvl6pPr>
            <a:lvl7pPr marL="2743200" algn="l" defTabSz="914400" rtl="0" eaLnBrk="1" latinLnBrk="0" hangingPunct="1">
              <a:defRPr sz="2000" kern="1200">
                <a:solidFill>
                  <a:schemeClr val="tx2"/>
                </a:solidFill>
                <a:latin typeface="Arial" panose="020B0604020202020204" pitchFamily="34" charset="0"/>
                <a:ea typeface="+mn-ea"/>
                <a:cs typeface="+mn-cs"/>
              </a:defRPr>
            </a:lvl7pPr>
            <a:lvl8pPr marL="3200400" algn="l" defTabSz="914400" rtl="0" eaLnBrk="1" latinLnBrk="0" hangingPunct="1">
              <a:defRPr sz="2000" kern="1200">
                <a:solidFill>
                  <a:schemeClr val="tx2"/>
                </a:solidFill>
                <a:latin typeface="Arial" panose="020B0604020202020204" pitchFamily="34" charset="0"/>
                <a:ea typeface="+mn-ea"/>
                <a:cs typeface="+mn-cs"/>
              </a:defRPr>
            </a:lvl8pPr>
            <a:lvl9pPr marL="3657600" algn="l" defTabSz="914400" rtl="0" eaLnBrk="1" latinLnBrk="0" hangingPunct="1">
              <a:defRPr sz="2000" kern="1200">
                <a:solidFill>
                  <a:schemeClr val="tx2"/>
                </a:solidFill>
                <a:latin typeface="Arial" panose="020B0604020202020204" pitchFamily="34" charset="0"/>
                <a:ea typeface="+mn-ea"/>
                <a:cs typeface="+mn-cs"/>
              </a:defRPr>
            </a:lvl9pPr>
          </a:lstStyle>
          <a:p>
            <a:pPr eaLnBrk="1" hangingPunct="1"/>
            <a:endParaRPr lang="zh-CN" altLang="zh-CN" sz="3598">
              <a:solidFill>
                <a:srgbClr val="8F8F8F"/>
              </a:solidFill>
              <a:latin typeface="微软雅黑" panose="020B0503020204020204" pitchFamily="34" charset="-122"/>
              <a:ea typeface="微软雅黑" panose="020B0503020204020204" pitchFamily="34" charset="-122"/>
            </a:endParaRPr>
          </a:p>
        </p:txBody>
      </p:sp>
      <p:graphicFrame>
        <p:nvGraphicFramePr>
          <p:cNvPr id="7168" name="Table 7167"/>
          <p:cNvGraphicFramePr>
            <a:graphicFrameLocks noGrp="1"/>
          </p:cNvGraphicFramePr>
          <p:nvPr>
            <p:extLst>
              <p:ext uri="{D42A27DB-BD31-4B8C-83A1-F6EECF244321}">
                <p14:modId xmlns:p14="http://schemas.microsoft.com/office/powerpoint/2010/main" val="2181633355"/>
              </p:ext>
            </p:extLst>
          </p:nvPr>
        </p:nvGraphicFramePr>
        <p:xfrm>
          <a:off x="6097395" y="2110773"/>
          <a:ext cx="2872325" cy="1858184"/>
        </p:xfrm>
        <a:graphic>
          <a:graphicData uri="http://schemas.openxmlformats.org/drawingml/2006/table">
            <a:tbl>
              <a:tblPr firstRow="1" bandRow="1">
                <a:tableStyleId>{5C22544A-7EE6-4342-B048-85BDC9FD1C3A}</a:tableStyleId>
              </a:tblPr>
              <a:tblGrid>
                <a:gridCol w="259344">
                  <a:extLst>
                    <a:ext uri="{9D8B030D-6E8A-4147-A177-3AD203B41FA5}">
                      <a16:colId xmlns:a16="http://schemas.microsoft.com/office/drawing/2014/main" val="20000"/>
                    </a:ext>
                  </a:extLst>
                </a:gridCol>
                <a:gridCol w="1026831">
                  <a:extLst>
                    <a:ext uri="{9D8B030D-6E8A-4147-A177-3AD203B41FA5}">
                      <a16:colId xmlns:a16="http://schemas.microsoft.com/office/drawing/2014/main" val="20001"/>
                    </a:ext>
                  </a:extLst>
                </a:gridCol>
                <a:gridCol w="780773">
                  <a:extLst>
                    <a:ext uri="{9D8B030D-6E8A-4147-A177-3AD203B41FA5}">
                      <a16:colId xmlns:a16="http://schemas.microsoft.com/office/drawing/2014/main" val="20002"/>
                    </a:ext>
                  </a:extLst>
                </a:gridCol>
                <a:gridCol w="805377">
                  <a:extLst>
                    <a:ext uri="{9D8B030D-6E8A-4147-A177-3AD203B41FA5}">
                      <a16:colId xmlns:a16="http://schemas.microsoft.com/office/drawing/2014/main" val="20003"/>
                    </a:ext>
                  </a:extLst>
                </a:gridCol>
              </a:tblGrid>
              <a:tr h="673640">
                <a:tc>
                  <a:txBody>
                    <a:bodyPr/>
                    <a:lstStyle/>
                    <a:p>
                      <a:pPr algn="ctr"/>
                      <a:endParaRPr lang="en-GB" sz="1300" b="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zh-CN" altLang="en-US" sz="1300" b="0" baseline="0" dirty="0">
                          <a:solidFill>
                            <a:schemeClr val="tx1"/>
                          </a:solidFill>
                          <a:latin typeface="微软雅黑" panose="020B0503020204020204" pitchFamily="34" charset="-122"/>
                          <a:ea typeface="微软雅黑" panose="020B0503020204020204" pitchFamily="34" charset="-122"/>
                        </a:rPr>
                        <a:t>名称</a:t>
                      </a:r>
                      <a:endParaRPr lang="en-GB" sz="1300" b="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zh-CN" altLang="en-US" sz="1300" b="0" baseline="0" dirty="0">
                          <a:solidFill>
                            <a:schemeClr val="tx1"/>
                          </a:solidFill>
                          <a:latin typeface="微软雅黑" panose="020B0503020204020204" pitchFamily="34" charset="-122"/>
                          <a:ea typeface="微软雅黑" panose="020B0503020204020204" pitchFamily="34" charset="-122"/>
                        </a:rPr>
                        <a:t>销量</a:t>
                      </a:r>
                      <a:endParaRPr lang="en-US" altLang="zh-CN" sz="1300" b="0" baseline="0" dirty="0">
                        <a:solidFill>
                          <a:schemeClr val="tx1"/>
                        </a:solidFill>
                        <a:latin typeface="微软雅黑" panose="020B0503020204020204" pitchFamily="34" charset="-122"/>
                        <a:ea typeface="微软雅黑" panose="020B0503020204020204" pitchFamily="34" charset="-122"/>
                      </a:endParaRPr>
                    </a:p>
                    <a:p>
                      <a:pPr algn="ctr"/>
                      <a:r>
                        <a:rPr lang="zh-CN" altLang="en-US" sz="1300" b="0" baseline="0" dirty="0">
                          <a:solidFill>
                            <a:schemeClr val="tx1"/>
                          </a:solidFill>
                          <a:latin typeface="微软雅黑" panose="020B0503020204020204" pitchFamily="34" charset="-122"/>
                          <a:ea typeface="微软雅黑" panose="020B0503020204020204" pitchFamily="34" charset="-122"/>
                        </a:rPr>
                        <a:t>占比</a:t>
                      </a:r>
                      <a:endParaRPr lang="en-GB" sz="1300" b="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a:r>
                        <a:rPr lang="zh-CN" altLang="en-US" sz="1300" b="0" baseline="0" dirty="0">
                          <a:solidFill>
                            <a:schemeClr val="tx1"/>
                          </a:solidFill>
                          <a:latin typeface="微软雅黑" panose="020B0503020204020204" pitchFamily="34" charset="-122"/>
                          <a:ea typeface="微软雅黑" panose="020B0503020204020204" pitchFamily="34" charset="-122"/>
                        </a:rPr>
                        <a:t>是否有</a:t>
                      </a:r>
                      <a:endParaRPr lang="en-US" altLang="zh-CN" sz="1300" b="0" baseline="0" dirty="0">
                        <a:solidFill>
                          <a:schemeClr val="tx1"/>
                        </a:solidFill>
                        <a:latin typeface="微软雅黑" panose="020B0503020204020204" pitchFamily="34" charset="-122"/>
                        <a:ea typeface="微软雅黑" panose="020B0503020204020204" pitchFamily="34" charset="-122"/>
                      </a:endParaRPr>
                    </a:p>
                    <a:p>
                      <a:pPr algn="ctr"/>
                      <a:r>
                        <a:rPr lang="zh-CN" altLang="en-US" sz="1300" b="0" baseline="0" dirty="0">
                          <a:solidFill>
                            <a:schemeClr val="tx1"/>
                          </a:solidFill>
                          <a:latin typeface="微软雅黑" panose="020B0503020204020204" pitchFamily="34" charset="-122"/>
                          <a:ea typeface="微软雅黑" panose="020B0503020204020204" pitchFamily="34" charset="-122"/>
                        </a:rPr>
                        <a:t>沃尔沃</a:t>
                      </a:r>
                      <a:endParaRPr lang="en-GB" sz="1300" b="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394848">
                <a:tc>
                  <a:txBody>
                    <a:bodyPr/>
                    <a:lstStyle/>
                    <a:p>
                      <a:r>
                        <a:rPr lang="en-US" sz="1300" baseline="0" dirty="0">
                          <a:latin typeface="微软雅黑" panose="020B0503020204020204" pitchFamily="34" charset="-122"/>
                          <a:ea typeface="微软雅黑" panose="020B0503020204020204" pitchFamily="34" charset="-122"/>
                        </a:rPr>
                        <a:t>1</a:t>
                      </a:r>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r"/>
                      <a:r>
                        <a:rPr lang="en-US" altLang="zh-CN" sz="1300" baseline="0" dirty="0">
                          <a:solidFill>
                            <a:schemeClr val="tx1"/>
                          </a:solidFill>
                          <a:latin typeface="微软雅黑" panose="020B0503020204020204" pitchFamily="34" charset="-122"/>
                          <a:ea typeface="微软雅黑" panose="020B0503020204020204" pitchFamily="34" charset="-122"/>
                        </a:rPr>
                        <a:t>%</a:t>
                      </a:r>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394848">
                <a:tc>
                  <a:txBody>
                    <a:bodyPr/>
                    <a:lstStyle/>
                    <a:p>
                      <a:r>
                        <a:rPr lang="en-US" sz="1300" baseline="0" dirty="0">
                          <a:latin typeface="微软雅黑" panose="020B0503020204020204" pitchFamily="34" charset="-122"/>
                          <a:ea typeface="微软雅黑" panose="020B0503020204020204" pitchFamily="34" charset="-122"/>
                        </a:rPr>
                        <a:t>2</a:t>
                      </a:r>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r"/>
                      <a:r>
                        <a:rPr lang="en-US" altLang="zh-CN" sz="1300" baseline="0" dirty="0">
                          <a:solidFill>
                            <a:schemeClr val="tx1"/>
                          </a:solidFill>
                          <a:latin typeface="微软雅黑" panose="020B0503020204020204" pitchFamily="34" charset="-122"/>
                          <a:ea typeface="微软雅黑" panose="020B0503020204020204" pitchFamily="34" charset="-122"/>
                        </a:rPr>
                        <a:t>%</a:t>
                      </a:r>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394848">
                <a:tc>
                  <a:txBody>
                    <a:bodyPr/>
                    <a:lstStyle/>
                    <a:p>
                      <a:r>
                        <a:rPr lang="en-US" sz="1300" baseline="0" dirty="0">
                          <a:latin typeface="微软雅黑" panose="020B0503020204020204" pitchFamily="34" charset="-122"/>
                          <a:ea typeface="微软雅黑" panose="020B0503020204020204" pitchFamily="34" charset="-122"/>
                        </a:rPr>
                        <a:t>3</a:t>
                      </a:r>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r"/>
                      <a:r>
                        <a:rPr lang="en-US" altLang="zh-CN" sz="1300" baseline="0" dirty="0">
                          <a:solidFill>
                            <a:schemeClr val="tx1"/>
                          </a:solidFill>
                          <a:latin typeface="微软雅黑" panose="020B0503020204020204" pitchFamily="34" charset="-122"/>
                          <a:ea typeface="微软雅黑" panose="020B0503020204020204" pitchFamily="34" charset="-122"/>
                        </a:rPr>
                        <a:t>%</a:t>
                      </a:r>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endParaRPr lang="en-GB" sz="1300" baseline="0" dirty="0">
                        <a:solidFill>
                          <a:schemeClr val="tx1"/>
                        </a:solidFill>
                        <a:latin typeface="微软雅黑" panose="020B0503020204020204" pitchFamily="34" charset="-122"/>
                        <a:ea typeface="微软雅黑" panose="020B0503020204020204" pitchFamily="34" charset="-122"/>
                      </a:endParaRPr>
                    </a:p>
                  </a:txBody>
                  <a:tcPr marL="91384" marR="91384" marT="45692" marB="45692"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4" name="5-Point Star 3"/>
          <p:cNvSpPr/>
          <p:nvPr/>
        </p:nvSpPr>
        <p:spPr>
          <a:xfrm>
            <a:off x="2736472" y="1220248"/>
            <a:ext cx="307040" cy="3040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5">
              <a:latin typeface="微软雅黑" panose="020B0503020204020204" pitchFamily="34" charset="-122"/>
              <a:ea typeface="微软雅黑" panose="020B0503020204020204" pitchFamily="34" charset="-122"/>
            </a:endParaRPr>
          </a:p>
        </p:txBody>
      </p:sp>
      <p:sp>
        <p:nvSpPr>
          <p:cNvPr id="62" name="5-Point Star 61"/>
          <p:cNvSpPr/>
          <p:nvPr/>
        </p:nvSpPr>
        <p:spPr>
          <a:xfrm>
            <a:off x="1229914" y="2534241"/>
            <a:ext cx="307040" cy="30409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595">
              <a:latin typeface="微软雅黑" panose="020B0503020204020204" pitchFamily="34" charset="-122"/>
              <a:ea typeface="微软雅黑" panose="020B0503020204020204" pitchFamily="34" charset="-122"/>
            </a:endParaRPr>
          </a:p>
        </p:txBody>
      </p:sp>
      <p:cxnSp>
        <p:nvCxnSpPr>
          <p:cNvPr id="6" name="Straight Connector 5"/>
          <p:cNvCxnSpPr>
            <a:cxnSpLocks/>
          </p:cNvCxnSpPr>
          <p:nvPr/>
        </p:nvCxnSpPr>
        <p:spPr>
          <a:xfrm>
            <a:off x="1469664" y="2838333"/>
            <a:ext cx="1360932" cy="399799"/>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a:cxnSpLocks/>
            <a:stCxn id="4" idx="3"/>
          </p:cNvCxnSpPr>
          <p:nvPr/>
        </p:nvCxnSpPr>
        <p:spPr>
          <a:xfrm flipH="1">
            <a:off x="2910370" y="1524340"/>
            <a:ext cx="74502" cy="1633947"/>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pic>
        <p:nvPicPr>
          <p:cNvPr id="56" name="Picture 55">
            <a:extLst>
              <a:ext uri="{FF2B5EF4-FFF2-40B4-BE49-F238E27FC236}">
                <a16:creationId xmlns:a16="http://schemas.microsoft.com/office/drawing/2014/main" id="{A96E99EC-83EA-4582-B938-67C58D3B822F}"/>
              </a:ext>
            </a:extLst>
          </p:cNvPr>
          <p:cNvPicPr>
            <a:picLocks noChangeAspect="1"/>
          </p:cNvPicPr>
          <p:nvPr/>
        </p:nvPicPr>
        <p:blipFill>
          <a:blip r:embed="rId8"/>
          <a:stretch>
            <a:fillRect/>
          </a:stretch>
        </p:blipFill>
        <p:spPr>
          <a:xfrm>
            <a:off x="2814479" y="3117201"/>
            <a:ext cx="206085" cy="206085"/>
          </a:xfrm>
          <a:prstGeom prst="rect">
            <a:avLst/>
          </a:prstGeom>
        </p:spPr>
      </p:pic>
      <p:pic>
        <p:nvPicPr>
          <p:cNvPr id="57" name="Picture 56">
            <a:extLst>
              <a:ext uri="{FF2B5EF4-FFF2-40B4-BE49-F238E27FC236}">
                <a16:creationId xmlns:a16="http://schemas.microsoft.com/office/drawing/2014/main" id="{95FC6F94-3A1C-4C50-911D-317211D67390}"/>
              </a:ext>
            </a:extLst>
          </p:cNvPr>
          <p:cNvPicPr>
            <a:picLocks noChangeAspect="1"/>
          </p:cNvPicPr>
          <p:nvPr/>
        </p:nvPicPr>
        <p:blipFill>
          <a:blip r:embed="rId8"/>
          <a:stretch>
            <a:fillRect/>
          </a:stretch>
        </p:blipFill>
        <p:spPr>
          <a:xfrm>
            <a:off x="2966879" y="3269601"/>
            <a:ext cx="206085" cy="206085"/>
          </a:xfrm>
          <a:prstGeom prst="rect">
            <a:avLst/>
          </a:prstGeom>
        </p:spPr>
      </p:pic>
    </p:spTree>
    <p:extLst>
      <p:ext uri="{BB962C8B-B14F-4D97-AF65-F5344CB8AC3E}">
        <p14:creationId xmlns:p14="http://schemas.microsoft.com/office/powerpoint/2010/main" val="106422147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 Placeholder 13"/>
          <p:cNvSpPr>
            <a:spLocks noGrp="1"/>
          </p:cNvSpPr>
          <p:nvPr>
            <p:ph type="body" sz="quarter" idx="36"/>
          </p:nvPr>
        </p:nvSpPr>
        <p:spPr>
          <a:xfrm>
            <a:off x="360364" y="1171516"/>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城市地图包括竞争对手所处位置和建议的沃尔沃汽车</a:t>
            </a:r>
            <a:r>
              <a:rPr lang="en-US" altLang="zh-CN" dirty="0">
                <a:latin typeface="微软雅黑" panose="020B0503020204020204" pitchFamily="34" charset="-122"/>
                <a:ea typeface="微软雅黑" panose="020B0503020204020204" pitchFamily="34" charset="-122"/>
              </a:rPr>
              <a:t>4S</a:t>
            </a:r>
            <a:r>
              <a:rPr lang="zh-CN" altLang="en-US" dirty="0">
                <a:latin typeface="微软雅黑" panose="020B0503020204020204" pitchFamily="34" charset="-122"/>
                <a:ea typeface="微软雅黑" panose="020B0503020204020204" pitchFamily="34" charset="-122"/>
              </a:rPr>
              <a:t>店位置</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solidFill>
                  <a:srgbClr val="000000"/>
                </a:solidFill>
                <a:latin typeface="微软雅黑" panose="020B0503020204020204" pitchFamily="34" charset="-122"/>
                <a:ea typeface="微软雅黑" panose="020B0503020204020204" pitchFamily="34" charset="-122"/>
              </a:rPr>
              <a:t>建议</a:t>
            </a:r>
            <a:r>
              <a:rPr kumimoji="1" lang="en-US" altLang="zh-CN" b="1" dirty="0">
                <a:solidFill>
                  <a:srgbClr val="000000"/>
                </a:solidFill>
                <a:latin typeface="微软雅黑" panose="020B0503020204020204" pitchFamily="34" charset="-122"/>
                <a:ea typeface="微软雅黑" panose="020B0503020204020204" pitchFamily="34" charset="-122"/>
              </a:rPr>
              <a:t>4S</a:t>
            </a:r>
            <a:r>
              <a:rPr kumimoji="1" lang="zh-CN" altLang="en-US" b="1" dirty="0">
                <a:solidFill>
                  <a:srgbClr val="000000"/>
                </a:solidFill>
                <a:latin typeface="微软雅黑" panose="020B0503020204020204" pitchFamily="34" charset="-122"/>
                <a:ea typeface="微软雅黑" panose="020B0503020204020204" pitchFamily="34" charset="-122"/>
              </a:rPr>
              <a:t>店场地</a:t>
            </a:r>
            <a:r>
              <a:rPr kumimoji="1" lang="en-US" altLang="zh-CN" b="1" dirty="0">
                <a:solidFill>
                  <a:srgbClr val="000000"/>
                </a:solidFill>
                <a:latin typeface="微软雅黑" panose="020B0503020204020204" pitchFamily="34" charset="-122"/>
                <a:ea typeface="微软雅黑" panose="020B0503020204020204" pitchFamily="34" charset="-122"/>
              </a:rPr>
              <a:t> – </a:t>
            </a:r>
            <a:r>
              <a:rPr kumimoji="1" lang="zh-CN" altLang="en-US" b="1" dirty="0">
                <a:solidFill>
                  <a:srgbClr val="000000"/>
                </a:solidFill>
                <a:latin typeface="微软雅黑" panose="020B0503020204020204" pitchFamily="34" charset="-122"/>
                <a:ea typeface="微软雅黑" panose="020B0503020204020204" pitchFamily="34" charset="-122"/>
              </a:rPr>
              <a:t>位置</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7</a:t>
            </a:fld>
            <a:endParaRPr lang="sv-SE">
              <a:latin typeface="微软雅黑" panose="020B0503020204020204" pitchFamily="34" charset="-122"/>
              <a:ea typeface="微软雅黑" panose="020B0503020204020204" pitchFamily="34" charset="-122"/>
            </a:endParaRPr>
          </a:p>
        </p:txBody>
      </p:sp>
      <p:sp>
        <p:nvSpPr>
          <p:cNvPr id="9" name="Text Box 6"/>
          <p:cNvSpPr txBox="1">
            <a:spLocks noChangeArrowheads="1"/>
          </p:cNvSpPr>
          <p:nvPr/>
        </p:nvSpPr>
        <p:spPr bwMode="auto">
          <a:xfrm>
            <a:off x="1112299" y="1403695"/>
            <a:ext cx="2598269"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ctr" eaLnBrk="1" hangingPunct="1">
              <a:spcBef>
                <a:spcPct val="50000"/>
              </a:spcBef>
            </a:pPr>
            <a:r>
              <a:rPr kumimoji="1" lang="zh-CN" altLang="en-US" sz="1260" dirty="0">
                <a:solidFill>
                  <a:schemeClr val="tx1"/>
                </a:solidFill>
                <a:latin typeface="微软雅黑" panose="020B0503020204020204" pitchFamily="34" charset="-122"/>
                <a:ea typeface="微软雅黑" panose="020B0503020204020204" pitchFamily="34" charset="-122"/>
              </a:rPr>
              <a:t>卫星图</a:t>
            </a:r>
          </a:p>
        </p:txBody>
      </p:sp>
      <p:sp>
        <p:nvSpPr>
          <p:cNvPr id="12" name="Rectangle 8"/>
          <p:cNvSpPr>
            <a:spLocks noChangeArrowheads="1"/>
          </p:cNvSpPr>
          <p:nvPr/>
        </p:nvSpPr>
        <p:spPr bwMode="auto">
          <a:xfrm>
            <a:off x="453916" y="1706683"/>
            <a:ext cx="3915036" cy="2914292"/>
          </a:xfrm>
          <a:prstGeom prst="rect">
            <a:avLst/>
          </a:prstGeom>
          <a:noFill/>
          <a:ln w="9525">
            <a:solidFill>
              <a:schemeClr val="tx1"/>
            </a:solidFill>
            <a:prstDash val="dash"/>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endParaRPr kumimoji="1" lang="zh-CN" altLang="en-US" sz="2161">
              <a:solidFill>
                <a:schemeClr val="tx1"/>
              </a:solidFill>
              <a:latin typeface="微软雅黑" panose="020B0503020204020204" pitchFamily="34" charset="-122"/>
              <a:ea typeface="微软雅黑" panose="020B0503020204020204" pitchFamily="34" charset="-122"/>
            </a:endParaRPr>
          </a:p>
        </p:txBody>
      </p:sp>
      <p:graphicFrame>
        <p:nvGraphicFramePr>
          <p:cNvPr id="13" name="Table 12"/>
          <p:cNvGraphicFramePr>
            <a:graphicFrameLocks noGrp="1"/>
          </p:cNvGraphicFramePr>
          <p:nvPr>
            <p:extLst>
              <p:ext uri="{D42A27DB-BD31-4B8C-83A1-F6EECF244321}">
                <p14:modId xmlns:p14="http://schemas.microsoft.com/office/powerpoint/2010/main" val="4271863560"/>
              </p:ext>
            </p:extLst>
          </p:nvPr>
        </p:nvGraphicFramePr>
        <p:xfrm>
          <a:off x="4926296" y="1435366"/>
          <a:ext cx="3523257" cy="3218205"/>
        </p:xfrm>
        <a:graphic>
          <a:graphicData uri="http://schemas.openxmlformats.org/drawingml/2006/table">
            <a:tbl>
              <a:tblPr firstRow="1" bandRow="1">
                <a:tableStyleId>{5C22544A-7EE6-4342-B048-85BDC9FD1C3A}</a:tableStyleId>
              </a:tblPr>
              <a:tblGrid>
                <a:gridCol w="625109">
                  <a:extLst>
                    <a:ext uri="{9D8B030D-6E8A-4147-A177-3AD203B41FA5}">
                      <a16:colId xmlns:a16="http://schemas.microsoft.com/office/drawing/2014/main" val="20000"/>
                    </a:ext>
                  </a:extLst>
                </a:gridCol>
                <a:gridCol w="2898148">
                  <a:extLst>
                    <a:ext uri="{9D8B030D-6E8A-4147-A177-3AD203B41FA5}">
                      <a16:colId xmlns:a16="http://schemas.microsoft.com/office/drawing/2014/main" val="20001"/>
                    </a:ext>
                  </a:extLst>
                </a:gridCol>
              </a:tblGrid>
              <a:tr h="381229">
                <a:tc gridSpan="2">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r>
                        <a:rPr lang="zh-CN" altLang="en-US" sz="1300" b="0" baseline="0" dirty="0">
                          <a:solidFill>
                            <a:schemeClr val="tx1"/>
                          </a:solidFill>
                          <a:latin typeface="Arial" panose="020B0604020202020204" pitchFamily="34" charset="0"/>
                          <a:ea typeface="Microsoft YaHei" panose="020B0503020204020204" pitchFamily="34" charset="-122"/>
                        </a:rPr>
                        <a:t>土地介绍</a:t>
                      </a:r>
                      <a:endParaRPr lang="en-US" altLang="zh-CN"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solidFill>
                          <a:schemeClr val="tx1"/>
                        </a:solidFill>
                      </a:endParaRPr>
                    </a:p>
                  </a:txBody>
                  <a:tcP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709244">
                <a:tc>
                  <a:txBody>
                    <a:bodyPr/>
                    <a:lstStyle/>
                    <a:p>
                      <a:r>
                        <a:rPr lang="zh-CN" altLang="en-US" sz="1300" b="0" baseline="0" dirty="0">
                          <a:solidFill>
                            <a:schemeClr val="tx1"/>
                          </a:solidFill>
                          <a:latin typeface="Arial" panose="020B0604020202020204" pitchFamily="34" charset="0"/>
                          <a:ea typeface="Microsoft YaHei" panose="020B0503020204020204" pitchFamily="34" charset="-122"/>
                        </a:rPr>
                        <a:t>位置</a:t>
                      </a:r>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09244">
                <a:tc>
                  <a:txBody>
                    <a:bodyPr/>
                    <a:lstStyle/>
                    <a:p>
                      <a:r>
                        <a:rPr lang="zh-CN" altLang="en-US" sz="1300" b="0" baseline="0" dirty="0">
                          <a:solidFill>
                            <a:schemeClr val="tx1"/>
                          </a:solidFill>
                          <a:latin typeface="Arial" panose="020B0604020202020204" pitchFamily="34" charset="0"/>
                          <a:ea typeface="Microsoft YaHei" panose="020B0503020204020204" pitchFamily="34" charset="-122"/>
                        </a:rPr>
                        <a:t>优势</a:t>
                      </a:r>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09244">
                <a:tc>
                  <a:txBody>
                    <a:bodyPr/>
                    <a:lstStyle/>
                    <a:p>
                      <a:r>
                        <a:rPr lang="zh-CN" altLang="en-US" sz="1300" b="0" baseline="0" dirty="0">
                          <a:solidFill>
                            <a:schemeClr val="tx1"/>
                          </a:solidFill>
                          <a:latin typeface="Arial" panose="020B0604020202020204" pitchFamily="34" charset="0"/>
                          <a:ea typeface="Microsoft YaHei" panose="020B0503020204020204" pitchFamily="34" charset="-122"/>
                        </a:rPr>
                        <a:t>劣势</a:t>
                      </a:r>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09244">
                <a:tc>
                  <a:txBody>
                    <a:bodyPr/>
                    <a:lstStyle/>
                    <a:p>
                      <a:r>
                        <a:rPr lang="zh-CN" altLang="en-US" sz="1300" b="0" baseline="0" dirty="0">
                          <a:solidFill>
                            <a:schemeClr val="tx1"/>
                          </a:solidFill>
                          <a:latin typeface="Arial" panose="020B0604020202020204" pitchFamily="34" charset="0"/>
                          <a:ea typeface="Microsoft YaHei" panose="020B0503020204020204" pitchFamily="34" charset="-122"/>
                        </a:rPr>
                        <a:t>地址</a:t>
                      </a:r>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GB" sz="1300" b="0" baseline="0" dirty="0">
                        <a:solidFill>
                          <a:schemeClr val="tx1"/>
                        </a:solidFill>
                        <a:latin typeface="Arial" panose="020B0604020202020204" pitchFamily="34" charset="0"/>
                        <a:ea typeface="Microsoft YaHei" panose="020B0503020204020204" pitchFamily="34" charset="-122"/>
                      </a:endParaRPr>
                    </a:p>
                  </a:txBody>
                  <a:tcPr marL="93223" marR="93223" marT="46611" marB="46611" anchor="ctr">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11" name="Text Box 6"/>
          <p:cNvSpPr txBox="1">
            <a:spLocks noChangeArrowheads="1"/>
          </p:cNvSpPr>
          <p:nvPr/>
        </p:nvSpPr>
        <p:spPr bwMode="auto">
          <a:xfrm>
            <a:off x="536611" y="1808875"/>
            <a:ext cx="1066527"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spcBef>
                <a:spcPct val="50000"/>
              </a:spcBef>
            </a:pPr>
            <a:r>
              <a:rPr kumimoji="1" lang="zh-CN" altLang="en-US" sz="1260" dirty="0">
                <a:solidFill>
                  <a:schemeClr val="tx1"/>
                </a:solidFill>
                <a:latin typeface="微软雅黑" panose="020B0503020204020204" pitchFamily="34" charset="-122"/>
                <a:ea typeface="微软雅黑" panose="020B0503020204020204" pitchFamily="34" charset="-122"/>
              </a:rPr>
              <a:t>示例：</a:t>
            </a:r>
          </a:p>
        </p:txBody>
      </p:sp>
      <p:grpSp>
        <p:nvGrpSpPr>
          <p:cNvPr id="15" name="Group 14"/>
          <p:cNvGrpSpPr/>
          <p:nvPr/>
        </p:nvGrpSpPr>
        <p:grpSpPr>
          <a:xfrm>
            <a:off x="483092" y="2100888"/>
            <a:ext cx="3857923" cy="2509111"/>
            <a:chOff x="318259" y="1518285"/>
            <a:chExt cx="4502075" cy="2928054"/>
          </a:xfrm>
        </p:grpSpPr>
        <p:pic>
          <p:nvPicPr>
            <p:cNvPr id="16" name="Picture 15"/>
            <p:cNvPicPr>
              <a:picLocks noChangeAspect="1"/>
            </p:cNvPicPr>
            <p:nvPr/>
          </p:nvPicPr>
          <p:blipFill rotWithShape="1">
            <a:blip r:embed="rId3" cstate="print">
              <a:extLst>
                <a:ext uri="{28A0092B-C50C-407E-A947-70E740481C1C}">
                  <a14:useLocalDpi xmlns:a14="http://schemas.microsoft.com/office/drawing/2010/main"/>
                </a:ext>
              </a:extLst>
            </a:blip>
            <a:srcRect r="10776"/>
            <a:stretch/>
          </p:blipFill>
          <p:spPr>
            <a:xfrm>
              <a:off x="318259" y="1518285"/>
              <a:ext cx="4502075" cy="2928054"/>
            </a:xfrm>
            <a:prstGeom prst="rect">
              <a:avLst/>
            </a:prstGeom>
          </p:spPr>
        </p:pic>
        <p:sp>
          <p:nvSpPr>
            <p:cNvPr id="17" name="Freeform 16"/>
            <p:cNvSpPr/>
            <p:nvPr/>
          </p:nvSpPr>
          <p:spPr>
            <a:xfrm>
              <a:off x="1344304" y="2190466"/>
              <a:ext cx="893929" cy="1337480"/>
            </a:xfrm>
            <a:custGeom>
              <a:avLst/>
              <a:gdLst>
                <a:gd name="connsiteX0" fmla="*/ 0 w 893929"/>
                <a:gd name="connsiteY0" fmla="*/ 129653 h 1337480"/>
                <a:gd name="connsiteX1" fmla="*/ 504968 w 893929"/>
                <a:gd name="connsiteY1" fmla="*/ 0 h 1337480"/>
                <a:gd name="connsiteX2" fmla="*/ 893929 w 893929"/>
                <a:gd name="connsiteY2" fmla="*/ 1255594 h 1337480"/>
                <a:gd name="connsiteX3" fmla="*/ 586854 w 893929"/>
                <a:gd name="connsiteY3" fmla="*/ 1337480 h 1337480"/>
                <a:gd name="connsiteX4" fmla="*/ 348018 w 893929"/>
                <a:gd name="connsiteY4" fmla="*/ 696035 h 1337480"/>
                <a:gd name="connsiteX5" fmla="*/ 225189 w 893929"/>
                <a:gd name="connsiteY5" fmla="*/ 723331 h 1337480"/>
                <a:gd name="connsiteX6" fmla="*/ 0 w 893929"/>
                <a:gd name="connsiteY6" fmla="*/ 129653 h 1337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93929" h="1337480">
                  <a:moveTo>
                    <a:pt x="0" y="129653"/>
                  </a:moveTo>
                  <a:lnTo>
                    <a:pt x="504968" y="0"/>
                  </a:lnTo>
                  <a:lnTo>
                    <a:pt x="893929" y="1255594"/>
                  </a:lnTo>
                  <a:lnTo>
                    <a:pt x="586854" y="1337480"/>
                  </a:lnTo>
                  <a:lnTo>
                    <a:pt x="348018" y="696035"/>
                  </a:lnTo>
                  <a:lnTo>
                    <a:pt x="225189" y="723331"/>
                  </a:lnTo>
                  <a:lnTo>
                    <a:pt x="0" y="129653"/>
                  </a:lnTo>
                  <a:close/>
                </a:path>
              </a:pathLst>
            </a:cu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18" name="Picture 1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46054" y="2788541"/>
              <a:ext cx="308642" cy="308642"/>
            </a:xfrm>
            <a:prstGeom prst="rect">
              <a:avLst/>
            </a:prstGeom>
          </p:spPr>
        </p:pic>
        <p:sp>
          <p:nvSpPr>
            <p:cNvPr id="19" name="Freeform 18"/>
            <p:cNvSpPr/>
            <p:nvPr/>
          </p:nvSpPr>
          <p:spPr>
            <a:xfrm>
              <a:off x="1851285" y="1926236"/>
              <a:ext cx="584617" cy="809469"/>
            </a:xfrm>
            <a:custGeom>
              <a:avLst/>
              <a:gdLst>
                <a:gd name="connsiteX0" fmla="*/ 0 w 584617"/>
                <a:gd name="connsiteY0" fmla="*/ 97436 h 809469"/>
                <a:gd name="connsiteX1" fmla="*/ 224853 w 584617"/>
                <a:gd name="connsiteY1" fmla="*/ 809469 h 809469"/>
                <a:gd name="connsiteX2" fmla="*/ 584617 w 584617"/>
                <a:gd name="connsiteY2" fmla="*/ 652072 h 809469"/>
                <a:gd name="connsiteX3" fmla="*/ 344774 w 584617"/>
                <a:gd name="connsiteY3" fmla="*/ 0 h 809469"/>
                <a:gd name="connsiteX4" fmla="*/ 0 w 584617"/>
                <a:gd name="connsiteY4" fmla="*/ 97436 h 809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617" h="809469">
                  <a:moveTo>
                    <a:pt x="0" y="97436"/>
                  </a:moveTo>
                  <a:lnTo>
                    <a:pt x="224853" y="809469"/>
                  </a:lnTo>
                  <a:lnTo>
                    <a:pt x="584617" y="652072"/>
                  </a:lnTo>
                  <a:lnTo>
                    <a:pt x="344774" y="0"/>
                  </a:lnTo>
                  <a:lnTo>
                    <a:pt x="0" y="97436"/>
                  </a:lnTo>
                  <a:close/>
                </a:path>
              </a:pathLst>
            </a:cu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20" name="Picture 19"/>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08378" y="2165610"/>
              <a:ext cx="321492" cy="321492"/>
            </a:xfrm>
            <a:prstGeom prst="rect">
              <a:avLst/>
            </a:prstGeom>
          </p:spPr>
        </p:pic>
        <p:sp>
          <p:nvSpPr>
            <p:cNvPr id="21" name="Freeform 20"/>
            <p:cNvSpPr/>
            <p:nvPr/>
          </p:nvSpPr>
          <p:spPr>
            <a:xfrm>
              <a:off x="2206600" y="1807987"/>
              <a:ext cx="584617" cy="809469"/>
            </a:xfrm>
            <a:custGeom>
              <a:avLst/>
              <a:gdLst>
                <a:gd name="connsiteX0" fmla="*/ 0 w 584617"/>
                <a:gd name="connsiteY0" fmla="*/ 97436 h 809469"/>
                <a:gd name="connsiteX1" fmla="*/ 224853 w 584617"/>
                <a:gd name="connsiteY1" fmla="*/ 809469 h 809469"/>
                <a:gd name="connsiteX2" fmla="*/ 584617 w 584617"/>
                <a:gd name="connsiteY2" fmla="*/ 652072 h 809469"/>
                <a:gd name="connsiteX3" fmla="*/ 344774 w 584617"/>
                <a:gd name="connsiteY3" fmla="*/ 0 h 809469"/>
                <a:gd name="connsiteX4" fmla="*/ 0 w 584617"/>
                <a:gd name="connsiteY4" fmla="*/ 97436 h 809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4617" h="809469">
                  <a:moveTo>
                    <a:pt x="0" y="97436"/>
                  </a:moveTo>
                  <a:lnTo>
                    <a:pt x="224853" y="809469"/>
                  </a:lnTo>
                  <a:lnTo>
                    <a:pt x="584617" y="652072"/>
                  </a:lnTo>
                  <a:lnTo>
                    <a:pt x="344774" y="0"/>
                  </a:lnTo>
                  <a:lnTo>
                    <a:pt x="0" y="97436"/>
                  </a:lnTo>
                  <a:close/>
                </a:path>
              </a:pathLst>
            </a:cu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22" name="Picture 21"/>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355035" y="2039664"/>
              <a:ext cx="346113" cy="346113"/>
            </a:xfrm>
            <a:prstGeom prst="rect">
              <a:avLst/>
            </a:prstGeom>
          </p:spPr>
        </p:pic>
        <p:sp>
          <p:nvSpPr>
            <p:cNvPr id="23" name="Rectangle 22"/>
            <p:cNvSpPr/>
            <p:nvPr/>
          </p:nvSpPr>
          <p:spPr>
            <a:xfrm rot="20415450">
              <a:off x="2182559" y="3961828"/>
              <a:ext cx="506687" cy="225736"/>
            </a:xfrm>
            <a:prstGeom prst="rect">
              <a:avLst/>
            </a:prstGeom>
            <a:solidFill>
              <a:srgbClr val="FF0000">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sp>
          <p:nvSpPr>
            <p:cNvPr id="24" name="5-Point Star 23"/>
            <p:cNvSpPr/>
            <p:nvPr/>
          </p:nvSpPr>
          <p:spPr>
            <a:xfrm>
              <a:off x="2218289" y="3872155"/>
              <a:ext cx="362250" cy="327972"/>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sp>
          <p:nvSpPr>
            <p:cNvPr id="25" name="Freeform 24"/>
            <p:cNvSpPr/>
            <p:nvPr/>
          </p:nvSpPr>
          <p:spPr>
            <a:xfrm>
              <a:off x="2645764" y="1521502"/>
              <a:ext cx="1011836" cy="779488"/>
            </a:xfrm>
            <a:custGeom>
              <a:avLst/>
              <a:gdLst>
                <a:gd name="connsiteX0" fmla="*/ 0 w 1011836"/>
                <a:gd name="connsiteY0" fmla="*/ 164891 h 779488"/>
                <a:gd name="connsiteX1" fmla="*/ 209862 w 1011836"/>
                <a:gd name="connsiteY1" fmla="*/ 779488 h 779488"/>
                <a:gd name="connsiteX2" fmla="*/ 1011836 w 1011836"/>
                <a:gd name="connsiteY2" fmla="*/ 449705 h 779488"/>
                <a:gd name="connsiteX3" fmla="*/ 876925 w 1011836"/>
                <a:gd name="connsiteY3" fmla="*/ 22485 h 779488"/>
                <a:gd name="connsiteX4" fmla="*/ 389744 w 1011836"/>
                <a:gd name="connsiteY4" fmla="*/ 0 h 779488"/>
                <a:gd name="connsiteX5" fmla="*/ 0 w 1011836"/>
                <a:gd name="connsiteY5" fmla="*/ 164891 h 779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1836" h="779488">
                  <a:moveTo>
                    <a:pt x="0" y="164891"/>
                  </a:moveTo>
                  <a:lnTo>
                    <a:pt x="209862" y="779488"/>
                  </a:lnTo>
                  <a:lnTo>
                    <a:pt x="1011836" y="449705"/>
                  </a:lnTo>
                  <a:lnTo>
                    <a:pt x="876925" y="22485"/>
                  </a:lnTo>
                  <a:lnTo>
                    <a:pt x="389744" y="0"/>
                  </a:lnTo>
                  <a:lnTo>
                    <a:pt x="0" y="164891"/>
                  </a:lnTo>
                  <a:close/>
                </a:path>
              </a:pathLst>
            </a:cu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26" name="Picture 25"/>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28895" y="1704027"/>
              <a:ext cx="380651" cy="380651"/>
            </a:xfrm>
            <a:prstGeom prst="rect">
              <a:avLst/>
            </a:prstGeom>
          </p:spPr>
        </p:pic>
        <p:sp>
          <p:nvSpPr>
            <p:cNvPr id="27" name="Rectangle 26"/>
            <p:cNvSpPr/>
            <p:nvPr/>
          </p:nvSpPr>
          <p:spPr>
            <a:xfrm rot="20415450">
              <a:off x="2311253" y="3387891"/>
              <a:ext cx="506687" cy="225736"/>
            </a:xfrm>
            <a:prstGeom prst="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sp>
          <p:nvSpPr>
            <p:cNvPr id="28" name="Rectangle 27"/>
            <p:cNvSpPr/>
            <p:nvPr/>
          </p:nvSpPr>
          <p:spPr>
            <a:xfrm rot="20415450">
              <a:off x="2814452" y="3208307"/>
              <a:ext cx="506687" cy="225736"/>
            </a:xfrm>
            <a:prstGeom prst="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sp>
          <p:nvSpPr>
            <p:cNvPr id="29" name="Rectangle 28"/>
            <p:cNvSpPr/>
            <p:nvPr/>
          </p:nvSpPr>
          <p:spPr>
            <a:xfrm rot="20415450">
              <a:off x="3317652" y="3028722"/>
              <a:ext cx="506687" cy="225736"/>
            </a:xfrm>
            <a:prstGeom prst="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30" name="Picture 29"/>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2382817" y="3353876"/>
              <a:ext cx="363531" cy="363531"/>
            </a:xfrm>
            <a:prstGeom prst="rect">
              <a:avLst/>
            </a:prstGeom>
          </p:spPr>
        </p:pic>
        <p:pic>
          <p:nvPicPr>
            <p:cNvPr id="31" name="Picture 30"/>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847745" y="3129363"/>
              <a:ext cx="390145" cy="390145"/>
            </a:xfrm>
            <a:prstGeom prst="rect">
              <a:avLst/>
            </a:prstGeom>
          </p:spPr>
        </p:pic>
        <p:sp>
          <p:nvSpPr>
            <p:cNvPr id="32" name="Rectangle 31"/>
            <p:cNvSpPr/>
            <p:nvPr/>
          </p:nvSpPr>
          <p:spPr>
            <a:xfrm rot="20415450">
              <a:off x="2124866" y="2813150"/>
              <a:ext cx="506687" cy="225736"/>
            </a:xfrm>
            <a:prstGeom prst="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sp>
          <p:nvSpPr>
            <p:cNvPr id="33" name="Rectangle 32"/>
            <p:cNvSpPr/>
            <p:nvPr/>
          </p:nvSpPr>
          <p:spPr>
            <a:xfrm rot="20415450">
              <a:off x="3154599" y="2463895"/>
              <a:ext cx="506687" cy="225736"/>
            </a:xfrm>
            <a:prstGeom prst="rect">
              <a:avLst/>
            </a:prstGeom>
            <a:solidFill>
              <a:srgbClr val="FFFF00">
                <a:alpha val="1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159">
                <a:latin typeface="微软雅黑" panose="020B0503020204020204" pitchFamily="34" charset="-122"/>
                <a:ea typeface="微软雅黑" panose="020B0503020204020204" pitchFamily="34" charset="-122"/>
              </a:endParaRPr>
            </a:p>
          </p:txBody>
        </p:sp>
        <p:pic>
          <p:nvPicPr>
            <p:cNvPr id="34" name="Picture 33"/>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3255548" y="2396384"/>
              <a:ext cx="360757" cy="360757"/>
            </a:xfrm>
            <a:prstGeom prst="rect">
              <a:avLst/>
            </a:prstGeom>
          </p:spPr>
        </p:pic>
        <p:pic>
          <p:nvPicPr>
            <p:cNvPr id="35" name="Picture 34"/>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2235085" y="2790154"/>
              <a:ext cx="301075" cy="301075"/>
            </a:xfrm>
            <a:prstGeom prst="rect">
              <a:avLst/>
            </a:prstGeom>
          </p:spPr>
        </p:pic>
        <p:pic>
          <p:nvPicPr>
            <p:cNvPr id="36" name="Picture 35"/>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3435926" y="2960418"/>
              <a:ext cx="360757" cy="360757"/>
            </a:xfrm>
            <a:prstGeom prst="rect">
              <a:avLst/>
            </a:prstGeom>
          </p:spPr>
        </p:pic>
        <p:sp>
          <p:nvSpPr>
            <p:cNvPr id="37" name="Left-Right Arrow 36"/>
            <p:cNvSpPr/>
            <p:nvPr/>
          </p:nvSpPr>
          <p:spPr>
            <a:xfrm rot="20450684">
              <a:off x="2902328" y="3350587"/>
              <a:ext cx="1561598" cy="216024"/>
            </a:xfrm>
            <a:prstGeom prst="lef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79" dirty="0">
                  <a:solidFill>
                    <a:schemeClr val="tx1"/>
                  </a:solidFill>
                  <a:latin typeface="微软雅黑" panose="020B0503020204020204" pitchFamily="34" charset="-122"/>
                  <a:ea typeface="微软雅黑" panose="020B0503020204020204" pitchFamily="34" charset="-122"/>
                </a:rPr>
                <a:t>联川路</a:t>
              </a:r>
              <a:endParaRPr lang="en-GB" sz="1079" dirty="0">
                <a:solidFill>
                  <a:schemeClr val="tx1"/>
                </a:solidFill>
                <a:latin typeface="微软雅黑" panose="020B0503020204020204" pitchFamily="34" charset="-122"/>
                <a:ea typeface="微软雅黑" panose="020B0503020204020204" pitchFamily="34" charset="-122"/>
              </a:endParaRPr>
            </a:p>
          </p:txBody>
        </p:sp>
        <p:sp>
          <p:nvSpPr>
            <p:cNvPr id="38" name="Left-Right Arrow 37"/>
            <p:cNvSpPr/>
            <p:nvPr/>
          </p:nvSpPr>
          <p:spPr>
            <a:xfrm rot="4229523">
              <a:off x="723436" y="3350417"/>
              <a:ext cx="1561598" cy="216024"/>
            </a:xfrm>
            <a:prstGeom prst="lef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079" dirty="0">
                  <a:solidFill>
                    <a:schemeClr val="tx1"/>
                  </a:solidFill>
                  <a:latin typeface="微软雅黑" panose="020B0503020204020204" pitchFamily="34" charset="-122"/>
                  <a:ea typeface="微软雅黑" panose="020B0503020204020204" pitchFamily="34" charset="-122"/>
                </a:rPr>
                <a:t>三鲁公路</a:t>
              </a:r>
              <a:endParaRPr lang="en-GB" sz="1079" dirty="0">
                <a:solidFill>
                  <a:schemeClr val="tx1"/>
                </a:solidFill>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8777870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 name="标题 1"/>
          <p:cNvSpPr>
            <a:spLocks/>
          </p:cNvSpPr>
          <p:nvPr/>
        </p:nvSpPr>
        <p:spPr bwMode="auto">
          <a:xfrm>
            <a:off x="357681" y="246939"/>
            <a:ext cx="7664309" cy="720281"/>
          </a:xfrm>
          <a:prstGeom prst="rect">
            <a:avLst/>
          </a:prstGeom>
          <a:noFill/>
          <a:ln>
            <a:noFill/>
          </a:ln>
          <a:effectLst/>
          <a:extLs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0" tIns="0" rIns="20555" bIns="20555" numCol="1" anchor="ctr" anchorCtr="0" compatLnSpc="1">
            <a:prstTxWarp prst="textNoShape">
              <a:avLst/>
            </a:prstTxWarp>
          </a:bodyPr>
          <a:lstStyle/>
          <a:p>
            <a:pPr eaLnBrk="0" hangingPunct="0">
              <a:lnSpc>
                <a:spcPct val="70000"/>
              </a:lnSpc>
            </a:pPr>
            <a:endParaRPr lang="zh-CN" altLang="en-US" sz="3198" b="1" dirty="0">
              <a:solidFill>
                <a:schemeClr val="tx2">
                  <a:lumMod val="60000"/>
                  <a:lumOff val="40000"/>
                </a:schemeClr>
              </a:solidFill>
              <a:latin typeface="微软雅黑" panose="020B0503020204020204" pitchFamily="34" charset="-122"/>
              <a:ea typeface="微软雅黑" panose="020B0503020204020204" pitchFamily="34" charset="-122"/>
              <a:cs typeface="+mj-cs"/>
            </a:endParaRPr>
          </a:p>
        </p:txBody>
      </p:sp>
      <p:sp>
        <p:nvSpPr>
          <p:cNvPr id="3" name="Text Placeholder 2"/>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候选地块正面照片</a:t>
            </a:r>
          </a:p>
          <a:p>
            <a:endParaRPr lang="en-GB" dirty="0">
              <a:latin typeface="微软雅黑" panose="020B0503020204020204" pitchFamily="34" charset="-122"/>
              <a:ea typeface="微软雅黑" panose="020B0503020204020204" pitchFamily="34" charset="-122"/>
            </a:endParaRPr>
          </a:p>
        </p:txBody>
      </p:sp>
      <p:sp>
        <p:nvSpPr>
          <p:cNvPr id="2" name="Title 1"/>
          <p:cNvSpPr>
            <a:spLocks noGrp="1"/>
          </p:cNvSpPr>
          <p:nvPr>
            <p:ph type="title"/>
          </p:nvPr>
        </p:nvSpPr>
        <p:spPr/>
        <p:txBody>
          <a:bodyPr vert="horz" wrap="none" lIns="0" tIns="0" rIns="0" bIns="0" rtlCol="0" anchor="b">
            <a:noAutofit/>
          </a:bodyPr>
          <a:lstStyle/>
          <a:p>
            <a:r>
              <a:rPr kumimoji="1" lang="zh-CN" altLang="en-US" b="1" dirty="0">
                <a:solidFill>
                  <a:srgbClr val="000000"/>
                </a:solidFill>
                <a:latin typeface="微软雅黑" panose="020B0503020204020204" pitchFamily="34" charset="-122"/>
                <a:ea typeface="微软雅黑" panose="020B0503020204020204" pitchFamily="34" charset="-122"/>
              </a:rPr>
              <a:t>建议</a:t>
            </a:r>
            <a:r>
              <a:rPr kumimoji="1" lang="en-US" altLang="zh-CN" b="1" dirty="0">
                <a:solidFill>
                  <a:srgbClr val="000000"/>
                </a:solidFill>
                <a:latin typeface="微软雅黑" panose="020B0503020204020204" pitchFamily="34" charset="-122"/>
                <a:ea typeface="微软雅黑" panose="020B0503020204020204" pitchFamily="34" charset="-122"/>
              </a:rPr>
              <a:t>4S</a:t>
            </a:r>
            <a:r>
              <a:rPr kumimoji="1" lang="zh-CN" altLang="en-US" b="1" dirty="0">
                <a:solidFill>
                  <a:srgbClr val="000000"/>
                </a:solidFill>
                <a:latin typeface="微软雅黑" panose="020B0503020204020204" pitchFamily="34" charset="-122"/>
                <a:ea typeface="微软雅黑" panose="020B0503020204020204" pitchFamily="34" charset="-122"/>
              </a:rPr>
              <a:t>店场地</a:t>
            </a:r>
            <a:r>
              <a:rPr kumimoji="1" lang="en-US" altLang="zh-CN" b="1" dirty="0">
                <a:solidFill>
                  <a:srgbClr val="000000"/>
                </a:solidFill>
                <a:latin typeface="微软雅黑" panose="020B0503020204020204" pitchFamily="34" charset="-122"/>
                <a:ea typeface="微软雅黑" panose="020B0503020204020204" pitchFamily="34" charset="-122"/>
              </a:rPr>
              <a:t> – </a:t>
            </a:r>
            <a:r>
              <a:rPr kumimoji="1" lang="zh-CN" altLang="en-US" b="1" dirty="0">
                <a:solidFill>
                  <a:srgbClr val="000000"/>
                </a:solidFill>
                <a:latin typeface="微软雅黑" panose="020B0503020204020204" pitchFamily="34" charset="-122"/>
                <a:ea typeface="微软雅黑" panose="020B0503020204020204" pitchFamily="34" charset="-122"/>
              </a:rPr>
              <a:t>照片</a:t>
            </a:r>
            <a:r>
              <a:rPr kumimoji="1" lang="en-US" altLang="zh-CN" b="1" dirty="0">
                <a:solidFill>
                  <a:srgbClr val="000000"/>
                </a:solidFill>
                <a:latin typeface="微软雅黑" panose="020B0503020204020204" pitchFamily="34" charset="-122"/>
                <a:ea typeface="微软雅黑" panose="020B0503020204020204" pitchFamily="34" charset="-122"/>
              </a:rPr>
              <a:t>I</a:t>
            </a:r>
            <a:endParaRPr lang="en-GB" dirty="0">
              <a:latin typeface="微软雅黑" panose="020B0503020204020204" pitchFamily="34" charset="-122"/>
              <a:ea typeface="微软雅黑" panose="020B0503020204020204" pitchFamily="34" charset="-122"/>
            </a:endParaRPr>
          </a:p>
        </p:txBody>
      </p:sp>
      <p:sp>
        <p:nvSpPr>
          <p:cNvPr id="4" name="Slide Number Placeholder 3"/>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8</a:t>
            </a:fld>
            <a:endParaRPr lang="sv-SE">
              <a:latin typeface="微软雅黑" panose="020B0503020204020204" pitchFamily="34" charset="-122"/>
              <a:ea typeface="微软雅黑" panose="020B0503020204020204" pitchFamily="34" charset="-122"/>
            </a:endParaRPr>
          </a:p>
        </p:txBody>
      </p:sp>
      <p:sp>
        <p:nvSpPr>
          <p:cNvPr id="20" name="TextBox 19"/>
          <p:cNvSpPr txBox="1"/>
          <p:nvPr/>
        </p:nvSpPr>
        <p:spPr>
          <a:xfrm>
            <a:off x="7748864" y="490857"/>
            <a:ext cx="1226371" cy="399853"/>
          </a:xfrm>
          <a:prstGeom prst="rect">
            <a:avLst/>
          </a:prstGeom>
          <a:noFill/>
        </p:spPr>
        <p:txBody>
          <a:bodyPr wrap="square" rtlCol="0">
            <a:spAutoFit/>
          </a:bodyPr>
          <a:lstStyle/>
          <a:p>
            <a:r>
              <a:rPr lang="zh-CN" altLang="en-US" sz="999" dirty="0">
                <a:latin typeface="微软雅黑" panose="020B0503020204020204" pitchFamily="34" charset="-122"/>
                <a:ea typeface="微软雅黑" panose="020B0503020204020204" pitchFamily="34" charset="-122"/>
              </a:rPr>
              <a:t>照片需包含场地门前道路照片</a:t>
            </a:r>
            <a:endParaRPr lang="en-GB" sz="999" dirty="0">
              <a:latin typeface="微软雅黑" panose="020B0503020204020204" pitchFamily="34" charset="-122"/>
              <a:ea typeface="微软雅黑" panose="020B0503020204020204" pitchFamily="34" charset="-122"/>
            </a:endParaRPr>
          </a:p>
        </p:txBody>
      </p:sp>
      <p:grpSp>
        <p:nvGrpSpPr>
          <p:cNvPr id="97" name="Group 96"/>
          <p:cNvGrpSpPr/>
          <p:nvPr/>
        </p:nvGrpSpPr>
        <p:grpSpPr>
          <a:xfrm>
            <a:off x="6376047" y="96987"/>
            <a:ext cx="1327986" cy="1020182"/>
            <a:chOff x="5902110" y="68004"/>
            <a:chExt cx="1328806" cy="1020812"/>
          </a:xfrm>
        </p:grpSpPr>
        <p:grpSp>
          <p:nvGrpSpPr>
            <p:cNvPr id="63" name="Group 62"/>
            <p:cNvGrpSpPr/>
            <p:nvPr/>
          </p:nvGrpSpPr>
          <p:grpSpPr>
            <a:xfrm>
              <a:off x="5902110" y="203080"/>
              <a:ext cx="1328806" cy="692077"/>
              <a:chOff x="5902110" y="203080"/>
              <a:chExt cx="1328806" cy="692077"/>
            </a:xfrm>
          </p:grpSpPr>
          <p:sp>
            <p:nvSpPr>
              <p:cNvPr id="8" name="TextBox 7"/>
              <p:cNvSpPr txBox="1"/>
              <p:nvPr/>
            </p:nvSpPr>
            <p:spPr>
              <a:xfrm>
                <a:off x="5909591" y="537571"/>
                <a:ext cx="493170" cy="246245"/>
              </a:xfrm>
              <a:prstGeom prst="rect">
                <a:avLst/>
              </a:prstGeom>
              <a:noFill/>
            </p:spPr>
            <p:txBody>
              <a:bodyPr wrap="square" rtlCol="0" anchor="ctr">
                <a:spAutoFit/>
              </a:bodyPr>
              <a:lstStyle/>
              <a:p>
                <a:pPr algn="ctr"/>
                <a:r>
                  <a:rPr lang="zh-CN" altLang="en-US" sz="999" dirty="0">
                    <a:latin typeface="微软雅黑" panose="020B0503020204020204" pitchFamily="34" charset="-122"/>
                    <a:ea typeface="微软雅黑" panose="020B0503020204020204" pitchFamily="34" charset="-122"/>
                  </a:rPr>
                  <a:t>道路</a:t>
                </a:r>
                <a:endParaRPr lang="en-GB" sz="999" dirty="0">
                  <a:latin typeface="微软雅黑" panose="020B0503020204020204" pitchFamily="34" charset="-122"/>
                  <a:ea typeface="微软雅黑" panose="020B0503020204020204" pitchFamily="34" charset="-122"/>
                </a:endParaRPr>
              </a:p>
            </p:txBody>
          </p:sp>
          <p:cxnSp>
            <p:nvCxnSpPr>
              <p:cNvPr id="10" name="Straight Connector 9"/>
              <p:cNvCxnSpPr/>
              <p:nvPr/>
            </p:nvCxnSpPr>
            <p:spPr>
              <a:xfrm>
                <a:off x="5902110" y="525692"/>
                <a:ext cx="1328806"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5902110" y="783804"/>
                <a:ext cx="1328806" cy="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8" name="5-Point Star 7179"/>
              <p:cNvSpPr/>
              <p:nvPr/>
            </p:nvSpPr>
            <p:spPr bwMode="auto">
              <a:xfrm>
                <a:off x="6452006" y="203080"/>
                <a:ext cx="193892" cy="186972"/>
              </a:xfrm>
              <a:prstGeom prst="star5">
                <a:avLst/>
              </a:prstGeom>
              <a:solidFill>
                <a:srgbClr val="FF0000"/>
              </a:solidFill>
              <a:ln>
                <a:noFill/>
              </a:ln>
              <a:effectLst/>
            </p:spPr>
            <p:txBody>
              <a:bodyPr lIns="81597" tIns="40799" rIns="81597" bIns="40799"/>
              <a:lstStyle/>
              <a:p>
                <a:pPr defTabSz="815596">
                  <a:defRPr/>
                </a:pPr>
                <a:endParaRPr lang="en-US" sz="1595" dirty="0">
                  <a:latin typeface="微软雅黑" panose="020B0503020204020204" pitchFamily="34" charset="-122"/>
                  <a:ea typeface="微软雅黑" panose="020B0503020204020204" pitchFamily="34" charset="-122"/>
                </a:endParaRPr>
              </a:p>
            </p:txBody>
          </p:sp>
          <p:cxnSp>
            <p:nvCxnSpPr>
              <p:cNvPr id="12" name="Straight Arrow Connector 11"/>
              <p:cNvCxnSpPr>
                <a:stCxn id="18" idx="1"/>
              </p:cNvCxnSpPr>
              <p:nvPr/>
            </p:nvCxnSpPr>
            <p:spPr>
              <a:xfrm flipH="1" flipV="1">
                <a:off x="6156177" y="433651"/>
                <a:ext cx="295829" cy="224931"/>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8" idx="3"/>
              </p:cNvCxnSpPr>
              <p:nvPr/>
            </p:nvCxnSpPr>
            <p:spPr>
              <a:xfrm flipV="1">
                <a:off x="6630145" y="440668"/>
                <a:ext cx="352045" cy="217914"/>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52006" y="569512"/>
                <a:ext cx="178139" cy="178139"/>
              </a:xfrm>
              <a:prstGeom prst="rect">
                <a:avLst/>
              </a:prstGeom>
            </p:spPr>
          </p:pic>
          <p:cxnSp>
            <p:nvCxnSpPr>
              <p:cNvPr id="40" name="Straight Arrow Connector 39"/>
              <p:cNvCxnSpPr>
                <a:stCxn id="18" idx="0"/>
              </p:cNvCxnSpPr>
              <p:nvPr/>
            </p:nvCxnSpPr>
            <p:spPr>
              <a:xfrm flipH="1" flipV="1">
                <a:off x="6541075" y="384075"/>
                <a:ext cx="1" cy="185437"/>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stCxn id="18" idx="3"/>
              </p:cNvCxnSpPr>
              <p:nvPr/>
            </p:nvCxnSpPr>
            <p:spPr>
              <a:xfrm>
                <a:off x="6630145" y="658582"/>
                <a:ext cx="334213" cy="236575"/>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stCxn id="18" idx="2"/>
              </p:cNvCxnSpPr>
              <p:nvPr/>
            </p:nvCxnSpPr>
            <p:spPr>
              <a:xfrm>
                <a:off x="6541076" y="747651"/>
                <a:ext cx="0" cy="147506"/>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a:stCxn id="18" idx="1"/>
              </p:cNvCxnSpPr>
              <p:nvPr/>
            </p:nvCxnSpPr>
            <p:spPr>
              <a:xfrm flipH="1">
                <a:off x="6156176" y="658582"/>
                <a:ext cx="295830" cy="225953"/>
              </a:xfrm>
              <a:prstGeom prst="straightConnector1">
                <a:avLst/>
              </a:prstGeom>
              <a:ln w="9525">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sp>
          <p:nvSpPr>
            <p:cNvPr id="96" name="TextBox 95"/>
            <p:cNvSpPr txBox="1"/>
            <p:nvPr/>
          </p:nvSpPr>
          <p:spPr>
            <a:xfrm>
              <a:off x="5902827" y="205875"/>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1</a:t>
              </a:r>
              <a:endParaRPr lang="en-GB" sz="799" dirty="0">
                <a:latin typeface="微软雅黑" panose="020B0503020204020204" pitchFamily="34" charset="-122"/>
                <a:ea typeface="微软雅黑" panose="020B0503020204020204" pitchFamily="34" charset="-122"/>
              </a:endParaRPr>
            </a:p>
          </p:txBody>
        </p:sp>
        <p:sp>
          <p:nvSpPr>
            <p:cNvPr id="66" name="TextBox 65"/>
            <p:cNvSpPr txBox="1"/>
            <p:nvPr/>
          </p:nvSpPr>
          <p:spPr>
            <a:xfrm>
              <a:off x="6380429" y="68004"/>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2</a:t>
              </a:r>
              <a:endParaRPr lang="en-GB" sz="799" dirty="0">
                <a:latin typeface="微软雅黑" panose="020B0503020204020204" pitchFamily="34" charset="-122"/>
                <a:ea typeface="微软雅黑" panose="020B0503020204020204" pitchFamily="34" charset="-122"/>
              </a:endParaRPr>
            </a:p>
          </p:txBody>
        </p:sp>
        <p:sp>
          <p:nvSpPr>
            <p:cNvPr id="67" name="TextBox 66"/>
            <p:cNvSpPr txBox="1"/>
            <p:nvPr/>
          </p:nvSpPr>
          <p:spPr>
            <a:xfrm>
              <a:off x="6799950" y="194214"/>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3</a:t>
              </a:r>
              <a:endParaRPr lang="en-GB" sz="799" dirty="0">
                <a:latin typeface="微软雅黑" panose="020B0503020204020204" pitchFamily="34" charset="-122"/>
                <a:ea typeface="微软雅黑" panose="020B0503020204020204" pitchFamily="34" charset="-122"/>
              </a:endParaRPr>
            </a:p>
          </p:txBody>
        </p:sp>
        <p:sp>
          <p:nvSpPr>
            <p:cNvPr id="68" name="TextBox 67"/>
            <p:cNvSpPr txBox="1"/>
            <p:nvPr/>
          </p:nvSpPr>
          <p:spPr>
            <a:xfrm>
              <a:off x="5914719" y="871638"/>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4</a:t>
              </a:r>
              <a:endParaRPr lang="en-GB" sz="799" dirty="0">
                <a:latin typeface="微软雅黑" panose="020B0503020204020204" pitchFamily="34" charset="-122"/>
                <a:ea typeface="微软雅黑" panose="020B0503020204020204" pitchFamily="34" charset="-122"/>
              </a:endParaRPr>
            </a:p>
          </p:txBody>
        </p:sp>
        <p:sp>
          <p:nvSpPr>
            <p:cNvPr id="69" name="TextBox 68"/>
            <p:cNvSpPr txBox="1"/>
            <p:nvPr/>
          </p:nvSpPr>
          <p:spPr>
            <a:xfrm>
              <a:off x="6394496" y="873368"/>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5</a:t>
              </a:r>
              <a:endParaRPr lang="en-GB" sz="799" dirty="0">
                <a:latin typeface="微软雅黑" panose="020B0503020204020204" pitchFamily="34" charset="-122"/>
                <a:ea typeface="微软雅黑" panose="020B0503020204020204" pitchFamily="34" charset="-122"/>
              </a:endParaRPr>
            </a:p>
          </p:txBody>
        </p:sp>
        <p:sp>
          <p:nvSpPr>
            <p:cNvPr id="70" name="TextBox 69"/>
            <p:cNvSpPr txBox="1"/>
            <p:nvPr/>
          </p:nvSpPr>
          <p:spPr>
            <a:xfrm>
              <a:off x="6806167" y="873368"/>
              <a:ext cx="394500" cy="215448"/>
            </a:xfrm>
            <a:prstGeom prst="rect">
              <a:avLst/>
            </a:prstGeom>
            <a:noFill/>
          </p:spPr>
          <p:txBody>
            <a:bodyPr wrap="square" rtlCol="0" anchor="ctr">
              <a:spAutoFit/>
            </a:bodyPr>
            <a:lstStyle/>
            <a:p>
              <a:r>
                <a:rPr lang="zh-CN" altLang="en-US" sz="799" dirty="0">
                  <a:latin typeface="微软雅黑" panose="020B0503020204020204" pitchFamily="34" charset="-122"/>
                  <a:ea typeface="微软雅黑" panose="020B0503020204020204" pitchFamily="34" charset="-122"/>
                </a:rPr>
                <a:t>图</a:t>
              </a:r>
              <a:r>
                <a:rPr lang="en-US" altLang="zh-CN" sz="799" dirty="0">
                  <a:latin typeface="微软雅黑" panose="020B0503020204020204" pitchFamily="34" charset="-122"/>
                  <a:ea typeface="微软雅黑" panose="020B0503020204020204" pitchFamily="34" charset="-122"/>
                </a:rPr>
                <a:t>6</a:t>
              </a:r>
              <a:endParaRPr lang="en-GB" sz="799" dirty="0">
                <a:latin typeface="微软雅黑" panose="020B0503020204020204" pitchFamily="34" charset="-122"/>
                <a:ea typeface="微软雅黑" panose="020B0503020204020204" pitchFamily="34" charset="-122"/>
              </a:endParaRPr>
            </a:p>
          </p:txBody>
        </p:sp>
      </p:grpSp>
      <p:grpSp>
        <p:nvGrpSpPr>
          <p:cNvPr id="98" name="Group 97"/>
          <p:cNvGrpSpPr/>
          <p:nvPr/>
        </p:nvGrpSpPr>
        <p:grpSpPr>
          <a:xfrm>
            <a:off x="327733" y="1644233"/>
            <a:ext cx="8269672" cy="2984868"/>
            <a:chOff x="323526" y="1645246"/>
            <a:chExt cx="8274775" cy="2986709"/>
          </a:xfrm>
        </p:grpSpPr>
        <p:sp>
          <p:nvSpPr>
            <p:cNvPr id="5" name="TextBox 4"/>
            <p:cNvSpPr txBox="1"/>
            <p:nvPr/>
          </p:nvSpPr>
          <p:spPr>
            <a:xfrm>
              <a:off x="3626134" y="1650875"/>
              <a:ext cx="2275977"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正面照片</a:t>
              </a:r>
              <a:endParaRPr lang="en-GB" sz="1260" dirty="0">
                <a:latin typeface="微软雅黑" panose="020B0503020204020204" pitchFamily="34" charset="-122"/>
                <a:ea typeface="微软雅黑" panose="020B0503020204020204" pitchFamily="34" charset="-122"/>
              </a:endParaRPr>
            </a:p>
          </p:txBody>
        </p:sp>
        <p:sp>
          <p:nvSpPr>
            <p:cNvPr id="41" name="5-Point Star 7179"/>
            <p:cNvSpPr/>
            <p:nvPr/>
          </p:nvSpPr>
          <p:spPr bwMode="auto">
            <a:xfrm>
              <a:off x="4592388" y="1768369"/>
              <a:ext cx="360039" cy="300169"/>
            </a:xfrm>
            <a:prstGeom prst="star5">
              <a:avLst/>
            </a:prstGeom>
            <a:solidFill>
              <a:srgbClr val="FF0000"/>
            </a:solidFill>
            <a:ln>
              <a:noFill/>
            </a:ln>
            <a:effectLst/>
          </p:spPr>
          <p:txBody>
            <a:bodyPr lIns="81597" tIns="40799" rIns="81597" bIns="40799"/>
            <a:lstStyle/>
            <a:p>
              <a:pPr defTabSz="815596">
                <a:defRPr/>
              </a:pPr>
              <a:endParaRPr lang="en-US" sz="1595" dirty="0">
                <a:latin typeface="微软雅黑" panose="020B0503020204020204" pitchFamily="34" charset="-122"/>
                <a:ea typeface="微软雅黑" panose="020B0503020204020204" pitchFamily="34" charset="-122"/>
              </a:endParaRPr>
            </a:p>
          </p:txBody>
        </p:sp>
        <p:sp>
          <p:nvSpPr>
            <p:cNvPr id="25" name="TextBox 24"/>
            <p:cNvSpPr txBox="1"/>
            <p:nvPr/>
          </p:nvSpPr>
          <p:spPr>
            <a:xfrm>
              <a:off x="323526" y="3137072"/>
              <a:ext cx="3159537" cy="286409"/>
            </a:xfrm>
            <a:prstGeom prst="rect">
              <a:avLst/>
            </a:prstGeom>
            <a:noFill/>
          </p:spPr>
          <p:txBody>
            <a:bodyPr wrap="square" rtlCol="0">
              <a:spAutoFit/>
            </a:bodyPr>
            <a:lstStyle/>
            <a:p>
              <a:r>
                <a:rPr lang="zh-CN" altLang="en-US" sz="1260" dirty="0">
                  <a:latin typeface="微软雅黑" panose="020B0503020204020204" pitchFamily="34" charset="-122"/>
                  <a:ea typeface="微软雅黑" panose="020B0503020204020204" pitchFamily="34" charset="-122"/>
                </a:rPr>
                <a:t>候选地块对面照片</a:t>
              </a:r>
              <a:endParaRPr lang="en-GB" sz="1260" dirty="0">
                <a:latin typeface="微软雅黑" panose="020B0503020204020204" pitchFamily="34" charset="-122"/>
                <a:ea typeface="微软雅黑" panose="020B0503020204020204" pitchFamily="34" charset="-122"/>
              </a:endParaRPr>
            </a:p>
          </p:txBody>
        </p:sp>
        <p:sp>
          <p:nvSpPr>
            <p:cNvPr id="30" name="TextBox 29"/>
            <p:cNvSpPr txBox="1"/>
            <p:nvPr/>
          </p:nvSpPr>
          <p:spPr>
            <a:xfrm>
              <a:off x="827584" y="1650875"/>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左</a:t>
              </a:r>
              <a:r>
                <a:rPr lang="en-US" altLang="zh-CN" sz="1260" dirty="0">
                  <a:latin typeface="微软雅黑" panose="020B0503020204020204" pitchFamily="34" charset="-122"/>
                  <a:ea typeface="微软雅黑" panose="020B0503020204020204" pitchFamily="34" charset="-122"/>
                </a:rPr>
                <a:t>45°</a:t>
              </a:r>
              <a:r>
                <a:rPr lang="zh-CN" altLang="en-US" sz="1260" dirty="0">
                  <a:latin typeface="微软雅黑" panose="020B0503020204020204" pitchFamily="34" charset="-122"/>
                  <a:ea typeface="微软雅黑" panose="020B0503020204020204" pitchFamily="34" charset="-122"/>
                </a:rPr>
                <a:t>正面照片</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右侧与正面有</a:t>
              </a:r>
              <a:r>
                <a:rPr lang="en-US" altLang="zh-CN" sz="1260" dirty="0">
                  <a:latin typeface="微软雅黑" panose="020B0503020204020204" pitchFamily="34" charset="-122"/>
                  <a:ea typeface="微软雅黑" panose="020B0503020204020204" pitchFamily="34" charset="-122"/>
                </a:rPr>
                <a:t>1/5</a:t>
              </a:r>
              <a:r>
                <a:rPr lang="zh-CN" altLang="en-US" sz="1260" dirty="0">
                  <a:latin typeface="微软雅黑" panose="020B0503020204020204" pitchFamily="34" charset="-122"/>
                  <a:ea typeface="微软雅黑" panose="020B0503020204020204" pitchFamily="34" charset="-122"/>
                </a:rPr>
                <a:t>部分重叠）</a:t>
              </a:r>
              <a:endParaRPr lang="en-GB" sz="1260" dirty="0">
                <a:latin typeface="微软雅黑" panose="020B0503020204020204" pitchFamily="34" charset="-122"/>
                <a:ea typeface="微软雅黑" panose="020B0503020204020204" pitchFamily="34" charset="-122"/>
              </a:endParaRPr>
            </a:p>
          </p:txBody>
        </p:sp>
        <p:sp>
          <p:nvSpPr>
            <p:cNvPr id="31" name="TextBox 30"/>
            <p:cNvSpPr txBox="1"/>
            <p:nvPr/>
          </p:nvSpPr>
          <p:spPr>
            <a:xfrm>
              <a:off x="6323781" y="1650876"/>
              <a:ext cx="2208659" cy="1187576"/>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右</a:t>
              </a:r>
              <a:r>
                <a:rPr lang="en-US" altLang="zh-CN" sz="1260" dirty="0">
                  <a:latin typeface="微软雅黑" panose="020B0503020204020204" pitchFamily="34" charset="-122"/>
                  <a:ea typeface="微软雅黑" panose="020B0503020204020204" pitchFamily="34" charset="-122"/>
                </a:rPr>
                <a:t>45°</a:t>
              </a:r>
              <a:r>
                <a:rPr lang="zh-CN" altLang="en-US" sz="1260" dirty="0">
                  <a:latin typeface="微软雅黑" panose="020B0503020204020204" pitchFamily="34" charset="-122"/>
                  <a:ea typeface="微软雅黑" panose="020B0503020204020204" pitchFamily="34" charset="-122"/>
                </a:rPr>
                <a:t>正面照片</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左侧与正面有</a:t>
              </a:r>
              <a:r>
                <a:rPr lang="en-US" altLang="zh-CN" sz="1260" dirty="0">
                  <a:latin typeface="微软雅黑" panose="020B0503020204020204" pitchFamily="34" charset="-122"/>
                  <a:ea typeface="微软雅黑" panose="020B0503020204020204" pitchFamily="34" charset="-122"/>
                </a:rPr>
                <a:t>1/5</a:t>
              </a:r>
              <a:r>
                <a:rPr lang="zh-CN" altLang="en-US" sz="1260" dirty="0">
                  <a:latin typeface="微软雅黑" panose="020B0503020204020204" pitchFamily="34" charset="-122"/>
                  <a:ea typeface="微软雅黑" panose="020B0503020204020204" pitchFamily="34" charset="-122"/>
                </a:rPr>
                <a:t>部分重叠）</a:t>
              </a:r>
              <a:endParaRPr lang="en-GB" sz="1260" dirty="0">
                <a:latin typeface="微软雅黑" panose="020B0503020204020204" pitchFamily="34" charset="-122"/>
                <a:ea typeface="微软雅黑" panose="020B0503020204020204" pitchFamily="34" charset="-122"/>
              </a:endParaRPr>
            </a:p>
          </p:txBody>
        </p:sp>
        <p:sp>
          <p:nvSpPr>
            <p:cNvPr id="33" name="TextBox 32"/>
            <p:cNvSpPr txBox="1"/>
            <p:nvPr/>
          </p:nvSpPr>
          <p:spPr>
            <a:xfrm>
              <a:off x="784599" y="3426038"/>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对面</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右侧</a:t>
              </a:r>
              <a:r>
                <a:rPr lang="en-US" altLang="zh-CN" sz="1260" dirty="0">
                  <a:latin typeface="微软雅黑" panose="020B0503020204020204" pitchFamily="34" charset="-122"/>
                  <a:ea typeface="微软雅黑" panose="020B0503020204020204" pitchFamily="34" charset="-122"/>
                </a:rPr>
                <a:t>45°</a:t>
              </a:r>
              <a:r>
                <a:rPr lang="zh-CN" altLang="en-US" sz="1260" dirty="0">
                  <a:latin typeface="微软雅黑" panose="020B0503020204020204" pitchFamily="34" charset="-122"/>
                  <a:ea typeface="微软雅黑" panose="020B0503020204020204" pitchFamily="34" charset="-122"/>
                </a:rPr>
                <a:t>照片</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左侧与正面有</a:t>
              </a:r>
              <a:r>
                <a:rPr lang="en-US" altLang="zh-CN" sz="1260" dirty="0">
                  <a:latin typeface="微软雅黑" panose="020B0503020204020204" pitchFamily="34" charset="-122"/>
                  <a:ea typeface="微软雅黑" panose="020B0503020204020204" pitchFamily="34" charset="-122"/>
                </a:rPr>
                <a:t>1/5</a:t>
              </a:r>
              <a:r>
                <a:rPr lang="zh-CN" altLang="en-US" sz="1260" dirty="0">
                  <a:latin typeface="微软雅黑" panose="020B0503020204020204" pitchFamily="34" charset="-122"/>
                  <a:ea typeface="微软雅黑" panose="020B0503020204020204" pitchFamily="34" charset="-122"/>
                </a:rPr>
                <a:t>部分重叠）</a:t>
              </a:r>
              <a:endParaRPr lang="en-GB" sz="1260" dirty="0">
                <a:latin typeface="微软雅黑" panose="020B0503020204020204" pitchFamily="34" charset="-122"/>
                <a:ea typeface="微软雅黑" panose="020B0503020204020204" pitchFamily="34" charset="-122"/>
              </a:endParaRPr>
            </a:p>
          </p:txBody>
        </p:sp>
        <p:sp>
          <p:nvSpPr>
            <p:cNvPr id="34" name="TextBox 33"/>
            <p:cNvSpPr txBox="1"/>
            <p:nvPr/>
          </p:nvSpPr>
          <p:spPr>
            <a:xfrm>
              <a:off x="3626133" y="3424344"/>
              <a:ext cx="2275977"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对面</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照片</a:t>
              </a:r>
              <a:endParaRPr lang="en-US" altLang="zh-CN" sz="1260" dirty="0">
                <a:latin typeface="微软雅黑" panose="020B0503020204020204" pitchFamily="34" charset="-122"/>
                <a:ea typeface="微软雅黑" panose="020B0503020204020204" pitchFamily="34" charset="-122"/>
              </a:endParaRPr>
            </a:p>
          </p:txBody>
        </p:sp>
        <p:sp>
          <p:nvSpPr>
            <p:cNvPr id="35" name="TextBox 34"/>
            <p:cNvSpPr txBox="1"/>
            <p:nvPr/>
          </p:nvSpPr>
          <p:spPr>
            <a:xfrm>
              <a:off x="6322324" y="3444378"/>
              <a:ext cx="2275977"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场地对面</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左侧</a:t>
              </a:r>
              <a:r>
                <a:rPr lang="en-US" altLang="zh-CN" sz="1260" dirty="0">
                  <a:latin typeface="微软雅黑" panose="020B0503020204020204" pitchFamily="34" charset="-122"/>
                  <a:ea typeface="微软雅黑" panose="020B0503020204020204" pitchFamily="34" charset="-122"/>
                </a:rPr>
                <a:t>45°</a:t>
              </a:r>
              <a:r>
                <a:rPr lang="zh-CN" altLang="en-US" sz="1260" dirty="0">
                  <a:latin typeface="微软雅黑" panose="020B0503020204020204" pitchFamily="34" charset="-122"/>
                  <a:ea typeface="微软雅黑" panose="020B0503020204020204" pitchFamily="34" charset="-122"/>
                </a:rPr>
                <a:t>照片</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右侧与正面有</a:t>
              </a:r>
              <a:r>
                <a:rPr lang="en-US" altLang="zh-CN" sz="1260" dirty="0">
                  <a:latin typeface="微软雅黑" panose="020B0503020204020204" pitchFamily="34" charset="-122"/>
                  <a:ea typeface="微软雅黑" panose="020B0503020204020204" pitchFamily="34" charset="-122"/>
                </a:rPr>
                <a:t>1/5</a:t>
              </a:r>
              <a:r>
                <a:rPr lang="zh-CN" altLang="en-US" sz="1260" dirty="0">
                  <a:latin typeface="微软雅黑" panose="020B0503020204020204" pitchFamily="34" charset="-122"/>
                  <a:ea typeface="微软雅黑" panose="020B0503020204020204" pitchFamily="34" charset="-122"/>
                </a:rPr>
                <a:t>部分重叠）</a:t>
              </a:r>
              <a:endParaRPr lang="en-GB" sz="1260" dirty="0">
                <a:latin typeface="微软雅黑" panose="020B0503020204020204" pitchFamily="34" charset="-122"/>
                <a:ea typeface="微软雅黑" panose="020B0503020204020204" pitchFamily="34" charset="-122"/>
              </a:endParaRPr>
            </a:p>
          </p:txBody>
        </p:sp>
        <p:sp>
          <p:nvSpPr>
            <p:cNvPr id="72" name="TextBox 71"/>
            <p:cNvSpPr txBox="1"/>
            <p:nvPr/>
          </p:nvSpPr>
          <p:spPr>
            <a:xfrm>
              <a:off x="793415" y="1650569"/>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1</a:t>
              </a:r>
              <a:endParaRPr lang="en-GB" sz="999" dirty="0">
                <a:latin typeface="微软雅黑" panose="020B0503020204020204" pitchFamily="34" charset="-122"/>
                <a:ea typeface="微软雅黑" panose="020B0503020204020204" pitchFamily="34" charset="-122"/>
              </a:endParaRPr>
            </a:p>
          </p:txBody>
        </p:sp>
        <p:sp>
          <p:nvSpPr>
            <p:cNvPr id="73" name="TextBox 72"/>
            <p:cNvSpPr txBox="1"/>
            <p:nvPr/>
          </p:nvSpPr>
          <p:spPr>
            <a:xfrm>
              <a:off x="3594526" y="1648535"/>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2</a:t>
              </a:r>
              <a:endParaRPr lang="en-GB" sz="999" dirty="0">
                <a:latin typeface="微软雅黑" panose="020B0503020204020204" pitchFamily="34" charset="-122"/>
                <a:ea typeface="微软雅黑" panose="020B0503020204020204" pitchFamily="34" charset="-122"/>
              </a:endParaRPr>
            </a:p>
          </p:txBody>
        </p:sp>
        <p:sp>
          <p:nvSpPr>
            <p:cNvPr id="74" name="TextBox 73"/>
            <p:cNvSpPr txBox="1"/>
            <p:nvPr/>
          </p:nvSpPr>
          <p:spPr>
            <a:xfrm>
              <a:off x="6329492" y="1645246"/>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3</a:t>
              </a:r>
              <a:endParaRPr lang="en-GB" sz="999" dirty="0">
                <a:latin typeface="微软雅黑" panose="020B0503020204020204" pitchFamily="34" charset="-122"/>
                <a:ea typeface="微软雅黑" panose="020B0503020204020204" pitchFamily="34" charset="-122"/>
              </a:endParaRPr>
            </a:p>
          </p:txBody>
        </p:sp>
        <p:sp>
          <p:nvSpPr>
            <p:cNvPr id="75" name="TextBox 74"/>
            <p:cNvSpPr txBox="1"/>
            <p:nvPr/>
          </p:nvSpPr>
          <p:spPr>
            <a:xfrm>
              <a:off x="784599" y="3424333"/>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4</a:t>
              </a:r>
              <a:endParaRPr lang="en-GB" sz="999" dirty="0">
                <a:latin typeface="微软雅黑" panose="020B0503020204020204" pitchFamily="34" charset="-122"/>
                <a:ea typeface="微软雅黑" panose="020B0503020204020204" pitchFamily="34" charset="-122"/>
              </a:endParaRPr>
            </a:p>
          </p:txBody>
        </p:sp>
        <p:sp>
          <p:nvSpPr>
            <p:cNvPr id="76" name="TextBox 75"/>
            <p:cNvSpPr txBox="1"/>
            <p:nvPr/>
          </p:nvSpPr>
          <p:spPr>
            <a:xfrm>
              <a:off x="3626133" y="3424333"/>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5</a:t>
              </a:r>
              <a:endParaRPr lang="en-GB" sz="999" dirty="0">
                <a:latin typeface="微软雅黑" panose="020B0503020204020204" pitchFamily="34" charset="-122"/>
                <a:ea typeface="微软雅黑" panose="020B0503020204020204" pitchFamily="34" charset="-122"/>
              </a:endParaRPr>
            </a:p>
          </p:txBody>
        </p:sp>
        <p:sp>
          <p:nvSpPr>
            <p:cNvPr id="77" name="TextBox 76"/>
            <p:cNvSpPr txBox="1"/>
            <p:nvPr/>
          </p:nvSpPr>
          <p:spPr>
            <a:xfrm>
              <a:off x="6322324" y="3440420"/>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6</a:t>
              </a:r>
              <a:endParaRPr lang="en-GB" sz="999"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59923063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如是改建设施，需要室内照片</a:t>
            </a:r>
          </a:p>
          <a:p>
            <a:endParaRPr lang="en-GB" dirty="0">
              <a:latin typeface="微软雅黑" panose="020B0503020204020204" pitchFamily="34" charset="-122"/>
              <a:ea typeface="微软雅黑" panose="020B0503020204020204" pitchFamily="34" charset="-122"/>
            </a:endParaRPr>
          </a:p>
        </p:txBody>
      </p:sp>
      <p:sp>
        <p:nvSpPr>
          <p:cNvPr id="3" name="Title 2"/>
          <p:cNvSpPr>
            <a:spLocks noGrp="1"/>
          </p:cNvSpPr>
          <p:nvPr>
            <p:ph type="title"/>
          </p:nvPr>
        </p:nvSpPr>
        <p:spPr/>
        <p:txBody>
          <a:bodyPr vert="horz" wrap="none" lIns="0" tIns="0" rIns="0" bIns="0" rtlCol="0" anchor="b">
            <a:noAutofit/>
          </a:bodyPr>
          <a:lstStyle/>
          <a:p>
            <a:r>
              <a:rPr kumimoji="1" lang="zh-CN" altLang="en-US" b="1" dirty="0">
                <a:solidFill>
                  <a:srgbClr val="000000"/>
                </a:solidFill>
                <a:latin typeface="微软雅黑" panose="020B0503020204020204" pitchFamily="34" charset="-122"/>
                <a:ea typeface="微软雅黑" panose="020B0503020204020204" pitchFamily="34" charset="-122"/>
              </a:rPr>
              <a:t>建议</a:t>
            </a:r>
            <a:r>
              <a:rPr kumimoji="1" lang="en-US" altLang="zh-CN" b="1" dirty="0">
                <a:solidFill>
                  <a:srgbClr val="000000"/>
                </a:solidFill>
                <a:latin typeface="微软雅黑" panose="020B0503020204020204" pitchFamily="34" charset="-122"/>
                <a:ea typeface="微软雅黑" panose="020B0503020204020204" pitchFamily="34" charset="-122"/>
              </a:rPr>
              <a:t>4S</a:t>
            </a:r>
            <a:r>
              <a:rPr kumimoji="1" lang="zh-CN" altLang="en-US" b="1" dirty="0">
                <a:solidFill>
                  <a:srgbClr val="000000"/>
                </a:solidFill>
                <a:latin typeface="微软雅黑" panose="020B0503020204020204" pitchFamily="34" charset="-122"/>
                <a:ea typeface="微软雅黑" panose="020B0503020204020204" pitchFamily="34" charset="-122"/>
              </a:rPr>
              <a:t>店场地</a:t>
            </a:r>
            <a:r>
              <a:rPr kumimoji="1" lang="en-US" altLang="zh-CN" b="1" dirty="0">
                <a:solidFill>
                  <a:srgbClr val="000000"/>
                </a:solidFill>
                <a:latin typeface="微软雅黑" panose="020B0503020204020204" pitchFamily="34" charset="-122"/>
                <a:ea typeface="微软雅黑" panose="020B0503020204020204" pitchFamily="34" charset="-122"/>
              </a:rPr>
              <a:t> – </a:t>
            </a:r>
            <a:r>
              <a:rPr kumimoji="1" lang="zh-CN" altLang="en-US" b="1" dirty="0">
                <a:solidFill>
                  <a:srgbClr val="000000"/>
                </a:solidFill>
                <a:latin typeface="微软雅黑" panose="020B0503020204020204" pitchFamily="34" charset="-122"/>
                <a:ea typeface="微软雅黑" panose="020B0503020204020204" pitchFamily="34" charset="-122"/>
              </a:rPr>
              <a:t>室内照片</a:t>
            </a:r>
            <a:r>
              <a:rPr kumimoji="1" lang="en-US" altLang="zh-CN" b="1" dirty="0">
                <a:solidFill>
                  <a:srgbClr val="000000"/>
                </a:solidFill>
                <a:latin typeface="微软雅黑" panose="020B0503020204020204" pitchFamily="34" charset="-122"/>
                <a:ea typeface="微软雅黑" panose="020B0503020204020204" pitchFamily="34" charset="-122"/>
              </a:rPr>
              <a:t>I</a:t>
            </a:r>
            <a:endParaRPr lang="en-GB" dirty="0">
              <a:latin typeface="微软雅黑" panose="020B0503020204020204" pitchFamily="34" charset="-122"/>
              <a:ea typeface="微软雅黑" panose="020B0503020204020204" pitchFamily="34" charset="-122"/>
            </a:endParaRPr>
          </a:p>
        </p:txBody>
      </p:sp>
      <p:sp>
        <p:nvSpPr>
          <p:cNvPr id="5" name="Slide Number Placeholder 4"/>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39</a:t>
            </a:fld>
            <a:endParaRPr lang="sv-SE">
              <a:latin typeface="微软雅黑" panose="020B0503020204020204" pitchFamily="34" charset="-122"/>
              <a:ea typeface="微软雅黑" panose="020B0503020204020204" pitchFamily="34" charset="-122"/>
            </a:endParaRPr>
          </a:p>
        </p:txBody>
      </p:sp>
      <p:grpSp>
        <p:nvGrpSpPr>
          <p:cNvPr id="4" name="Group 3"/>
          <p:cNvGrpSpPr/>
          <p:nvPr/>
        </p:nvGrpSpPr>
        <p:grpSpPr>
          <a:xfrm>
            <a:off x="664361" y="1750576"/>
            <a:ext cx="7728361" cy="2802252"/>
            <a:chOff x="671803" y="1677807"/>
            <a:chExt cx="7733130" cy="2803981"/>
          </a:xfrm>
        </p:grpSpPr>
        <p:sp>
          <p:nvSpPr>
            <p:cNvPr id="14" name="TextBox 13"/>
            <p:cNvSpPr txBox="1"/>
            <p:nvPr/>
          </p:nvSpPr>
          <p:spPr>
            <a:xfrm>
              <a:off x="672204" y="1677807"/>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展厅全景</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入口</a:t>
              </a:r>
              <a:endParaRPr lang="en-GB" sz="126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3419872" y="1677807"/>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展厅全景</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从左侧或右侧拍摄</a:t>
              </a:r>
              <a:endParaRPr lang="en-GB" sz="1260" dirty="0">
                <a:latin typeface="微软雅黑" panose="020B0503020204020204" pitchFamily="34" charset="-122"/>
                <a:ea typeface="微软雅黑" panose="020B0503020204020204" pitchFamily="34" charset="-122"/>
              </a:endParaRPr>
            </a:p>
          </p:txBody>
        </p:sp>
        <p:sp>
          <p:nvSpPr>
            <p:cNvPr id="16" name="TextBox 15"/>
            <p:cNvSpPr txBox="1"/>
            <p:nvPr/>
          </p:nvSpPr>
          <p:spPr>
            <a:xfrm>
              <a:off x="6167540" y="1677807"/>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客休区</a:t>
              </a:r>
              <a:endParaRPr lang="en-GB" sz="1260" dirty="0">
                <a:latin typeface="微软雅黑" panose="020B0503020204020204" pitchFamily="34" charset="-122"/>
                <a:ea typeface="微软雅黑" panose="020B0503020204020204" pitchFamily="34" charset="-122"/>
              </a:endParaRPr>
            </a:p>
          </p:txBody>
        </p:sp>
        <p:sp>
          <p:nvSpPr>
            <p:cNvPr id="17" name="TextBox 16"/>
            <p:cNvSpPr txBox="1"/>
            <p:nvPr/>
          </p:nvSpPr>
          <p:spPr>
            <a:xfrm>
              <a:off x="672203" y="3294211"/>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维修入口</a:t>
              </a:r>
              <a:endParaRPr lang="en-GB" sz="1260" dirty="0">
                <a:latin typeface="微软雅黑" panose="020B0503020204020204" pitchFamily="34" charset="-122"/>
                <a:ea typeface="微软雅黑" panose="020B0503020204020204" pitchFamily="34" charset="-122"/>
              </a:endParaRPr>
            </a:p>
          </p:txBody>
        </p:sp>
        <p:sp>
          <p:nvSpPr>
            <p:cNvPr id="18" name="TextBox 17"/>
            <p:cNvSpPr txBox="1"/>
            <p:nvPr/>
          </p:nvSpPr>
          <p:spPr>
            <a:xfrm>
              <a:off x="3419872" y="3294211"/>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机修车间</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全景</a:t>
              </a:r>
              <a:endParaRPr lang="en-GB" sz="1260" dirty="0">
                <a:latin typeface="微软雅黑" panose="020B0503020204020204" pitchFamily="34" charset="-122"/>
                <a:ea typeface="微软雅黑" panose="020B0503020204020204" pitchFamily="34" charset="-122"/>
              </a:endParaRPr>
            </a:p>
          </p:txBody>
        </p:sp>
        <p:sp>
          <p:nvSpPr>
            <p:cNvPr id="19" name="TextBox 18"/>
            <p:cNvSpPr txBox="1"/>
            <p:nvPr/>
          </p:nvSpPr>
          <p:spPr>
            <a:xfrm>
              <a:off x="6167540" y="3294211"/>
              <a:ext cx="2237393" cy="1187577"/>
            </a:xfrm>
            <a:prstGeom prst="rect">
              <a:avLst/>
            </a:prstGeom>
            <a:noFill/>
            <a:ln>
              <a:solidFill>
                <a:schemeClr val="tx1">
                  <a:lumMod val="50000"/>
                  <a:lumOff val="50000"/>
                </a:schemeClr>
              </a:solidFill>
            </a:ln>
          </p:spPr>
          <p:txBody>
            <a:bodyPr wrap="square" rtlCol="0" anchor="ctr">
              <a:noAutofit/>
            </a:bodyPr>
            <a:lstStyle/>
            <a:p>
              <a:pPr algn="ctr"/>
              <a:r>
                <a:rPr lang="zh-CN" altLang="en-US" sz="1260" dirty="0">
                  <a:latin typeface="微软雅黑" panose="020B0503020204020204" pitchFamily="34" charset="-122"/>
                  <a:ea typeface="微软雅黑" panose="020B0503020204020204" pitchFamily="34" charset="-122"/>
                </a:rPr>
                <a:t>钣喷车间</a:t>
              </a:r>
              <a:endParaRPr lang="en-US" altLang="zh-CN" sz="1260" dirty="0">
                <a:latin typeface="微软雅黑" panose="020B0503020204020204" pitchFamily="34" charset="-122"/>
                <a:ea typeface="微软雅黑" panose="020B0503020204020204" pitchFamily="34" charset="-122"/>
              </a:endParaRPr>
            </a:p>
            <a:p>
              <a:pPr algn="ctr"/>
              <a:r>
                <a:rPr lang="zh-CN" altLang="en-US" sz="1260" dirty="0">
                  <a:latin typeface="微软雅黑" panose="020B0503020204020204" pitchFamily="34" charset="-122"/>
                  <a:ea typeface="微软雅黑" panose="020B0503020204020204" pitchFamily="34" charset="-122"/>
                </a:rPr>
                <a:t>全景</a:t>
              </a:r>
              <a:endParaRPr lang="en-GB" sz="1260" dirty="0">
                <a:latin typeface="微软雅黑" panose="020B0503020204020204" pitchFamily="34" charset="-122"/>
                <a:ea typeface="微软雅黑" panose="020B0503020204020204" pitchFamily="34" charset="-122"/>
              </a:endParaRPr>
            </a:p>
          </p:txBody>
        </p:sp>
        <p:sp>
          <p:nvSpPr>
            <p:cNvPr id="11" name="TextBox 10"/>
            <p:cNvSpPr txBox="1"/>
            <p:nvPr/>
          </p:nvSpPr>
          <p:spPr>
            <a:xfrm>
              <a:off x="688875" y="1680191"/>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1</a:t>
              </a:r>
              <a:endParaRPr lang="en-GB" sz="999" dirty="0">
                <a:latin typeface="微软雅黑" panose="020B0503020204020204" pitchFamily="34" charset="-122"/>
                <a:ea typeface="微软雅黑" panose="020B0503020204020204" pitchFamily="34" charset="-122"/>
              </a:endParaRPr>
            </a:p>
          </p:txBody>
        </p:sp>
        <p:sp>
          <p:nvSpPr>
            <p:cNvPr id="12" name="TextBox 11"/>
            <p:cNvSpPr txBox="1"/>
            <p:nvPr/>
          </p:nvSpPr>
          <p:spPr>
            <a:xfrm>
              <a:off x="3409081" y="1704591"/>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2</a:t>
              </a:r>
              <a:endParaRPr lang="en-GB" sz="999" dirty="0">
                <a:latin typeface="微软雅黑" panose="020B0503020204020204" pitchFamily="34" charset="-122"/>
                <a:ea typeface="微软雅黑" panose="020B0503020204020204" pitchFamily="34" charset="-122"/>
              </a:endParaRPr>
            </a:p>
          </p:txBody>
        </p:sp>
        <p:sp>
          <p:nvSpPr>
            <p:cNvPr id="13" name="TextBox 12"/>
            <p:cNvSpPr txBox="1"/>
            <p:nvPr/>
          </p:nvSpPr>
          <p:spPr>
            <a:xfrm>
              <a:off x="6167540" y="1704591"/>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3</a:t>
              </a:r>
              <a:endParaRPr lang="en-GB" sz="999" dirty="0">
                <a:latin typeface="微软雅黑" panose="020B0503020204020204" pitchFamily="34" charset="-122"/>
                <a:ea typeface="微软雅黑" panose="020B0503020204020204" pitchFamily="34" charset="-122"/>
              </a:endParaRPr>
            </a:p>
          </p:txBody>
        </p:sp>
        <p:sp>
          <p:nvSpPr>
            <p:cNvPr id="20" name="TextBox 19"/>
            <p:cNvSpPr txBox="1"/>
            <p:nvPr/>
          </p:nvSpPr>
          <p:spPr>
            <a:xfrm>
              <a:off x="671803" y="3294200"/>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4</a:t>
              </a:r>
              <a:endParaRPr lang="en-GB" sz="999" dirty="0">
                <a:latin typeface="微软雅黑" panose="020B0503020204020204" pitchFamily="34" charset="-122"/>
                <a:ea typeface="微软雅黑" panose="020B0503020204020204" pitchFamily="34" charset="-122"/>
              </a:endParaRPr>
            </a:p>
          </p:txBody>
        </p:sp>
        <p:sp>
          <p:nvSpPr>
            <p:cNvPr id="21" name="TextBox 20"/>
            <p:cNvSpPr txBox="1"/>
            <p:nvPr/>
          </p:nvSpPr>
          <p:spPr>
            <a:xfrm>
              <a:off x="3398590" y="3296320"/>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5</a:t>
              </a:r>
              <a:endParaRPr lang="en-GB" sz="999" dirty="0">
                <a:latin typeface="微软雅黑" panose="020B0503020204020204" pitchFamily="34" charset="-122"/>
                <a:ea typeface="微软雅黑" panose="020B0503020204020204" pitchFamily="34" charset="-122"/>
              </a:endParaRPr>
            </a:p>
          </p:txBody>
        </p:sp>
        <p:sp>
          <p:nvSpPr>
            <p:cNvPr id="22" name="TextBox 21"/>
            <p:cNvSpPr txBox="1"/>
            <p:nvPr/>
          </p:nvSpPr>
          <p:spPr>
            <a:xfrm>
              <a:off x="6167540" y="3300133"/>
              <a:ext cx="394500" cy="246245"/>
            </a:xfrm>
            <a:prstGeom prst="rect">
              <a:avLst/>
            </a:prstGeom>
            <a:noFill/>
          </p:spPr>
          <p:txBody>
            <a:bodyPr wrap="square" rtlCol="0" anchor="ctr">
              <a:spAutoFit/>
            </a:bodyPr>
            <a:lstStyle/>
            <a:p>
              <a:r>
                <a:rPr lang="zh-CN" altLang="en-US" sz="999" dirty="0">
                  <a:latin typeface="微软雅黑" panose="020B0503020204020204" pitchFamily="34" charset="-122"/>
                  <a:ea typeface="微软雅黑" panose="020B0503020204020204" pitchFamily="34" charset="-122"/>
                </a:rPr>
                <a:t>图</a:t>
              </a:r>
              <a:r>
                <a:rPr lang="en-US" altLang="zh-CN" sz="999" dirty="0">
                  <a:latin typeface="微软雅黑" panose="020B0503020204020204" pitchFamily="34" charset="-122"/>
                  <a:ea typeface="微软雅黑" panose="020B0503020204020204" pitchFamily="34" charset="-122"/>
                </a:rPr>
                <a:t>6</a:t>
              </a:r>
              <a:endParaRPr lang="en-GB" sz="999" dirty="0">
                <a:latin typeface="微软雅黑" panose="020B0503020204020204" pitchFamily="34" charset="-122"/>
                <a:ea typeface="微软雅黑" panose="020B0503020204020204" pitchFamily="34" charset="-122"/>
              </a:endParaRPr>
            </a:p>
          </p:txBody>
        </p:sp>
      </p:grpSp>
    </p:spTree>
    <p:extLst>
      <p:ext uri="{BB962C8B-B14F-4D97-AF65-F5344CB8AC3E}">
        <p14:creationId xmlns:p14="http://schemas.microsoft.com/office/powerpoint/2010/main" val="233551591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p>
        </p:txBody>
      </p:sp>
      <p:sp>
        <p:nvSpPr>
          <p:cNvPr id="5" name="Slide Number Placeholder 4"/>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83118160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360364" y="1347788"/>
            <a:ext cx="5643829"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红线图需说明土地规划参数及设计要点：用地红线，建筑红线，建筑密度、容积率、限高、主入口和其它要求。</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latin typeface="微软雅黑" panose="020B0503020204020204" pitchFamily="34" charset="-122"/>
                <a:ea typeface="微软雅黑" panose="020B0503020204020204" pitchFamily="34" charset="-122"/>
              </a:rPr>
              <a:t>建议</a:t>
            </a:r>
            <a:r>
              <a:rPr kumimoji="1" lang="en-US" altLang="zh-CN" b="1" dirty="0">
                <a:latin typeface="微软雅黑" panose="020B0503020204020204" pitchFamily="34" charset="-122"/>
                <a:ea typeface="微软雅黑" panose="020B0503020204020204" pitchFamily="34" charset="-122"/>
              </a:rPr>
              <a:t>4S</a:t>
            </a:r>
            <a:r>
              <a:rPr kumimoji="1" lang="zh-CN" altLang="en-US" b="1" dirty="0">
                <a:latin typeface="微软雅黑" panose="020B0503020204020204" pitchFamily="34" charset="-122"/>
                <a:ea typeface="微软雅黑" panose="020B0503020204020204" pitchFamily="34" charset="-122"/>
              </a:rPr>
              <a:t>店土地 </a:t>
            </a:r>
            <a:r>
              <a:rPr kumimoji="1" lang="en-US" altLang="zh-CN" b="1" dirty="0">
                <a:latin typeface="微软雅黑" panose="020B0503020204020204" pitchFamily="34" charset="-122"/>
                <a:ea typeface="微软雅黑" panose="020B0503020204020204" pitchFamily="34" charset="-122"/>
              </a:rPr>
              <a:t>– </a:t>
            </a:r>
            <a:r>
              <a:rPr kumimoji="1" lang="zh-CN" altLang="en-US" b="1" dirty="0">
                <a:latin typeface="微软雅黑" panose="020B0503020204020204" pitchFamily="34" charset="-122"/>
                <a:ea typeface="微软雅黑" panose="020B0503020204020204" pitchFamily="34" charset="-122"/>
              </a:rPr>
              <a:t>新建店（红线图）</a:t>
            </a:r>
            <a:endParaRPr kumimoji="1" lang="en-US" altLang="zh-CN"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0</a:t>
            </a:fld>
            <a:endParaRPr lang="sv-SE">
              <a:latin typeface="微软雅黑" panose="020B0503020204020204" pitchFamily="34" charset="-122"/>
              <a:ea typeface="微软雅黑" panose="020B0503020204020204" pitchFamily="34" charset="-122"/>
            </a:endParaRPr>
          </a:p>
        </p:txBody>
      </p:sp>
      <p:graphicFrame>
        <p:nvGraphicFramePr>
          <p:cNvPr id="9" name="表格"/>
          <p:cNvGraphicFramePr/>
          <p:nvPr>
            <p:extLst>
              <p:ext uri="{D42A27DB-BD31-4B8C-83A1-F6EECF244321}">
                <p14:modId xmlns:p14="http://schemas.microsoft.com/office/powerpoint/2010/main" val="3101645125"/>
              </p:ext>
            </p:extLst>
          </p:nvPr>
        </p:nvGraphicFramePr>
        <p:xfrm>
          <a:off x="6328595" y="1920288"/>
          <a:ext cx="2304473" cy="2504016"/>
        </p:xfrm>
        <a:graphic>
          <a:graphicData uri="http://schemas.openxmlformats.org/drawingml/2006/table">
            <a:tbl>
              <a:tblPr firstRow="1" firstCol="1" bandRow="1"/>
              <a:tblGrid>
                <a:gridCol w="1074447">
                  <a:extLst>
                    <a:ext uri="{9D8B030D-6E8A-4147-A177-3AD203B41FA5}">
                      <a16:colId xmlns:a16="http://schemas.microsoft.com/office/drawing/2014/main" val="20000"/>
                    </a:ext>
                  </a:extLst>
                </a:gridCol>
                <a:gridCol w="1230026">
                  <a:extLst>
                    <a:ext uri="{9D8B030D-6E8A-4147-A177-3AD203B41FA5}">
                      <a16:colId xmlns:a16="http://schemas.microsoft.com/office/drawing/2014/main" val="20001"/>
                    </a:ext>
                  </a:extLst>
                </a:gridCol>
              </a:tblGrid>
              <a:tr h="417336">
                <a:tc>
                  <a:txBody>
                    <a:bodyPr/>
                    <a:lstStyle/>
                    <a:p>
                      <a:pPr algn="ctr"/>
                      <a:r>
                        <a:rPr lang="zh-CN" altLang="en-US" sz="1400" b="0" dirty="0">
                          <a:solidFill>
                            <a:schemeClr val="tx1"/>
                          </a:solidFill>
                          <a:latin typeface="+mj-ea"/>
                          <a:ea typeface="+mj-ea"/>
                        </a:rPr>
                        <a:t>新建</a:t>
                      </a:r>
                      <a:endParaRPr lang="en-GB" sz="1400" b="0" dirty="0">
                        <a:solidFill>
                          <a:schemeClr val="tx1"/>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algn="ctr" defTabSz="622191" rtl="0" eaLnBrk="1" latinLnBrk="0" hangingPunct="1">
                        <a:defRPr sz="1800" b="0">
                          <a:solidFill>
                            <a:srgbClr val="000000"/>
                          </a:solidFill>
                        </a:defRPr>
                      </a:pPr>
                      <a:r>
                        <a:rPr sz="1400" b="0" kern="1200" baseline="0" dirty="0" err="1">
                          <a:solidFill>
                            <a:schemeClr val="tx1"/>
                          </a:solidFill>
                          <a:latin typeface="+mj-ea"/>
                          <a:ea typeface="+mj-ea"/>
                          <a:cs typeface="+mn-cs"/>
                        </a:rPr>
                        <a:t>信息</a:t>
                      </a:r>
                      <a:endParaRPr sz="1400" b="0" kern="1200" baseline="0" dirty="0">
                        <a:solidFill>
                          <a:schemeClr val="tx1"/>
                        </a:solidFill>
                        <a:latin typeface="+mj-ea"/>
                        <a:ea typeface="+mj-ea"/>
                        <a:cs typeface="+mn-cs"/>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417336">
                <a:tc>
                  <a:txBody>
                    <a:bodyPr/>
                    <a:lstStyle/>
                    <a:p>
                      <a:pPr algn="ctr"/>
                      <a:r>
                        <a:rPr lang="zh-CN" altLang="en-US" sz="1400" b="0" dirty="0">
                          <a:solidFill>
                            <a:schemeClr val="tx1"/>
                          </a:solidFill>
                          <a:latin typeface="+mj-ea"/>
                          <a:ea typeface="+mj-ea"/>
                        </a:rPr>
                        <a:t>总占地面积</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r>
                        <a:rPr lang="en-US" altLang="zh-CN" sz="1400" b="0" dirty="0">
                          <a:solidFill>
                            <a:schemeClr val="tx1"/>
                          </a:solidFill>
                          <a:latin typeface="+mj-ea"/>
                          <a:ea typeface="+mj-ea"/>
                        </a:rPr>
                        <a:t>m</a:t>
                      </a:r>
                      <a:r>
                        <a:rPr lang="en-US" sz="1400" b="0" baseline="30000" dirty="0">
                          <a:solidFill>
                            <a:schemeClr val="tx1"/>
                          </a:solidFill>
                          <a:latin typeface="+mj-ea"/>
                          <a:ea typeface="+mj-ea"/>
                        </a:rPr>
                        <a:t>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417336">
                <a:tc>
                  <a:txBody>
                    <a:bodyPr/>
                    <a:lstStyle/>
                    <a:p>
                      <a:pPr algn="ctr"/>
                      <a:r>
                        <a:rPr lang="zh-CN" altLang="en-US" sz="1400" b="0" dirty="0">
                          <a:solidFill>
                            <a:schemeClr val="tx1"/>
                          </a:solidFill>
                          <a:latin typeface="+mj-ea"/>
                          <a:ea typeface="+mj-ea"/>
                        </a:rPr>
                        <a:t>总正面宽</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r>
                        <a:rPr lang="en-US" sz="1400" b="0" baseline="0" dirty="0">
                          <a:solidFill>
                            <a:schemeClr val="tx1"/>
                          </a:solidFill>
                          <a:latin typeface="+mj-ea"/>
                          <a:ea typeface="+mj-ea"/>
                        </a:rPr>
                        <a:t> </a:t>
                      </a:r>
                      <a:r>
                        <a:rPr lang="en-US" sz="1400" b="0" dirty="0">
                          <a:solidFill>
                            <a:schemeClr val="tx1"/>
                          </a:solidFill>
                          <a:latin typeface="+mj-ea"/>
                          <a:ea typeface="+mj-ea"/>
                        </a:rPr>
                        <a:t>m</a:t>
                      </a:r>
                      <a:endParaRPr lang="en-US" sz="1400" b="0" baseline="30000" dirty="0">
                        <a:solidFill>
                          <a:schemeClr val="tx1"/>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2"/>
                  </a:ext>
                </a:extLst>
              </a:tr>
              <a:tr h="417336">
                <a:tc>
                  <a:txBody>
                    <a:bodyPr/>
                    <a:lstStyle/>
                    <a:p>
                      <a:pPr algn="ctr"/>
                      <a:r>
                        <a:rPr lang="zh-CN" altLang="en-US" sz="1400" b="0" dirty="0">
                          <a:solidFill>
                            <a:schemeClr val="tx1"/>
                          </a:solidFill>
                          <a:latin typeface="+mj-ea"/>
                          <a:ea typeface="+mj-ea"/>
                        </a:rPr>
                        <a:t>容积率</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endParaRPr lang="en-US" sz="1400" b="0" kern="1200" dirty="0">
                        <a:solidFill>
                          <a:schemeClr val="tx1"/>
                        </a:solidFill>
                        <a:latin typeface="+mj-ea"/>
                        <a:ea typeface="+mj-ea"/>
                        <a:cs typeface="+mn-cs"/>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3"/>
                  </a:ext>
                </a:extLst>
              </a:tr>
              <a:tr h="417336">
                <a:tc>
                  <a:txBody>
                    <a:bodyPr/>
                    <a:lstStyle/>
                    <a:p>
                      <a:pPr algn="ctr"/>
                      <a:r>
                        <a:rPr lang="zh-CN" altLang="en-US" sz="1400" b="0" dirty="0">
                          <a:solidFill>
                            <a:schemeClr val="tx1"/>
                          </a:solidFill>
                          <a:latin typeface="+mj-ea"/>
                          <a:ea typeface="+mj-ea"/>
                        </a:rPr>
                        <a:t>建筑密度</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endParaRPr lang="en-US" sz="1400" b="0" baseline="30000" dirty="0">
                        <a:solidFill>
                          <a:schemeClr val="tx1"/>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4"/>
                  </a:ext>
                </a:extLst>
              </a:tr>
              <a:tr h="417336">
                <a:tc>
                  <a:txBody>
                    <a:bodyPr/>
                    <a:lstStyle/>
                    <a:p>
                      <a:pPr algn="ctr"/>
                      <a:r>
                        <a:rPr lang="zh-CN" altLang="en-US" sz="1400" b="0" dirty="0">
                          <a:solidFill>
                            <a:schemeClr val="tx1"/>
                          </a:solidFill>
                          <a:latin typeface="+mj-ea"/>
                          <a:ea typeface="+mj-ea"/>
                        </a:rPr>
                        <a:t>总建筑面积</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r>
                        <a:rPr lang="en-US" altLang="zh-CN" sz="1400" b="0" dirty="0">
                          <a:solidFill>
                            <a:schemeClr val="tx1"/>
                          </a:solidFill>
                          <a:latin typeface="+mj-ea"/>
                          <a:ea typeface="+mj-ea"/>
                        </a:rPr>
                        <a:t> m</a:t>
                      </a:r>
                      <a:r>
                        <a:rPr lang="en-US" sz="1400" b="0" baseline="30000" dirty="0">
                          <a:solidFill>
                            <a:schemeClr val="tx1"/>
                          </a:solidFill>
                          <a:latin typeface="+mj-ea"/>
                          <a:ea typeface="+mj-ea"/>
                        </a:rPr>
                        <a:t>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FFFFFF"/>
                    </a:solid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83553206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360364" y="1347788"/>
            <a:ext cx="5566711"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现有场地需说明：园区入口，展厅及车间划分、功能区尺寸、停车位、立面高度等信息。</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latin typeface="微软雅黑" panose="020B0503020204020204" pitchFamily="34" charset="-122"/>
                <a:ea typeface="微软雅黑" panose="020B0503020204020204" pitchFamily="34" charset="-122"/>
              </a:rPr>
              <a:t> 建议</a:t>
            </a:r>
            <a:r>
              <a:rPr kumimoji="1" lang="en-US" altLang="zh-CN" b="1" dirty="0">
                <a:latin typeface="微软雅黑" panose="020B0503020204020204" pitchFamily="34" charset="-122"/>
                <a:ea typeface="微软雅黑" panose="020B0503020204020204" pitchFamily="34" charset="-122"/>
              </a:rPr>
              <a:t>4S</a:t>
            </a:r>
            <a:r>
              <a:rPr kumimoji="1" lang="zh-CN" altLang="en-US" b="1" dirty="0">
                <a:latin typeface="微软雅黑" panose="020B0503020204020204" pitchFamily="34" charset="-122"/>
                <a:ea typeface="微软雅黑" panose="020B0503020204020204" pitchFamily="34" charset="-122"/>
              </a:rPr>
              <a:t>店土地 </a:t>
            </a:r>
            <a:r>
              <a:rPr kumimoji="1" lang="en-US" altLang="zh-CN" b="1" dirty="0">
                <a:latin typeface="微软雅黑" panose="020B0503020204020204" pitchFamily="34" charset="-122"/>
                <a:ea typeface="微软雅黑" panose="020B0503020204020204" pitchFamily="34" charset="-122"/>
              </a:rPr>
              <a:t>– </a:t>
            </a:r>
            <a:r>
              <a:rPr kumimoji="1" lang="zh-CN" altLang="en-US" sz="2161" b="1" dirty="0">
                <a:latin typeface="微软雅黑" panose="020B0503020204020204" pitchFamily="34" charset="-122"/>
                <a:ea typeface="微软雅黑" panose="020B0503020204020204" pitchFamily="34" charset="-122"/>
              </a:rPr>
              <a:t>改建店（总平面图、平面图及立面图）</a:t>
            </a:r>
            <a:endParaRPr kumimoji="1" lang="en-US" altLang="zh-CN" sz="2161"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1</a:t>
            </a:fld>
            <a:endParaRPr lang="sv-SE">
              <a:latin typeface="微软雅黑" panose="020B0503020204020204" pitchFamily="34" charset="-122"/>
              <a:ea typeface="微软雅黑" panose="020B0503020204020204" pitchFamily="34" charset="-122"/>
            </a:endParaRPr>
          </a:p>
        </p:txBody>
      </p:sp>
      <p:graphicFrame>
        <p:nvGraphicFramePr>
          <p:cNvPr id="9" name="表格"/>
          <p:cNvGraphicFramePr/>
          <p:nvPr>
            <p:extLst>
              <p:ext uri="{D42A27DB-BD31-4B8C-83A1-F6EECF244321}">
                <p14:modId xmlns:p14="http://schemas.microsoft.com/office/powerpoint/2010/main" val="752779693"/>
              </p:ext>
            </p:extLst>
          </p:nvPr>
        </p:nvGraphicFramePr>
        <p:xfrm>
          <a:off x="6278453" y="1869224"/>
          <a:ext cx="2392146" cy="2713459"/>
        </p:xfrm>
        <a:graphic>
          <a:graphicData uri="http://schemas.openxmlformats.org/drawingml/2006/table">
            <a:tbl>
              <a:tblPr firstRow="1" firstCol="1" bandRow="1"/>
              <a:tblGrid>
                <a:gridCol w="1115324">
                  <a:extLst>
                    <a:ext uri="{9D8B030D-6E8A-4147-A177-3AD203B41FA5}">
                      <a16:colId xmlns:a16="http://schemas.microsoft.com/office/drawing/2014/main" val="20000"/>
                    </a:ext>
                  </a:extLst>
                </a:gridCol>
                <a:gridCol w="1276822">
                  <a:extLst>
                    <a:ext uri="{9D8B030D-6E8A-4147-A177-3AD203B41FA5}">
                      <a16:colId xmlns:a16="http://schemas.microsoft.com/office/drawing/2014/main" val="20001"/>
                    </a:ext>
                  </a:extLst>
                </a:gridCol>
              </a:tblGrid>
              <a:tr h="551041">
                <a:tc>
                  <a:txBody>
                    <a:bodyPr/>
                    <a:lstStyle/>
                    <a:p>
                      <a:pPr algn="ctr"/>
                      <a:r>
                        <a:rPr lang="zh-CN" altLang="en-US" sz="1400" b="0" dirty="0">
                          <a:solidFill>
                            <a:sysClr val="windowText" lastClr="000000"/>
                          </a:solidFill>
                          <a:latin typeface="+mj-ea"/>
                          <a:ea typeface="+mj-ea"/>
                        </a:rPr>
                        <a:t>改建</a:t>
                      </a:r>
                      <a:endParaRPr lang="en-GB" sz="1400" b="0" dirty="0">
                        <a:solidFill>
                          <a:sysClr val="windowText" lastClr="000000"/>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algn="ctr" defTabSz="622191" rtl="0" eaLnBrk="1" latinLnBrk="0" hangingPunct="1">
                        <a:defRPr sz="1800" b="0">
                          <a:solidFill>
                            <a:srgbClr val="000000"/>
                          </a:solidFill>
                        </a:defRPr>
                      </a:pPr>
                      <a:r>
                        <a:rPr sz="1400" b="0" kern="1200" baseline="0" dirty="0" err="1">
                          <a:solidFill>
                            <a:sysClr val="windowText" lastClr="000000"/>
                          </a:solidFill>
                          <a:latin typeface="+mj-ea"/>
                          <a:ea typeface="+mj-ea"/>
                          <a:cs typeface="+mn-cs"/>
                        </a:rPr>
                        <a:t>信息</a:t>
                      </a:r>
                      <a:endParaRPr sz="1400" b="0" kern="1200" baseline="0" dirty="0">
                        <a:solidFill>
                          <a:sysClr val="windowText" lastClr="000000"/>
                        </a:solidFill>
                        <a:latin typeface="+mj-ea"/>
                        <a:ea typeface="+mj-ea"/>
                        <a:cs typeface="+mn-cs"/>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0"/>
                  </a:ext>
                </a:extLst>
              </a:tr>
              <a:tr h="551041">
                <a:tc>
                  <a:txBody>
                    <a:bodyPr/>
                    <a:lstStyle/>
                    <a:p>
                      <a:pPr algn="ctr"/>
                      <a:r>
                        <a:rPr lang="zh-CN" altLang="en-US" sz="1400" b="0" dirty="0">
                          <a:solidFill>
                            <a:sysClr val="windowText" lastClr="000000"/>
                          </a:solidFill>
                          <a:latin typeface="+mj-ea"/>
                          <a:ea typeface="+mj-ea"/>
                        </a:rPr>
                        <a:t>总建筑面积</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622191" rtl="0" eaLnBrk="1" fontAlgn="auto" latinLnBrk="0" hangingPunct="1">
                        <a:lnSpc>
                          <a:spcPct val="100000"/>
                        </a:lnSpc>
                        <a:spcBef>
                          <a:spcPts val="0"/>
                        </a:spcBef>
                        <a:spcAft>
                          <a:spcPts val="0"/>
                        </a:spcAft>
                        <a:buClrTx/>
                        <a:buSzTx/>
                        <a:buFontTx/>
                        <a:buNone/>
                        <a:tabLst/>
                        <a:defRPr/>
                      </a:pPr>
                      <a:r>
                        <a:rPr lang="en-US" altLang="zh-CN" sz="1400" b="0" dirty="0">
                          <a:solidFill>
                            <a:sysClr val="windowText" lastClr="000000"/>
                          </a:solidFill>
                          <a:latin typeface="+mj-ea"/>
                          <a:ea typeface="+mj-ea"/>
                        </a:rPr>
                        <a:t> m</a:t>
                      </a:r>
                      <a:r>
                        <a:rPr lang="en-US" sz="1400" b="0" baseline="30000" dirty="0">
                          <a:solidFill>
                            <a:sysClr val="windowText" lastClr="000000"/>
                          </a:solidFill>
                          <a:latin typeface="+mj-ea"/>
                          <a:ea typeface="+mj-ea"/>
                        </a:rPr>
                        <a:t>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1"/>
                  </a:ext>
                </a:extLst>
              </a:tr>
              <a:tr h="551041">
                <a:tc>
                  <a:txBody>
                    <a:bodyPr/>
                    <a:lstStyle/>
                    <a:p>
                      <a:pPr algn="ctr" defTabSz="622190">
                        <a:defRPr sz="1800" b="0">
                          <a:solidFill>
                            <a:srgbClr val="000000"/>
                          </a:solidFill>
                        </a:defRPr>
                      </a:pPr>
                      <a:r>
                        <a:rPr lang="zh-CN" altLang="en-US" sz="1400" b="0" dirty="0">
                          <a:solidFill>
                            <a:sysClr val="windowText" lastClr="000000"/>
                          </a:solidFill>
                          <a:latin typeface="+mj-ea"/>
                          <a:ea typeface="+mj-ea"/>
                        </a:rPr>
                        <a:t>展厅面宽</a:t>
                      </a:r>
                      <a:endParaRPr sz="1400" b="0" dirty="0">
                        <a:solidFill>
                          <a:sysClr val="windowText" lastClr="000000"/>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defTabSz="622190">
                        <a:defRPr sz="1800"/>
                      </a:pPr>
                      <a:r>
                        <a:rPr lang="en-US" sz="1400" b="0" baseline="0" dirty="0">
                          <a:solidFill>
                            <a:sysClr val="windowText" lastClr="000000"/>
                          </a:solidFill>
                          <a:latin typeface="+mj-ea"/>
                          <a:ea typeface="+mj-ea"/>
                        </a:rPr>
                        <a:t> </a:t>
                      </a:r>
                      <a:r>
                        <a:rPr lang="en-US" sz="1400" b="0" dirty="0">
                          <a:solidFill>
                            <a:sysClr val="windowText" lastClr="000000"/>
                          </a:solidFill>
                          <a:latin typeface="+mj-ea"/>
                          <a:ea typeface="+mj-ea"/>
                        </a:rPr>
                        <a:t>m</a:t>
                      </a:r>
                      <a:endParaRPr sz="1400" b="0" baseline="30000" dirty="0">
                        <a:solidFill>
                          <a:sysClr val="windowText" lastClr="000000"/>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2"/>
                  </a:ext>
                </a:extLst>
              </a:tr>
              <a:tr h="551041">
                <a:tc>
                  <a:txBody>
                    <a:bodyPr/>
                    <a:lstStyle/>
                    <a:p>
                      <a:pPr algn="ctr" defTabSz="622190">
                        <a:defRPr sz="1800" b="0">
                          <a:solidFill>
                            <a:srgbClr val="000000"/>
                          </a:solidFill>
                        </a:defRPr>
                      </a:pPr>
                      <a:r>
                        <a:rPr lang="zh-CN" altLang="en-US" sz="1400" b="0" dirty="0">
                          <a:solidFill>
                            <a:sysClr val="windowText" lastClr="000000"/>
                          </a:solidFill>
                          <a:latin typeface="+mj-ea"/>
                          <a:ea typeface="+mj-ea"/>
                        </a:rPr>
                        <a:t>展厅面积</a:t>
                      </a:r>
                      <a:endParaRPr sz="1400" b="0" dirty="0">
                        <a:solidFill>
                          <a:sysClr val="windowText" lastClr="000000"/>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ctr" defTabSz="622190">
                        <a:defRPr sz="1800"/>
                      </a:pPr>
                      <a:r>
                        <a:rPr lang="en-US" sz="1400" b="0" dirty="0">
                          <a:solidFill>
                            <a:sysClr val="windowText" lastClr="000000"/>
                          </a:solidFill>
                          <a:latin typeface="+mj-ea"/>
                          <a:ea typeface="+mj-ea"/>
                        </a:rPr>
                        <a:t> m</a:t>
                      </a:r>
                      <a:r>
                        <a:rPr lang="en-US" sz="1400" b="0" baseline="30000" dirty="0">
                          <a:solidFill>
                            <a:sysClr val="windowText" lastClr="000000"/>
                          </a:solidFill>
                          <a:latin typeface="+mj-ea"/>
                          <a:ea typeface="+mj-ea"/>
                        </a:rPr>
                        <a:t>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3"/>
                  </a:ext>
                </a:extLst>
              </a:tr>
              <a:tr h="509295">
                <a:tc>
                  <a:txBody>
                    <a:bodyPr/>
                    <a:lstStyle/>
                    <a:p>
                      <a:pPr algn="ctr" defTabSz="622190">
                        <a:defRPr sz="1800" b="0">
                          <a:solidFill>
                            <a:srgbClr val="000000"/>
                          </a:solidFill>
                        </a:defRPr>
                      </a:pPr>
                      <a:r>
                        <a:rPr lang="zh-CN" altLang="en-US" sz="1400" b="0" dirty="0">
                          <a:solidFill>
                            <a:sysClr val="windowText" lastClr="000000"/>
                          </a:solidFill>
                          <a:latin typeface="+mj-ea"/>
                          <a:ea typeface="+mj-ea"/>
                        </a:rPr>
                        <a:t>车间面积</a:t>
                      </a:r>
                      <a:endParaRPr sz="1400" b="0" dirty="0">
                        <a:solidFill>
                          <a:sysClr val="windowText" lastClr="000000"/>
                        </a:solidFill>
                        <a:latin typeface="+mj-ea"/>
                        <a:ea typeface="+mj-ea"/>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ctr" defTabSz="622190" rtl="0" eaLnBrk="1" fontAlgn="auto" latinLnBrk="0" hangingPunct="1">
                        <a:lnSpc>
                          <a:spcPct val="100000"/>
                        </a:lnSpc>
                        <a:spcBef>
                          <a:spcPts val="0"/>
                        </a:spcBef>
                        <a:spcAft>
                          <a:spcPts val="0"/>
                        </a:spcAft>
                        <a:buClrTx/>
                        <a:buSzTx/>
                        <a:buFontTx/>
                        <a:buNone/>
                        <a:tabLst/>
                        <a:defRPr sz="1800"/>
                      </a:pPr>
                      <a:r>
                        <a:rPr lang="en-US" sz="1400" b="0" dirty="0">
                          <a:solidFill>
                            <a:sysClr val="windowText" lastClr="000000"/>
                          </a:solidFill>
                          <a:latin typeface="+mj-ea"/>
                          <a:ea typeface="+mj-ea"/>
                        </a:rPr>
                        <a:t> m</a:t>
                      </a:r>
                      <a:r>
                        <a:rPr lang="en-US" sz="1400" b="0" baseline="30000" dirty="0">
                          <a:solidFill>
                            <a:sysClr val="windowText" lastClr="000000"/>
                          </a:solidFill>
                          <a:latin typeface="+mj-ea"/>
                          <a:ea typeface="+mj-ea"/>
                        </a:rPr>
                        <a:t>2</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318669103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54"/>
          <p:cNvGraphicFramePr>
            <a:graphicFrameLocks noGrp="1"/>
          </p:cNvGraphicFramePr>
          <p:nvPr>
            <p:ph sz="half" idx="4294967295"/>
            <p:extLst>
              <p:ext uri="{D42A27DB-BD31-4B8C-83A1-F6EECF244321}">
                <p14:modId xmlns:p14="http://schemas.microsoft.com/office/powerpoint/2010/main" val="710587332"/>
              </p:ext>
            </p:extLst>
          </p:nvPr>
        </p:nvGraphicFramePr>
        <p:xfrm>
          <a:off x="360364" y="1616525"/>
          <a:ext cx="8306176" cy="3220338"/>
        </p:xfrm>
        <a:graphic>
          <a:graphicData uri="http://schemas.openxmlformats.org/drawingml/2006/table">
            <a:tbl>
              <a:tblPr/>
              <a:tblGrid>
                <a:gridCol w="5382886">
                  <a:extLst>
                    <a:ext uri="{9D8B030D-6E8A-4147-A177-3AD203B41FA5}">
                      <a16:colId xmlns:a16="http://schemas.microsoft.com/office/drawing/2014/main" val="20000"/>
                    </a:ext>
                  </a:extLst>
                </a:gridCol>
                <a:gridCol w="2923290">
                  <a:extLst>
                    <a:ext uri="{9D8B030D-6E8A-4147-A177-3AD203B41FA5}">
                      <a16:colId xmlns:a16="http://schemas.microsoft.com/office/drawing/2014/main" val="20001"/>
                    </a:ext>
                  </a:extLst>
                </a:gridCol>
              </a:tblGrid>
              <a:tr h="232089">
                <a:tc gridSpan="2">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新建店</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0"/>
                  </a:ext>
                </a:extLst>
              </a:tr>
              <a:tr h="23208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面积</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974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面宽</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2974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深度</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3208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密度</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3091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容积率</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3208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最大可建投影面积</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chemeClr val="tx1"/>
                        </a:solidFill>
                        <a:effectLst/>
                        <a:latin typeface="Arial" panose="020B0604020202020204" pitchFamily="34" charset="0"/>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974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最大可建建筑总面积</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2349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最大面宽（除退线和内部通道外）</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3208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建筑限高</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3091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建筑最大深度（除退线和内部通道外）</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3091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土地性质</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3091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自有或租赁（如租赁注明承租起止时间）</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22349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对品牌立招位置和高度有无要求（如有，请描述）</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bl>
          </a:graphicData>
        </a:graphic>
      </p:graphicFrame>
      <p:sp>
        <p:nvSpPr>
          <p:cNvPr id="2" name="Text Placeholder 1"/>
          <p:cNvSpPr>
            <a:spLocks noGrp="1"/>
          </p:cNvSpPr>
          <p:nvPr>
            <p:ph type="body" sz="quarter" idx="36"/>
          </p:nvPr>
        </p:nvSpPr>
        <p:spPr>
          <a:xfrm>
            <a:off x="371794" y="1233488"/>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新建店</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以下信息为</a:t>
            </a:r>
            <a:r>
              <a:rPr lang="en-US" altLang="zh-CN" dirty="0">
                <a:latin typeface="微软雅黑" panose="020B0503020204020204" pitchFamily="34" charset="-122"/>
                <a:ea typeface="微软雅黑" panose="020B0503020204020204" pitchFamily="34" charset="-122"/>
              </a:rPr>
              <a:t>VOLVO</a:t>
            </a:r>
            <a:r>
              <a:rPr lang="zh-CN" altLang="en-US" dirty="0">
                <a:latin typeface="微软雅黑" panose="020B0503020204020204" pitchFamily="34" charset="-122"/>
                <a:ea typeface="微软雅黑" panose="020B0503020204020204" pitchFamily="34" charset="-122"/>
              </a:rPr>
              <a:t>设施用地规划参数</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solidFill>
                  <a:srgbClr val="000000"/>
                </a:solidFill>
                <a:latin typeface="微软雅黑" panose="020B0503020204020204" pitchFamily="34" charset="-122"/>
                <a:ea typeface="微软雅黑" panose="020B0503020204020204" pitchFamily="34" charset="-122"/>
              </a:rPr>
              <a:t>建议场地 </a:t>
            </a:r>
            <a:r>
              <a:rPr kumimoji="1" lang="en-US" altLang="zh-CN" b="1" dirty="0">
                <a:solidFill>
                  <a:srgbClr val="000000"/>
                </a:solidFill>
                <a:latin typeface="微软雅黑" panose="020B0503020204020204" pitchFamily="34" charset="-122"/>
                <a:ea typeface="微软雅黑" panose="020B0503020204020204" pitchFamily="34" charset="-122"/>
              </a:rPr>
              <a:t>– </a:t>
            </a:r>
            <a:r>
              <a:rPr kumimoji="1" lang="zh-CN" altLang="en-US" b="1" dirty="0">
                <a:solidFill>
                  <a:srgbClr val="000000"/>
                </a:solidFill>
                <a:latin typeface="微软雅黑" panose="020B0503020204020204" pitchFamily="34" charset="-122"/>
                <a:ea typeface="微软雅黑" panose="020B0503020204020204" pitchFamily="34" charset="-122"/>
              </a:rPr>
              <a:t>详细规划信息</a:t>
            </a:r>
            <a:endParaRPr kumimoji="1" lang="en-US" altLang="zh-CN" i="1" dirty="0">
              <a:solidFill>
                <a:srgbClr val="000000"/>
              </a:solidFill>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2</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18349814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54"/>
          <p:cNvGraphicFramePr>
            <a:graphicFrameLocks noGrp="1"/>
          </p:cNvGraphicFramePr>
          <p:nvPr>
            <p:ph sz="half" idx="4294967295"/>
            <p:extLst>
              <p:ext uri="{D42A27DB-BD31-4B8C-83A1-F6EECF244321}">
                <p14:modId xmlns:p14="http://schemas.microsoft.com/office/powerpoint/2010/main" val="1669101012"/>
              </p:ext>
            </p:extLst>
          </p:nvPr>
        </p:nvGraphicFramePr>
        <p:xfrm>
          <a:off x="360363" y="1513798"/>
          <a:ext cx="8389936" cy="3243058"/>
        </p:xfrm>
        <a:graphic>
          <a:graphicData uri="http://schemas.openxmlformats.org/drawingml/2006/table">
            <a:tbl>
              <a:tblPr/>
              <a:tblGrid>
                <a:gridCol w="5303234">
                  <a:extLst>
                    <a:ext uri="{9D8B030D-6E8A-4147-A177-3AD203B41FA5}">
                      <a16:colId xmlns:a16="http://schemas.microsoft.com/office/drawing/2014/main" val="20000"/>
                    </a:ext>
                  </a:extLst>
                </a:gridCol>
                <a:gridCol w="3086702">
                  <a:extLst>
                    <a:ext uri="{9D8B030D-6E8A-4147-A177-3AD203B41FA5}">
                      <a16:colId xmlns:a16="http://schemas.microsoft.com/office/drawing/2014/main" val="20001"/>
                    </a:ext>
                  </a:extLst>
                </a:gridCol>
              </a:tblGrid>
              <a:tr h="254558">
                <a:tc gridSpan="2">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改建店</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extLst>
                  <a:ext uri="{0D108BD9-81ED-4DB2-BD59-A6C34878D82A}">
                    <a16:rowId xmlns:a16="http://schemas.microsoft.com/office/drawing/2014/main" val="10000"/>
                  </a:ext>
                </a:extLst>
              </a:tr>
              <a:tr h="254558">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面积</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198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面宽</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5198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用地总深度</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54558">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停车位数量</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54558">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投影面积</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altLang="en-US" sz="1400" b="0" i="0" u="none" strike="noStrike" cap="none" normalizeH="0" baseline="0" dirty="0">
                        <a:ln>
                          <a:noFill/>
                        </a:ln>
                        <a:solidFill>
                          <a:schemeClr val="tx1"/>
                        </a:solidFill>
                        <a:effectLst/>
                        <a:latin typeface="Arial" panose="020B0604020202020204" pitchFamily="34" charset="0"/>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5198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总面积</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2724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面宽（除退线和内部通道外）</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54558">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限高</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53272">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深度</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53272">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土地用途</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53272">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自有或租赁（如租赁注明承租起止时间）</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22724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对品牌立招位置和高度有无要求（如有，请描述）</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bl>
          </a:graphicData>
        </a:graphic>
      </p:graphicFrame>
      <p:sp>
        <p:nvSpPr>
          <p:cNvPr id="2" name="Text Placeholder 1"/>
          <p:cNvSpPr>
            <a:spLocks noGrp="1"/>
          </p:cNvSpPr>
          <p:nvPr>
            <p:ph type="body" sz="quarter" idx="36"/>
          </p:nvPr>
        </p:nvSpPr>
        <p:spPr>
          <a:xfrm>
            <a:off x="360364" y="1215584"/>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改建店</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以下信息为</a:t>
            </a:r>
            <a:r>
              <a:rPr lang="en-US" altLang="zh-CN" dirty="0">
                <a:latin typeface="微软雅黑" panose="020B0503020204020204" pitchFamily="34" charset="-122"/>
                <a:ea typeface="微软雅黑" panose="020B0503020204020204" pitchFamily="34" charset="-122"/>
              </a:rPr>
              <a:t>VOLVO</a:t>
            </a:r>
            <a:r>
              <a:rPr lang="zh-CN" altLang="en-US" dirty="0">
                <a:latin typeface="微软雅黑" panose="020B0503020204020204" pitchFamily="34" charset="-122"/>
                <a:ea typeface="微软雅黑" panose="020B0503020204020204" pitchFamily="34" charset="-122"/>
              </a:rPr>
              <a:t>设施建筑参数</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solidFill>
                  <a:srgbClr val="000000"/>
                </a:solidFill>
                <a:latin typeface="微软雅黑" panose="020B0503020204020204" pitchFamily="34" charset="-122"/>
                <a:ea typeface="微软雅黑" panose="020B0503020204020204" pitchFamily="34" charset="-122"/>
              </a:rPr>
              <a:t>建议场地 </a:t>
            </a:r>
            <a:r>
              <a:rPr kumimoji="1" lang="en-US" altLang="zh-CN" b="1" dirty="0">
                <a:solidFill>
                  <a:srgbClr val="000000"/>
                </a:solidFill>
                <a:latin typeface="微软雅黑" panose="020B0503020204020204" pitchFamily="34" charset="-122"/>
                <a:ea typeface="微软雅黑" panose="020B0503020204020204" pitchFamily="34" charset="-122"/>
              </a:rPr>
              <a:t>– </a:t>
            </a:r>
            <a:r>
              <a:rPr kumimoji="1" lang="zh-CN" altLang="en-US" b="1" dirty="0">
                <a:solidFill>
                  <a:srgbClr val="000000"/>
                </a:solidFill>
                <a:latin typeface="微软雅黑" panose="020B0503020204020204" pitchFamily="34" charset="-122"/>
                <a:ea typeface="微软雅黑" panose="020B0503020204020204" pitchFamily="34" charset="-122"/>
              </a:rPr>
              <a:t>详细建筑信息</a:t>
            </a:r>
            <a:endParaRPr kumimoji="1" lang="en-US" altLang="zh-CN" i="1" dirty="0">
              <a:solidFill>
                <a:srgbClr val="000000"/>
              </a:solidFill>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3</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3107049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44"/>
          <p:cNvGraphicFramePr>
            <a:graphicFrameLocks noGrp="1"/>
          </p:cNvGraphicFramePr>
          <p:nvPr>
            <p:ph sz="half" idx="4294967295"/>
            <p:extLst>
              <p:ext uri="{D42A27DB-BD31-4B8C-83A1-F6EECF244321}">
                <p14:modId xmlns:p14="http://schemas.microsoft.com/office/powerpoint/2010/main" val="3534109817"/>
              </p:ext>
            </p:extLst>
          </p:nvPr>
        </p:nvGraphicFramePr>
        <p:xfrm>
          <a:off x="360364" y="1638842"/>
          <a:ext cx="8306176" cy="3184115"/>
        </p:xfrm>
        <a:graphic>
          <a:graphicData uri="http://schemas.openxmlformats.org/drawingml/2006/table">
            <a:tbl>
              <a:tblPr/>
              <a:tblGrid>
                <a:gridCol w="4189540">
                  <a:extLst>
                    <a:ext uri="{9D8B030D-6E8A-4147-A177-3AD203B41FA5}">
                      <a16:colId xmlns:a16="http://schemas.microsoft.com/office/drawing/2014/main" val="20000"/>
                    </a:ext>
                  </a:extLst>
                </a:gridCol>
                <a:gridCol w="4116636">
                  <a:extLst>
                    <a:ext uri="{9D8B030D-6E8A-4147-A177-3AD203B41FA5}">
                      <a16:colId xmlns:a16="http://schemas.microsoft.com/office/drawing/2014/main" val="20001"/>
                    </a:ext>
                  </a:extLst>
                </a:gridCol>
              </a:tblGrid>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影响因素</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是否为不利因素</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如果是</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请解释</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1008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有无高压线／塔</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0032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周边是否有视线障碍物（如高建筑物、山坡）</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土地有无异常地质状况</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1008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周边有无河流或湖泊</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周边是否有明显噪音</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周边是否有明显异味</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周边是否有异常震动</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1008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周边是否脏乱</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0892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其它</a:t>
                      </a:r>
                    </a:p>
                  </a:txBody>
                  <a:tcPr marL="64823"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
        <p:nvSpPr>
          <p:cNvPr id="2" name="Text Placeholder 1"/>
          <p:cNvSpPr>
            <a:spLocks noGrp="1"/>
          </p:cNvSpPr>
          <p:nvPr>
            <p:ph type="body" sz="quarter" idx="36"/>
          </p:nvPr>
        </p:nvSpPr>
        <p:spPr>
          <a:xfrm>
            <a:off x="360364" y="1248635"/>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请说明其它影响设计、建筑、招牌和未来运营的因素</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pPr>
              <a:spcBef>
                <a:spcPct val="20000"/>
              </a:spcBef>
            </a:pPr>
            <a:r>
              <a:rPr kumimoji="1" lang="zh-CN" altLang="en-US" b="1" dirty="0">
                <a:solidFill>
                  <a:srgbClr val="000000"/>
                </a:solidFill>
                <a:latin typeface="微软雅黑" panose="020B0503020204020204" pitchFamily="34" charset="-122"/>
                <a:ea typeface="微软雅黑" panose="020B0503020204020204" pitchFamily="34" charset="-122"/>
              </a:rPr>
              <a:t>建议土地 </a:t>
            </a:r>
            <a:r>
              <a:rPr kumimoji="1" lang="en-US" altLang="zh-CN" b="1" dirty="0">
                <a:solidFill>
                  <a:srgbClr val="000000"/>
                </a:solidFill>
                <a:latin typeface="微软雅黑" panose="020B0503020204020204" pitchFamily="34" charset="-122"/>
                <a:ea typeface="微软雅黑" panose="020B0503020204020204" pitchFamily="34" charset="-122"/>
              </a:rPr>
              <a:t>– </a:t>
            </a:r>
            <a:r>
              <a:rPr kumimoji="1" lang="zh-CN" altLang="en-US" b="1" dirty="0">
                <a:solidFill>
                  <a:srgbClr val="000000"/>
                </a:solidFill>
                <a:latin typeface="微软雅黑" panose="020B0503020204020204" pitchFamily="34" charset="-122"/>
                <a:ea typeface="微软雅黑" panose="020B0503020204020204" pitchFamily="34" charset="-122"/>
              </a:rPr>
              <a:t>其它</a:t>
            </a:r>
            <a:endParaRPr kumimoji="1" lang="en-US" altLang="zh-CN" b="1" dirty="0">
              <a:solidFill>
                <a:srgbClr val="000000"/>
              </a:solidFill>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4</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3726283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p:txBody>
          <a:bodyPr/>
          <a:lstStyle/>
          <a:p>
            <a:r>
              <a:rPr lang="zh-CN" altLang="en-US" dirty="0">
                <a:latin typeface="微软雅黑" panose="020B0503020204020204" pitchFamily="34" charset="-122"/>
                <a:ea typeface="微软雅黑" panose="020B0503020204020204" pitchFamily="34" charset="-122"/>
              </a:rPr>
              <a:t>请提供完整有效的土地证明文件，否则申请视为无效）</a:t>
            </a:r>
          </a:p>
          <a:p>
            <a:r>
              <a:rPr lang="zh-CN" altLang="en-US" dirty="0">
                <a:latin typeface="微软雅黑" panose="020B0503020204020204" pitchFamily="34" charset="-122"/>
                <a:ea typeface="微软雅黑" panose="020B0503020204020204" pitchFamily="34" charset="-122"/>
              </a:rPr>
              <a:t>请附土地所有权证</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房产证</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土地购买合同</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土地租赁合同</a:t>
            </a:r>
            <a:r>
              <a:rPr lang="en-US" altLang="zh-CN" dirty="0">
                <a:latin typeface="微软雅黑" panose="020B0503020204020204" pitchFamily="34" charset="-122"/>
                <a:ea typeface="微软雅黑" panose="020B0503020204020204" pitchFamily="34" charset="-122"/>
              </a:rPr>
              <a:t>/</a:t>
            </a:r>
            <a:r>
              <a:rPr lang="zh-CN" altLang="en-US" dirty="0">
                <a:latin typeface="微软雅黑" panose="020B0503020204020204" pitchFamily="34" charset="-122"/>
                <a:ea typeface="微软雅黑" panose="020B0503020204020204" pitchFamily="34" charset="-122"/>
              </a:rPr>
              <a:t>土地租赁意向书等</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kumimoji="1" lang="zh-CN" altLang="en-US" b="1" dirty="0">
                <a:solidFill>
                  <a:srgbClr val="000000"/>
                </a:solidFill>
                <a:latin typeface="微软雅黑" panose="020B0503020204020204" pitchFamily="34" charset="-122"/>
                <a:ea typeface="微软雅黑" panose="020B0503020204020204" pitchFamily="34" charset="-122"/>
              </a:rPr>
              <a:t>场地准备状况</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5</a:t>
            </a:fld>
            <a:endParaRPr lang="sv-SE">
              <a:latin typeface="微软雅黑" panose="020B0503020204020204" pitchFamily="34" charset="-122"/>
              <a:ea typeface="微软雅黑" panose="020B0503020204020204" pitchFamily="34" charset="-122"/>
            </a:endParaRPr>
          </a:p>
        </p:txBody>
      </p:sp>
      <p:sp>
        <p:nvSpPr>
          <p:cNvPr id="9" name="Rectangle 5"/>
          <p:cNvSpPr>
            <a:spLocks noChangeArrowheads="1"/>
          </p:cNvSpPr>
          <p:nvPr/>
        </p:nvSpPr>
        <p:spPr bwMode="auto">
          <a:xfrm>
            <a:off x="1081199" y="2026438"/>
            <a:ext cx="184731" cy="424860"/>
          </a:xfrm>
          <a:prstGeom prst="rect">
            <a:avLst/>
          </a:prstGeom>
          <a:solidFill>
            <a:srgbClr val="DDDDDD"/>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endParaRPr kumimoji="1" lang="zh-CN" altLang="en-US" sz="2161">
              <a:solidFill>
                <a:schemeClr val="tx1"/>
              </a:solidFill>
              <a:latin typeface="微软雅黑" panose="020B0503020204020204" pitchFamily="34" charset="-122"/>
              <a:ea typeface="微软雅黑" panose="020B0503020204020204" pitchFamily="34" charset="-122"/>
            </a:endParaRPr>
          </a:p>
        </p:txBody>
      </p:sp>
      <p:sp>
        <p:nvSpPr>
          <p:cNvPr id="10" name="Text Box 6"/>
          <p:cNvSpPr txBox="1">
            <a:spLocks noChangeArrowheads="1"/>
          </p:cNvSpPr>
          <p:nvPr/>
        </p:nvSpPr>
        <p:spPr bwMode="auto">
          <a:xfrm>
            <a:off x="1081199" y="2435816"/>
            <a:ext cx="1264834"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ctr" eaLnBrk="1" fontAlgn="ctr" hangingPunct="1">
              <a:spcBef>
                <a:spcPct val="50000"/>
              </a:spcBef>
            </a:pPr>
            <a:r>
              <a:rPr lang="zh-CN" altLang="en-US" sz="1260" b="1" dirty="0">
                <a:solidFill>
                  <a:srgbClr val="4D4D4D"/>
                </a:solidFill>
                <a:latin typeface="微软雅黑" panose="020B0503020204020204" pitchFamily="34" charset="-122"/>
                <a:ea typeface="微软雅黑" panose="020B0503020204020204" pitchFamily="34" charset="-122"/>
              </a:rPr>
              <a:t>文件</a:t>
            </a:r>
            <a:r>
              <a:rPr lang="en-US" altLang="zh-CN" sz="1260" b="1" dirty="0">
                <a:solidFill>
                  <a:srgbClr val="4D4D4D"/>
                </a:solidFill>
                <a:latin typeface="微软雅黑" panose="020B0503020204020204" pitchFamily="34" charset="-122"/>
                <a:ea typeface="微软雅黑" panose="020B0503020204020204" pitchFamily="34" charset="-122"/>
              </a:rPr>
              <a:t>1</a:t>
            </a:r>
          </a:p>
        </p:txBody>
      </p:sp>
      <p:sp>
        <p:nvSpPr>
          <p:cNvPr id="11" name="Rectangle 7"/>
          <p:cNvSpPr>
            <a:spLocks noChangeArrowheads="1"/>
          </p:cNvSpPr>
          <p:nvPr/>
        </p:nvSpPr>
        <p:spPr bwMode="auto">
          <a:xfrm>
            <a:off x="3968807" y="2722048"/>
            <a:ext cx="184731" cy="424860"/>
          </a:xfrm>
          <a:prstGeom prst="rect">
            <a:avLst/>
          </a:prstGeom>
          <a:solidFill>
            <a:srgbClr val="B2B2B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endParaRPr kumimoji="1" lang="zh-CN" altLang="en-US" sz="2161">
              <a:solidFill>
                <a:schemeClr val="tx1"/>
              </a:solidFill>
              <a:latin typeface="微软雅黑" panose="020B0503020204020204" pitchFamily="34" charset="-122"/>
              <a:ea typeface="微软雅黑" panose="020B0503020204020204" pitchFamily="34" charset="-122"/>
            </a:endParaRPr>
          </a:p>
        </p:txBody>
      </p:sp>
      <p:sp>
        <p:nvSpPr>
          <p:cNvPr id="13" name="Text Box 8"/>
          <p:cNvSpPr txBox="1">
            <a:spLocks noChangeArrowheads="1"/>
          </p:cNvSpPr>
          <p:nvPr/>
        </p:nvSpPr>
        <p:spPr bwMode="auto">
          <a:xfrm>
            <a:off x="3968807" y="3016657"/>
            <a:ext cx="1264834"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ctr" eaLnBrk="1" fontAlgn="ctr" hangingPunct="1">
              <a:spcBef>
                <a:spcPct val="50000"/>
              </a:spcBef>
            </a:pPr>
            <a:r>
              <a:rPr lang="zh-CN" altLang="en-US" sz="1260" b="1" dirty="0">
                <a:solidFill>
                  <a:srgbClr val="4D4D4D"/>
                </a:solidFill>
                <a:latin typeface="微软雅黑" panose="020B0503020204020204" pitchFamily="34" charset="-122"/>
                <a:ea typeface="微软雅黑" panose="020B0503020204020204" pitchFamily="34" charset="-122"/>
              </a:rPr>
              <a:t>文件</a:t>
            </a:r>
            <a:r>
              <a:rPr lang="en-US" altLang="zh-CN" sz="1260" b="1" dirty="0">
                <a:solidFill>
                  <a:srgbClr val="4D4D4D"/>
                </a:solidFill>
                <a:latin typeface="微软雅黑" panose="020B0503020204020204" pitchFamily="34" charset="-122"/>
                <a:ea typeface="微软雅黑" panose="020B0503020204020204" pitchFamily="34" charset="-122"/>
              </a:rPr>
              <a:t>2</a:t>
            </a:r>
          </a:p>
        </p:txBody>
      </p:sp>
      <p:sp>
        <p:nvSpPr>
          <p:cNvPr id="14" name="Rectangle 7"/>
          <p:cNvSpPr>
            <a:spLocks noChangeArrowheads="1"/>
          </p:cNvSpPr>
          <p:nvPr/>
        </p:nvSpPr>
        <p:spPr bwMode="auto">
          <a:xfrm>
            <a:off x="6917689" y="3340829"/>
            <a:ext cx="184731" cy="424860"/>
          </a:xfrm>
          <a:prstGeom prst="rect">
            <a:avLst/>
          </a:prstGeom>
          <a:solidFill>
            <a:srgbClr val="B2B2B2"/>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anchor="ct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endParaRPr kumimoji="1" lang="zh-CN" altLang="en-US" sz="2161">
              <a:solidFill>
                <a:schemeClr val="tx1"/>
              </a:solidFill>
              <a:latin typeface="微软雅黑" panose="020B0503020204020204" pitchFamily="34" charset="-122"/>
              <a:ea typeface="微软雅黑" panose="020B0503020204020204" pitchFamily="34" charset="-122"/>
            </a:endParaRPr>
          </a:p>
        </p:txBody>
      </p:sp>
      <p:sp>
        <p:nvSpPr>
          <p:cNvPr id="15" name="Text Box 8"/>
          <p:cNvSpPr txBox="1">
            <a:spLocks noChangeArrowheads="1"/>
          </p:cNvSpPr>
          <p:nvPr/>
        </p:nvSpPr>
        <p:spPr bwMode="auto">
          <a:xfrm>
            <a:off x="7000582" y="3758400"/>
            <a:ext cx="1264834" cy="286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ctr" eaLnBrk="1" fontAlgn="ctr" hangingPunct="1">
              <a:spcBef>
                <a:spcPct val="50000"/>
              </a:spcBef>
            </a:pPr>
            <a:r>
              <a:rPr lang="zh-CN" altLang="en-US" sz="1260" b="1" dirty="0">
                <a:solidFill>
                  <a:srgbClr val="4D4D4D"/>
                </a:solidFill>
                <a:latin typeface="微软雅黑" panose="020B0503020204020204" pitchFamily="34" charset="-122"/>
                <a:ea typeface="微软雅黑" panose="020B0503020204020204" pitchFamily="34" charset="-122"/>
              </a:rPr>
              <a:t>文件</a:t>
            </a:r>
            <a:r>
              <a:rPr lang="en-US" altLang="zh-CN" sz="1260" b="1" dirty="0">
                <a:solidFill>
                  <a:srgbClr val="4D4D4D"/>
                </a:solidFill>
                <a:latin typeface="微软雅黑" panose="020B0503020204020204" pitchFamily="34" charset="-122"/>
                <a:ea typeface="微软雅黑" panose="020B0503020204020204" pitchFamily="34" charset="-122"/>
              </a:rPr>
              <a:t>3</a:t>
            </a:r>
          </a:p>
        </p:txBody>
      </p:sp>
    </p:spTree>
    <p:extLst>
      <p:ext uri="{BB962C8B-B14F-4D97-AF65-F5344CB8AC3E}">
        <p14:creationId xmlns:p14="http://schemas.microsoft.com/office/powerpoint/2010/main" val="114501464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pPr>
              <a:spcBef>
                <a:spcPct val="20000"/>
              </a:spcBef>
            </a:pPr>
            <a:r>
              <a:rPr kumimoji="1" lang="zh-CN" altLang="en-US" b="1" dirty="0">
                <a:solidFill>
                  <a:srgbClr val="000000"/>
                </a:solidFill>
                <a:latin typeface="微软雅黑" panose="020B0503020204020204" pitchFamily="34" charset="-122"/>
                <a:ea typeface="微软雅黑" panose="020B0503020204020204" pitchFamily="34" charset="-122"/>
              </a:rPr>
              <a:t>建议土地 </a:t>
            </a:r>
            <a:r>
              <a:rPr kumimoji="1" lang="en-US" altLang="zh-CN" b="1" dirty="0">
                <a:solidFill>
                  <a:srgbClr val="000000"/>
                </a:solidFill>
                <a:latin typeface="微软雅黑" panose="020B0503020204020204" pitchFamily="34" charset="-122"/>
                <a:ea typeface="微软雅黑" panose="020B0503020204020204" pitchFamily="34" charset="-122"/>
              </a:rPr>
              <a:t>– </a:t>
            </a:r>
            <a:r>
              <a:rPr kumimoji="1" lang="zh-CN" altLang="en-US" b="1" dirty="0">
                <a:solidFill>
                  <a:srgbClr val="000000"/>
                </a:solidFill>
                <a:latin typeface="微软雅黑" panose="020B0503020204020204" pitchFamily="34" charset="-122"/>
                <a:ea typeface="微软雅黑" panose="020B0503020204020204" pitchFamily="34" charset="-122"/>
              </a:rPr>
              <a:t>项目时间表</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6</a:t>
            </a:fld>
            <a:endParaRPr lang="sv-SE">
              <a:latin typeface="微软雅黑" panose="020B0503020204020204" pitchFamily="34" charset="-122"/>
              <a:ea typeface="微软雅黑" panose="020B0503020204020204" pitchFamily="34" charset="-122"/>
            </a:endParaRPr>
          </a:p>
        </p:txBody>
      </p:sp>
      <p:graphicFrame>
        <p:nvGraphicFramePr>
          <p:cNvPr id="9" name="Group 71"/>
          <p:cNvGraphicFramePr>
            <a:graphicFrameLocks noGrp="1"/>
          </p:cNvGraphicFramePr>
          <p:nvPr>
            <p:ph sz="half" idx="4294967295"/>
            <p:extLst>
              <p:ext uri="{D42A27DB-BD31-4B8C-83A1-F6EECF244321}">
                <p14:modId xmlns:p14="http://schemas.microsoft.com/office/powerpoint/2010/main" val="3478727692"/>
              </p:ext>
            </p:extLst>
          </p:nvPr>
        </p:nvGraphicFramePr>
        <p:xfrm>
          <a:off x="360364" y="1387366"/>
          <a:ext cx="8306176" cy="3337678"/>
        </p:xfrm>
        <a:graphic>
          <a:graphicData uri="http://schemas.openxmlformats.org/drawingml/2006/table">
            <a:tbl>
              <a:tblPr/>
              <a:tblGrid>
                <a:gridCol w="4152181">
                  <a:extLst>
                    <a:ext uri="{9D8B030D-6E8A-4147-A177-3AD203B41FA5}">
                      <a16:colId xmlns:a16="http://schemas.microsoft.com/office/drawing/2014/main" val="20000"/>
                    </a:ext>
                  </a:extLst>
                </a:gridCol>
                <a:gridCol w="4153995">
                  <a:extLst>
                    <a:ext uri="{9D8B030D-6E8A-4147-A177-3AD203B41FA5}">
                      <a16:colId xmlns:a16="http://schemas.microsoft.com/office/drawing/2014/main" val="20001"/>
                    </a:ext>
                  </a:extLst>
                </a:gridCol>
              </a:tblGrid>
              <a:tr h="32924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项目</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申请公司建议时间表</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36996">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预计签署备忘录时间</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N</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7984">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土地获得</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2795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沃尔沃汽车经销商注册完成</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2924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建筑深化设计完成</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2795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装修深化设计完成</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2924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开工日</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29249">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0.00</a:t>
                      </a: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完成</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331831">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结构封顶</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327957">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验收通过并开业</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23804395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ln>
            <a:solidFill>
              <a:schemeClr val="tx1">
                <a:lumMod val="50000"/>
                <a:lumOff val="50000"/>
              </a:schemeClr>
            </a:solidFill>
            <a:prstDash val="solid"/>
          </a:ln>
        </p:spPr>
        <p:txBody>
          <a:bodyPr wrap="square"/>
          <a:lstStyle/>
          <a:p>
            <a:r>
              <a:rPr lang="zh-CN" altLang="en-US" dirty="0">
                <a:latin typeface="微软雅黑" panose="020B0503020204020204" pitchFamily="34" charset="-122"/>
                <a:ea typeface="微软雅黑" panose="020B0503020204020204" pitchFamily="34" charset="-122"/>
              </a:rPr>
              <a:t>优势</a:t>
            </a:r>
            <a:r>
              <a:rPr lang="en-US" altLang="zh-CN" dirty="0">
                <a:latin typeface="微软雅黑" panose="020B0503020204020204" pitchFamily="34" charset="-122"/>
                <a:ea typeface="微软雅黑" panose="020B0503020204020204" pitchFamily="34" charset="-122"/>
              </a:rPr>
              <a:t>:</a:t>
            </a:r>
          </a:p>
          <a:p>
            <a:pPr lvl="1"/>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a:p>
            <a:r>
              <a:rPr lang="zh-CN" altLang="en-US" dirty="0">
                <a:latin typeface="微软雅黑" panose="020B0503020204020204" pitchFamily="34" charset="-122"/>
                <a:ea typeface="微软雅黑" panose="020B0503020204020204" pitchFamily="34" charset="-122"/>
              </a:rPr>
              <a:t>劣势</a:t>
            </a:r>
            <a:r>
              <a:rPr lang="en-US" altLang="zh-CN" dirty="0">
                <a:latin typeface="微软雅黑" panose="020B0503020204020204" pitchFamily="34" charset="-122"/>
                <a:ea typeface="微软雅黑" panose="020B0503020204020204" pitchFamily="34" charset="-122"/>
              </a:rPr>
              <a:t>:</a:t>
            </a:r>
          </a:p>
          <a:p>
            <a:pPr lvl="1"/>
            <a:endParaRPr lang="en-US" altLang="zh-CN" dirty="0">
              <a:latin typeface="微软雅黑" panose="020B0503020204020204" pitchFamily="34" charset="-122"/>
              <a:ea typeface="微软雅黑" panose="020B0503020204020204" pitchFamily="34" charset="-122"/>
            </a:endParaRPr>
          </a:p>
          <a:p>
            <a:endParaRPr lang="en-US" altLang="zh-CN"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kumimoji="1" lang="en-US" altLang="zh-CN" b="1" dirty="0">
                <a:latin typeface="微软雅黑" panose="020B0503020204020204" pitchFamily="34" charset="-122"/>
                <a:ea typeface="微软雅黑" panose="020B0503020204020204" pitchFamily="34" charset="-122"/>
              </a:rPr>
              <a:t>4S</a:t>
            </a:r>
            <a:r>
              <a:rPr kumimoji="1" lang="zh-CN" altLang="en-US" b="1" dirty="0">
                <a:latin typeface="微软雅黑" panose="020B0503020204020204" pitchFamily="34" charset="-122"/>
                <a:ea typeface="微软雅黑" panose="020B0503020204020204" pitchFamily="34" charset="-122"/>
              </a:rPr>
              <a:t>店场地方案总结</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7</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7663039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158"/>
          <p:cNvGraphicFramePr>
            <a:graphicFrameLocks noGrp="1"/>
          </p:cNvGraphicFramePr>
          <p:nvPr>
            <p:ph sz="half" idx="4294967295"/>
            <p:extLst>
              <p:ext uri="{D42A27DB-BD31-4B8C-83A1-F6EECF244321}">
                <p14:modId xmlns:p14="http://schemas.microsoft.com/office/powerpoint/2010/main" val="3851619252"/>
              </p:ext>
            </p:extLst>
          </p:nvPr>
        </p:nvGraphicFramePr>
        <p:xfrm>
          <a:off x="360363" y="1594375"/>
          <a:ext cx="8306176" cy="2868295"/>
        </p:xfrm>
        <a:graphic>
          <a:graphicData uri="http://schemas.openxmlformats.org/drawingml/2006/table">
            <a:tbl>
              <a:tblPr/>
              <a:tblGrid>
                <a:gridCol w="1823702">
                  <a:extLst>
                    <a:ext uri="{9D8B030D-6E8A-4147-A177-3AD203B41FA5}">
                      <a16:colId xmlns:a16="http://schemas.microsoft.com/office/drawing/2014/main" val="20000"/>
                    </a:ext>
                  </a:extLst>
                </a:gridCol>
                <a:gridCol w="1282855">
                  <a:extLst>
                    <a:ext uri="{9D8B030D-6E8A-4147-A177-3AD203B41FA5}">
                      <a16:colId xmlns:a16="http://schemas.microsoft.com/office/drawing/2014/main" val="20001"/>
                    </a:ext>
                  </a:extLst>
                </a:gridCol>
                <a:gridCol w="1373897">
                  <a:extLst>
                    <a:ext uri="{9D8B030D-6E8A-4147-A177-3AD203B41FA5}">
                      <a16:colId xmlns:a16="http://schemas.microsoft.com/office/drawing/2014/main" val="20002"/>
                    </a:ext>
                  </a:extLst>
                </a:gridCol>
                <a:gridCol w="1248873">
                  <a:extLst>
                    <a:ext uri="{9D8B030D-6E8A-4147-A177-3AD203B41FA5}">
                      <a16:colId xmlns:a16="http://schemas.microsoft.com/office/drawing/2014/main" val="20003"/>
                    </a:ext>
                  </a:extLst>
                </a:gridCol>
                <a:gridCol w="1324611">
                  <a:extLst>
                    <a:ext uri="{9D8B030D-6E8A-4147-A177-3AD203B41FA5}">
                      <a16:colId xmlns:a16="http://schemas.microsoft.com/office/drawing/2014/main" val="20004"/>
                    </a:ext>
                  </a:extLst>
                </a:gridCol>
                <a:gridCol w="1252238">
                  <a:extLst>
                    <a:ext uri="{9D8B030D-6E8A-4147-A177-3AD203B41FA5}">
                      <a16:colId xmlns:a16="http://schemas.microsoft.com/office/drawing/2014/main" val="20005"/>
                    </a:ext>
                  </a:extLst>
                </a:gridCol>
              </a:tblGrid>
              <a:tr h="227315">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所在城市：</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第一年*</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二年</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三年</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四年</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五年</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30685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598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V40</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61849">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V60</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25775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S60</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25775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S90L</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25980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XC40</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2598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XC60</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25775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XC90</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2598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合计销量</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2598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沃尔沃市占率*</a:t>
                      </a: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anchorCtr="1"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bl>
          </a:graphicData>
        </a:graphic>
      </p:graphicFrame>
      <p:sp>
        <p:nvSpPr>
          <p:cNvPr id="2" name="Text Placeholder 1"/>
          <p:cNvSpPr>
            <a:spLocks noGrp="1"/>
          </p:cNvSpPr>
          <p:nvPr>
            <p:ph type="body" sz="quarter" idx="36"/>
          </p:nvPr>
        </p:nvSpPr>
        <p:spPr>
          <a:xfrm>
            <a:off x="360364" y="1296691"/>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销售预测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沃尔沃汽车销量计划</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8</a:t>
            </a:fld>
            <a:endParaRPr lang="sv-SE">
              <a:latin typeface="微软雅黑" panose="020B0503020204020204" pitchFamily="34" charset="-122"/>
              <a:ea typeface="微软雅黑" panose="020B0503020204020204" pitchFamily="34" charset="-122"/>
            </a:endParaRPr>
          </a:p>
        </p:txBody>
      </p:sp>
      <p:sp>
        <p:nvSpPr>
          <p:cNvPr id="12" name="Text Box 145"/>
          <p:cNvSpPr txBox="1">
            <a:spLocks noChangeArrowheads="1"/>
          </p:cNvSpPr>
          <p:nvPr/>
        </p:nvSpPr>
        <p:spPr bwMode="auto">
          <a:xfrm>
            <a:off x="444122" y="4462671"/>
            <a:ext cx="3565832" cy="4563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23" tIns="43112" rIns="86223" bIns="43112">
            <a:spAutoFit/>
          </a:bodyPr>
          <a:lstStyle>
            <a:lvl1pPr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r>
              <a:rPr lang="zh-CN" altLang="en-US" sz="1200" dirty="0">
                <a:solidFill>
                  <a:srgbClr val="FF0000"/>
                </a:solidFill>
                <a:latin typeface="微软雅黑" panose="020B0503020204020204" pitchFamily="34" charset="-122"/>
                <a:ea typeface="微软雅黑" panose="020B0503020204020204" pitchFamily="34" charset="-122"/>
              </a:rPr>
              <a:t>*市占率分母请参考上一页所列品牌</a:t>
            </a:r>
            <a:endParaRPr lang="en-US" altLang="zh-CN" sz="1200" dirty="0">
              <a:solidFill>
                <a:srgbClr val="FF0000"/>
              </a:solidFill>
              <a:latin typeface="微软雅黑" panose="020B0503020204020204" pitchFamily="34" charset="-122"/>
              <a:ea typeface="微软雅黑" panose="020B0503020204020204" pitchFamily="34" charset="-122"/>
            </a:endParaRPr>
          </a:p>
          <a:p>
            <a:pPr eaLnBrk="1" hangingPunct="1"/>
            <a:r>
              <a:rPr lang="zh-CN" altLang="en-US" sz="1200" dirty="0">
                <a:solidFill>
                  <a:srgbClr val="FF0000"/>
                </a:solidFill>
                <a:latin typeface="微软雅黑" panose="020B0503020204020204" pitchFamily="34" charset="-122"/>
                <a:ea typeface="微软雅黑" panose="020B0503020204020204" pitchFamily="34" charset="-122"/>
              </a:rPr>
              <a:t>*第一年指开业后</a:t>
            </a:r>
            <a:r>
              <a:rPr lang="en-US" altLang="zh-CN" sz="1200" dirty="0">
                <a:solidFill>
                  <a:srgbClr val="FF0000"/>
                </a:solidFill>
                <a:latin typeface="微软雅黑" panose="020B0503020204020204" pitchFamily="34" charset="-122"/>
                <a:ea typeface="微软雅黑" panose="020B0503020204020204" pitchFamily="34" charset="-122"/>
              </a:rPr>
              <a:t>12</a:t>
            </a:r>
            <a:r>
              <a:rPr lang="zh-CN" altLang="en-US" sz="1200" dirty="0">
                <a:solidFill>
                  <a:srgbClr val="FF0000"/>
                </a:solidFill>
                <a:latin typeface="微软雅黑" panose="020B0503020204020204" pitchFamily="34" charset="-122"/>
                <a:ea typeface="微软雅黑" panose="020B0503020204020204" pitchFamily="34" charset="-122"/>
              </a:rPr>
              <a:t>个月的累计销量</a:t>
            </a:r>
          </a:p>
        </p:txBody>
      </p:sp>
    </p:spTree>
    <p:extLst>
      <p:ext uri="{BB962C8B-B14F-4D97-AF65-F5344CB8AC3E}">
        <p14:creationId xmlns:p14="http://schemas.microsoft.com/office/powerpoint/2010/main" val="33319507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467568" y="1296691"/>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维修业务预测及依据</a:t>
            </a:r>
            <a:endParaRPr lang="en-US" altLang="zh-CN"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endParaRPr lang="en-US" dirty="0">
              <a:latin typeface="微软雅黑" panose="020B0503020204020204" pitchFamily="34" charset="-122"/>
              <a:ea typeface="微软雅黑" panose="020B0503020204020204" pitchFamily="34" charset="-122"/>
            </a:endParaRPr>
          </a:p>
          <a:p>
            <a:pPr marL="0" indent="0">
              <a:buNone/>
            </a:pPr>
            <a:r>
              <a:rPr lang="zh-CN" altLang="en-US" dirty="0">
                <a:latin typeface="微软雅黑" panose="020B0503020204020204" pitchFamily="34" charset="-122"/>
                <a:ea typeface="微软雅黑" panose="020B0503020204020204" pitchFamily="34" charset="-122"/>
              </a:rPr>
              <a:t>请描述维修台次预测方法</a:t>
            </a:r>
            <a:endParaRPr lang="en-GB" dirty="0">
              <a:latin typeface="微软雅黑" panose="020B0503020204020204" pitchFamily="34" charset="-122"/>
              <a:ea typeface="微软雅黑" panose="020B0503020204020204" pitchFamily="34" charset="-122"/>
            </a:endParaRPr>
          </a:p>
        </p:txBody>
      </p:sp>
      <p:graphicFrame>
        <p:nvGraphicFramePr>
          <p:cNvPr id="9" name="Group 55"/>
          <p:cNvGraphicFramePr>
            <a:graphicFrameLocks noGrp="1"/>
          </p:cNvGraphicFramePr>
          <p:nvPr>
            <p:ph sz="half" idx="4294967295"/>
            <p:extLst>
              <p:ext uri="{D42A27DB-BD31-4B8C-83A1-F6EECF244321}">
                <p14:modId xmlns:p14="http://schemas.microsoft.com/office/powerpoint/2010/main" val="3262340939"/>
              </p:ext>
            </p:extLst>
          </p:nvPr>
        </p:nvGraphicFramePr>
        <p:xfrm>
          <a:off x="467567" y="1758976"/>
          <a:ext cx="8212039" cy="1007579"/>
        </p:xfrm>
        <a:graphic>
          <a:graphicData uri="http://schemas.openxmlformats.org/drawingml/2006/table">
            <a:tbl>
              <a:tblPr/>
              <a:tblGrid>
                <a:gridCol w="2056932">
                  <a:extLst>
                    <a:ext uri="{9D8B030D-6E8A-4147-A177-3AD203B41FA5}">
                      <a16:colId xmlns:a16="http://schemas.microsoft.com/office/drawing/2014/main" val="20000"/>
                    </a:ext>
                  </a:extLst>
                </a:gridCol>
                <a:gridCol w="1227186">
                  <a:extLst>
                    <a:ext uri="{9D8B030D-6E8A-4147-A177-3AD203B41FA5}">
                      <a16:colId xmlns:a16="http://schemas.microsoft.com/office/drawing/2014/main" val="20001"/>
                    </a:ext>
                  </a:extLst>
                </a:gridCol>
                <a:gridCol w="1234159">
                  <a:extLst>
                    <a:ext uri="{9D8B030D-6E8A-4147-A177-3AD203B41FA5}">
                      <a16:colId xmlns:a16="http://schemas.microsoft.com/office/drawing/2014/main" val="20002"/>
                    </a:ext>
                  </a:extLst>
                </a:gridCol>
                <a:gridCol w="1228930">
                  <a:extLst>
                    <a:ext uri="{9D8B030D-6E8A-4147-A177-3AD203B41FA5}">
                      <a16:colId xmlns:a16="http://schemas.microsoft.com/office/drawing/2014/main" val="20003"/>
                    </a:ext>
                  </a:extLst>
                </a:gridCol>
                <a:gridCol w="1234159">
                  <a:extLst>
                    <a:ext uri="{9D8B030D-6E8A-4147-A177-3AD203B41FA5}">
                      <a16:colId xmlns:a16="http://schemas.microsoft.com/office/drawing/2014/main" val="20004"/>
                    </a:ext>
                  </a:extLst>
                </a:gridCol>
                <a:gridCol w="1230673">
                  <a:extLst>
                    <a:ext uri="{9D8B030D-6E8A-4147-A177-3AD203B41FA5}">
                      <a16:colId xmlns:a16="http://schemas.microsoft.com/office/drawing/2014/main" val="20005"/>
                    </a:ext>
                  </a:extLst>
                </a:gridCol>
              </a:tblGrid>
              <a:tr h="34140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第一年</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icrosoft YaHei" panose="020B0503020204020204" pitchFamily="34" charset="-122"/>
                          <a:ea typeface="Microsoft YaHei" panose="020B0503020204020204" pitchFamily="34" charset="-122"/>
                          <a:cs typeface="Arial" panose="020B0604020202020204" pitchFamily="34" charset="0"/>
                        </a:rPr>
                        <a:t>第二年</a:t>
                      </a:r>
                      <a:endParaRPr kumimoji="0" lang="en-US" altLang="zh-CN"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rgbClr val="000000"/>
                          </a:solidFill>
                          <a:effectLst/>
                          <a:latin typeface="Microsoft YaHei" panose="020B0503020204020204" pitchFamily="34" charset="-122"/>
                          <a:ea typeface="Microsoft YaHei" panose="020B0503020204020204" pitchFamily="34" charset="-122"/>
                          <a:cs typeface="Arial" panose="020B0604020202020204" pitchFamily="34" charset="0"/>
                        </a:rPr>
                        <a:t>第三年</a:t>
                      </a:r>
                      <a:endParaRPr kumimoji="0" lang="en-US" altLang="zh-CN"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rgbClr val="000000"/>
                          </a:solidFill>
                          <a:effectLst/>
                          <a:latin typeface="Microsoft YaHei" panose="020B0503020204020204" pitchFamily="34" charset="-122"/>
                          <a:ea typeface="Microsoft YaHei" panose="020B0503020204020204" pitchFamily="34" charset="-122"/>
                          <a:cs typeface="Arial" panose="020B0604020202020204" pitchFamily="34" charset="0"/>
                        </a:rPr>
                        <a:t>第四年</a:t>
                      </a:r>
                      <a:endParaRPr kumimoji="0" lang="en-US" altLang="zh-CN" sz="1400" b="0" i="0" u="none" strike="noStrike" cap="none" normalizeH="0" baseline="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rgbClr val="000000"/>
                          </a:solidFill>
                          <a:effectLst/>
                          <a:latin typeface="Microsoft YaHei" panose="020B0503020204020204" pitchFamily="34" charset="-122"/>
                          <a:ea typeface="Microsoft YaHei" panose="020B0503020204020204" pitchFamily="34" charset="-122"/>
                          <a:cs typeface="Arial" panose="020B0604020202020204" pitchFamily="34" charset="0"/>
                        </a:rPr>
                        <a:t>第五年</a:t>
                      </a:r>
                      <a:endParaRPr kumimoji="0" lang="en-US" altLang="zh-CN" sz="1400" b="0" i="0" u="none" strike="noStrike" cap="none" normalizeH="0" baseline="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33711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维修台次</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　</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32906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rPr>
                        <a:t>维修收入</a:t>
                      </a: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Microsoft YaHei" panose="020B0503020204020204" pitchFamily="34" charset="-122"/>
                        <a:ea typeface="Microsoft YaHei" panose="020B0503020204020204" pitchFamily="34" charset="-122"/>
                        <a:cs typeface="Arial" panose="020B0604020202020204" pitchFamily="34" charset="0"/>
                      </a:endParaRPr>
                    </a:p>
                  </a:txBody>
                  <a:tcPr marL="82321" marR="82321" marT="41049" marB="41049"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bl>
          </a:graphicData>
        </a:graphic>
      </p:graphicFrame>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49</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14310468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标题 1"/>
          <p:cNvSpPr>
            <a:spLocks noGrp="1"/>
          </p:cNvSpPr>
          <p:nvPr>
            <p:ph type="title"/>
          </p:nvPr>
        </p:nvSpPr>
        <p:spPr/>
        <p:txBody>
          <a:bodyPr vert="horz" wrap="none" lIns="0" tIns="0" rIns="0" bIns="0" rtlCol="0" anchor="b">
            <a:noAutofit/>
          </a:bodyPr>
          <a:lstStyle/>
          <a:p>
            <a:r>
              <a:rPr lang="zh-CN" altLang="en-US" b="1" dirty="0">
                <a:latin typeface="微软雅黑" panose="020B0503020204020204" pitchFamily="34" charset="-122"/>
                <a:ea typeface="微软雅黑" panose="020B0503020204020204" pitchFamily="34" charset="-122"/>
              </a:rPr>
              <a:t>申请公司介绍</a:t>
            </a:r>
          </a:p>
        </p:txBody>
      </p:sp>
      <p:sp>
        <p:nvSpPr>
          <p:cNvPr id="2" name="Slide Number Placeholder 1"/>
          <p:cNvSpPr>
            <a:spLocks noGrp="1"/>
          </p:cNvSpPr>
          <p:nvPr>
            <p:ph type="sldNum" sz="quarter" idx="4"/>
          </p:nvPr>
        </p:nvSpPr>
        <p:spPr/>
        <p:txBody>
          <a:bodyPr/>
          <a:lstStyle/>
          <a:p>
            <a:pPr>
              <a:defRPr/>
            </a:pPr>
            <a:fld id="{BD76B1A4-37F8-4620-8D40-7019C87C5F67}" type="slidenum">
              <a:rPr lang="en-GB" altLang="zh-CN" smtClean="0">
                <a:latin typeface="微软雅黑" panose="020B0503020204020204" pitchFamily="34" charset="-122"/>
                <a:ea typeface="微软雅黑" panose="020B0503020204020204" pitchFamily="34" charset="-122"/>
              </a:rPr>
              <a:pPr>
                <a:defRPr/>
              </a:pPr>
              <a:t>5</a:t>
            </a:fld>
            <a:endParaRPr lang="en-GB" altLang="zh-CN" dirty="0">
              <a:latin typeface="微软雅黑" panose="020B0503020204020204" pitchFamily="34" charset="-122"/>
              <a:ea typeface="微软雅黑" panose="020B0503020204020204" pitchFamily="34" charset="-122"/>
            </a:endParaRPr>
          </a:p>
        </p:txBody>
      </p:sp>
      <p:graphicFrame>
        <p:nvGraphicFramePr>
          <p:cNvPr id="271396" name="Group 36"/>
          <p:cNvGraphicFramePr>
            <a:graphicFrameLocks noGrp="1"/>
          </p:cNvGraphicFramePr>
          <p:nvPr>
            <p:extLst>
              <p:ext uri="{D42A27DB-BD31-4B8C-83A1-F6EECF244321}">
                <p14:modId xmlns:p14="http://schemas.microsoft.com/office/powerpoint/2010/main" val="2815567555"/>
              </p:ext>
            </p:extLst>
          </p:nvPr>
        </p:nvGraphicFramePr>
        <p:xfrm>
          <a:off x="453916" y="1282400"/>
          <a:ext cx="8242344" cy="3516623"/>
        </p:xfrm>
        <a:graphic>
          <a:graphicData uri="http://schemas.openxmlformats.org/drawingml/2006/table">
            <a:tbl>
              <a:tblPr/>
              <a:tblGrid>
                <a:gridCol w="2965164">
                  <a:extLst>
                    <a:ext uri="{9D8B030D-6E8A-4147-A177-3AD203B41FA5}">
                      <a16:colId xmlns:a16="http://schemas.microsoft.com/office/drawing/2014/main" val="20000"/>
                    </a:ext>
                  </a:extLst>
                </a:gridCol>
                <a:gridCol w="1319295">
                  <a:extLst>
                    <a:ext uri="{9D8B030D-6E8A-4147-A177-3AD203B41FA5}">
                      <a16:colId xmlns:a16="http://schemas.microsoft.com/office/drawing/2014/main" val="20001"/>
                    </a:ext>
                  </a:extLst>
                </a:gridCol>
                <a:gridCol w="1319295">
                  <a:extLst>
                    <a:ext uri="{9D8B030D-6E8A-4147-A177-3AD203B41FA5}">
                      <a16:colId xmlns:a16="http://schemas.microsoft.com/office/drawing/2014/main" val="20002"/>
                    </a:ext>
                  </a:extLst>
                </a:gridCol>
                <a:gridCol w="1319295">
                  <a:extLst>
                    <a:ext uri="{9D8B030D-6E8A-4147-A177-3AD203B41FA5}">
                      <a16:colId xmlns:a16="http://schemas.microsoft.com/office/drawing/2014/main" val="20003"/>
                    </a:ext>
                  </a:extLst>
                </a:gridCol>
                <a:gridCol w="1319295">
                  <a:extLst>
                    <a:ext uri="{9D8B030D-6E8A-4147-A177-3AD203B41FA5}">
                      <a16:colId xmlns:a16="http://schemas.microsoft.com/office/drawing/2014/main" val="20004"/>
                    </a:ext>
                  </a:extLst>
                </a:gridCol>
              </a:tblGrid>
              <a:tr h="357207">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r>
                        <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公司名称</a:t>
                      </a: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en-US" altLang="zh-CN" sz="1400" b="1"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357207">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注册时间</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2003</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年</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9</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月</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630591">
                <a:tc>
                  <a:txBody>
                    <a:bodyPr/>
                    <a:lstStyle/>
                    <a:p>
                      <a:pPr marL="0" marR="0" lvl="0" indent="0" algn="ctr" defTabSz="914400" rtl="0" eaLnBrk="0" fontAlgn="base" latinLnBrk="0" hangingPunct="0">
                        <a:lnSpc>
                          <a:spcPct val="100000"/>
                        </a:lnSpc>
                        <a:spcBef>
                          <a:spcPct val="20000"/>
                        </a:spcBef>
                        <a:spcAft>
                          <a:spcPct val="0"/>
                        </a:spcAft>
                        <a:buClrTx/>
                        <a:buSzTx/>
                        <a:buFont typeface="Wingdings" pitchFamily="2" charset="2"/>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企业类型</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ctr" defTabSz="914400" rtl="0" eaLnBrk="0" fontAlgn="base" latinLnBrk="0" hangingPunct="0">
                        <a:lnSpc>
                          <a:spcPct val="100000"/>
                        </a:lnSpc>
                        <a:spcBef>
                          <a:spcPct val="20000"/>
                        </a:spcBef>
                        <a:spcAft>
                          <a:spcPct val="0"/>
                        </a:spcAft>
                        <a:buClrTx/>
                        <a:buSzTx/>
                        <a:buFont typeface="Wingdings" pitchFamily="2" charset="2"/>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私营</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国营</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独资</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合资</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上市公司</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a:t>
                      </a: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2"/>
                  </a:ext>
                </a:extLst>
              </a:tr>
              <a:tr h="607298">
                <a:tc>
                  <a:txBody>
                    <a:bodyPr/>
                    <a:lstStyle/>
                    <a:p>
                      <a:pPr marL="0" marR="0" lvl="0" indent="0" algn="ctr" defTabSz="914400" rtl="0" eaLnBrk="0" fontAlgn="base" latinLnBrk="0" hangingPunct="0">
                        <a:lnSpc>
                          <a:spcPct val="100000"/>
                        </a:lnSpc>
                        <a:spcBef>
                          <a:spcPct val="20000"/>
                        </a:spcBef>
                        <a:spcAft>
                          <a:spcPct val="0"/>
                        </a:spcAft>
                        <a:buClrTx/>
                        <a:buSzTx/>
                        <a:buFont typeface="Wingdings" pitchFamily="2" charset="2"/>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经销商数量</a:t>
                      </a: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4">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defRPr/>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86 </a:t>
                      </a:r>
                    </a:p>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defRPr/>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84</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4S</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店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2</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独立展厅</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0</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独立维修中心</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3"/>
                  </a:ext>
                </a:extLst>
              </a:tr>
              <a:tr h="357207">
                <a:tc>
                  <a:txBody>
                    <a:bodyPr/>
                    <a:lstStyle/>
                    <a:p>
                      <a:pPr marL="0" marR="0" lvl="0" indent="0" algn="ctr" defTabSz="914400" rtl="0" eaLnBrk="0" fontAlgn="base" latinLnBrk="0" hangingPunct="0">
                        <a:lnSpc>
                          <a:spcPct val="100000"/>
                        </a:lnSpc>
                        <a:spcBef>
                          <a:spcPct val="20000"/>
                        </a:spcBef>
                        <a:spcAft>
                          <a:spcPct val="0"/>
                        </a:spcAft>
                        <a:buClrTx/>
                        <a:buSzTx/>
                        <a:buFont typeface="Wingdings" pitchFamily="2" charset="2"/>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简介</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4">
                  <a:txBody>
                    <a:bodyPr/>
                    <a:lstStyle/>
                    <a:p>
                      <a:pPr marL="0" marR="0" lvl="0" indent="0" algn="l"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ctr"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4"/>
                  </a:ext>
                </a:extLst>
              </a:tr>
              <a:tr h="607298">
                <a:tc rowSpan="2">
                  <a:txBody>
                    <a:bodyPr/>
                    <a:lstStyle/>
                    <a:p>
                      <a:pPr marL="0" marR="0" lvl="0" indent="0" algn="ctr" defTabSz="914400" rtl="0" eaLnBrk="0" fontAlgn="base" latinLnBrk="0" hangingPunct="0">
                        <a:lnSpc>
                          <a:spcPct val="100000"/>
                        </a:lnSpc>
                        <a:spcBef>
                          <a:spcPct val="20000"/>
                        </a:spcBef>
                        <a:spcAft>
                          <a:spcPct val="0"/>
                        </a:spcAft>
                        <a:buClrTx/>
                        <a:buSzTx/>
                        <a:buFont typeface="Wingdings" pitchFamily="2" charset="2"/>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品牌</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80" marR="91380" marT="34292" marB="34292" anchor="ctr" horzOverflow="overflow">
                    <a:lnL w="12700"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rPr>
                        <a:t>1</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dash"/>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dash"/>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dash"/>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dash"/>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599815">
                <a:tc vMerge="1">
                  <a:txBody>
                    <a:bodyPr/>
                    <a:lstStyle/>
                    <a:p>
                      <a:endParaRPr lang="en-GB"/>
                    </a:p>
                  </a:txBody>
                  <a:tcPr>
                    <a:lnT w="12700" cap="flat" cmpd="sng" algn="ctr">
                      <a:solidFill>
                        <a:schemeClr val="tx1">
                          <a:lumMod val="50000"/>
                          <a:lumOff val="50000"/>
                        </a:schemeClr>
                      </a:solidFill>
                      <a:prstDash val="solid"/>
                      <a:round/>
                      <a:headEnd type="none" w="med" len="med"/>
                      <a:tailEnd type="none" w="med" len="med"/>
                    </a:lnT>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dash"/>
                      <a:round/>
                      <a:headEnd type="none" w="med" len="med"/>
                      <a:tailEnd type="none" w="med" len="med"/>
                    </a:lnR>
                    <a:lnT w="9525"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ctr" latinLnBrk="0" hangingPunct="0">
                        <a:lnSpc>
                          <a:spcPct val="100000"/>
                        </a:lnSpc>
                        <a:spcBef>
                          <a:spcPct val="0"/>
                        </a:spcBef>
                        <a:spcAft>
                          <a:spcPct val="0"/>
                        </a:spcAft>
                        <a:buClrTx/>
                        <a:buSzTx/>
                        <a:buFont typeface="Wingdings" pitchFamily="2" charset="2"/>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itchFamily="34" charset="0"/>
                      </a:endParaRPr>
                    </a:p>
                  </a:txBody>
                  <a:tcPr marL="91391" marR="91391" marT="45692" marB="45692" anchor="b" horzOverflow="overflow">
                    <a:lnL w="9525" cap="flat" cmpd="sng" algn="ctr">
                      <a:solidFill>
                        <a:schemeClr val="tx1">
                          <a:lumMod val="50000"/>
                          <a:lumOff val="50000"/>
                        </a:schemeClr>
                      </a:solidFill>
                      <a:prstDash val="dash"/>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dash"/>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bl>
          </a:graphicData>
        </a:graphic>
      </p:graphicFrame>
      <p:pic>
        <p:nvPicPr>
          <p:cNvPr id="4" name="Picture 3">
            <a:extLst>
              <a:ext uri="{FF2B5EF4-FFF2-40B4-BE49-F238E27FC236}">
                <a16:creationId xmlns:a16="http://schemas.microsoft.com/office/drawing/2014/main" id="{C9108CBE-D801-4FE8-9EF1-E7F189426F33}"/>
              </a:ext>
            </a:extLst>
          </p:cNvPr>
          <p:cNvPicPr>
            <a:picLocks noChangeAspect="1"/>
          </p:cNvPicPr>
          <p:nvPr/>
        </p:nvPicPr>
        <p:blipFill>
          <a:blip r:embed="rId3"/>
          <a:stretch>
            <a:fillRect/>
          </a:stretch>
        </p:blipFill>
        <p:spPr>
          <a:xfrm>
            <a:off x="3911763" y="3621783"/>
            <a:ext cx="344928" cy="344928"/>
          </a:xfrm>
          <a:prstGeom prst="rect">
            <a:avLst/>
          </a:prstGeom>
        </p:spPr>
      </p:pic>
    </p:spTree>
    <p:extLst>
      <p:ext uri="{BB962C8B-B14F-4D97-AF65-F5344CB8AC3E}">
        <p14:creationId xmlns:p14="http://schemas.microsoft.com/office/powerpoint/2010/main" val="33606330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2A0F4B1-6670-4778-88AC-75CDBB883D8E}"/>
              </a:ext>
            </a:extLst>
          </p:cNvPr>
          <p:cNvSpPr>
            <a:spLocks noGrp="1"/>
          </p:cNvSpPr>
          <p:nvPr>
            <p:ph type="body" sz="quarter" idx="36"/>
          </p:nvPr>
        </p:nvSpPr>
        <p:spPr/>
        <p:txBody>
          <a:bodyPr/>
          <a:lstStyle/>
          <a:p>
            <a:endParaRPr lang="zh-CN" altLang="en-US"/>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投资回报分析  </a:t>
            </a:r>
            <a:r>
              <a:rPr lang="en-US" altLang="zh-CN" b="1" dirty="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参照如下格式分析</a:t>
            </a:r>
            <a:r>
              <a:rPr lang="en-US" altLang="zh-CN" b="1" dirty="0">
                <a:latin typeface="微软雅黑" panose="020B0503020204020204" pitchFamily="34" charset="-122"/>
                <a:ea typeface="微软雅黑" panose="020B0503020204020204" pitchFamily="34" charset="-122"/>
              </a:rPr>
              <a:t>)</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0</a:t>
            </a:fld>
            <a:endParaRPr lang="sv-SE">
              <a:latin typeface="微软雅黑" panose="020B0503020204020204" pitchFamily="34" charset="-122"/>
              <a:ea typeface="微软雅黑" panose="020B0503020204020204" pitchFamily="34" charset="-122"/>
            </a:endParaRPr>
          </a:p>
        </p:txBody>
      </p:sp>
      <p:graphicFrame>
        <p:nvGraphicFramePr>
          <p:cNvPr id="10" name="Group 201"/>
          <p:cNvGraphicFramePr>
            <a:graphicFrameLocks noGrp="1"/>
          </p:cNvGraphicFramePr>
          <p:nvPr>
            <p:extLst>
              <p:ext uri="{D42A27DB-BD31-4B8C-83A1-F6EECF244321}">
                <p14:modId xmlns:p14="http://schemas.microsoft.com/office/powerpoint/2010/main" val="3655814154"/>
              </p:ext>
            </p:extLst>
          </p:nvPr>
        </p:nvGraphicFramePr>
        <p:xfrm>
          <a:off x="360363" y="1215707"/>
          <a:ext cx="8389935" cy="3616129"/>
        </p:xfrm>
        <a:graphic>
          <a:graphicData uri="http://schemas.openxmlformats.org/drawingml/2006/table">
            <a:tbl>
              <a:tblPr/>
              <a:tblGrid>
                <a:gridCol w="309031">
                  <a:extLst>
                    <a:ext uri="{9D8B030D-6E8A-4147-A177-3AD203B41FA5}">
                      <a16:colId xmlns:a16="http://schemas.microsoft.com/office/drawing/2014/main" val="20000"/>
                    </a:ext>
                  </a:extLst>
                </a:gridCol>
                <a:gridCol w="2166836">
                  <a:extLst>
                    <a:ext uri="{9D8B030D-6E8A-4147-A177-3AD203B41FA5}">
                      <a16:colId xmlns:a16="http://schemas.microsoft.com/office/drawing/2014/main" val="20001"/>
                    </a:ext>
                  </a:extLst>
                </a:gridCol>
                <a:gridCol w="667978">
                  <a:extLst>
                    <a:ext uri="{9D8B030D-6E8A-4147-A177-3AD203B41FA5}">
                      <a16:colId xmlns:a16="http://schemas.microsoft.com/office/drawing/2014/main" val="20002"/>
                    </a:ext>
                  </a:extLst>
                </a:gridCol>
                <a:gridCol w="718801">
                  <a:extLst>
                    <a:ext uri="{9D8B030D-6E8A-4147-A177-3AD203B41FA5}">
                      <a16:colId xmlns:a16="http://schemas.microsoft.com/office/drawing/2014/main" val="20003"/>
                    </a:ext>
                  </a:extLst>
                </a:gridCol>
                <a:gridCol w="697018">
                  <a:extLst>
                    <a:ext uri="{9D8B030D-6E8A-4147-A177-3AD203B41FA5}">
                      <a16:colId xmlns:a16="http://schemas.microsoft.com/office/drawing/2014/main" val="20004"/>
                    </a:ext>
                  </a:extLst>
                </a:gridCol>
                <a:gridCol w="711541">
                  <a:extLst>
                    <a:ext uri="{9D8B030D-6E8A-4147-A177-3AD203B41FA5}">
                      <a16:colId xmlns:a16="http://schemas.microsoft.com/office/drawing/2014/main" val="20005"/>
                    </a:ext>
                  </a:extLst>
                </a:gridCol>
                <a:gridCol w="697018">
                  <a:extLst>
                    <a:ext uri="{9D8B030D-6E8A-4147-A177-3AD203B41FA5}">
                      <a16:colId xmlns:a16="http://schemas.microsoft.com/office/drawing/2014/main" val="20006"/>
                    </a:ext>
                  </a:extLst>
                </a:gridCol>
                <a:gridCol w="766293">
                  <a:extLst>
                    <a:ext uri="{9D8B030D-6E8A-4147-A177-3AD203B41FA5}">
                      <a16:colId xmlns:a16="http://schemas.microsoft.com/office/drawing/2014/main" val="20007"/>
                    </a:ext>
                  </a:extLst>
                </a:gridCol>
                <a:gridCol w="1655419">
                  <a:extLst>
                    <a:ext uri="{9D8B030D-6E8A-4147-A177-3AD203B41FA5}">
                      <a16:colId xmlns:a16="http://schemas.microsoft.com/office/drawing/2014/main" val="20008"/>
                    </a:ext>
                  </a:extLst>
                </a:gridCol>
              </a:tblGrid>
              <a:tr h="205911">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项目</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一年</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二年</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三年</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四年</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五年</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合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备注</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05911">
                <a:tc rowSpan="9">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销</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售</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收</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入</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indent="287338">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287338"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整车销售台次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整车销售收入</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台车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341980">
                <a:tc vMerge="1">
                  <a:txBody>
                    <a:bodyPr/>
                    <a:lstStyle/>
                    <a:p>
                      <a:endParaRPr lang="en-GB"/>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年二手车销售收入</a:t>
                      </a:r>
                      <a:endParaRPr kumimoji="0" lang="en-US" altLang="zh-CN" sz="9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endParaRP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无意向做二手车业务，该项可不填）</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台车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28019">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精品</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保险</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信贷等营业额</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平均每年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递增</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05911">
                <a:tc vMerge="1">
                  <a:txBody>
                    <a:bodyPr/>
                    <a:lstStyle/>
                    <a:p>
                      <a:endParaRPr lang="en-GB"/>
                    </a:p>
                  </a:txBody>
                  <a:tcPr/>
                </a:tc>
                <a:tc>
                  <a:txBody>
                    <a:bodyPr/>
                    <a:lstStyle>
                      <a:lvl1pPr indent="287338">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287338"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来厂维修台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06715">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维修收入</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按单车</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05911">
                <a:tc vMerge="1">
                  <a:txBody>
                    <a:bodyPr/>
                    <a:lstStyle/>
                    <a:p>
                      <a:endParaRPr lang="en-GB"/>
                    </a:p>
                  </a:txBody>
                  <a:tcPr/>
                </a:tc>
                <a:tc>
                  <a:txBody>
                    <a:bodyPr/>
                    <a:lstStyle>
                      <a:lvl1pPr indent="287338">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287338"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零附件收入</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按单车</a:t>
                      </a: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元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05911">
                <a:tc vMerge="1">
                  <a:txBody>
                    <a:bodyPr/>
                    <a:lstStyle/>
                    <a:p>
                      <a:endParaRPr lang="en-GB"/>
                    </a:p>
                  </a:txBody>
                  <a:tcPr/>
                </a:tc>
                <a:tc>
                  <a:txBody>
                    <a:bodyPr/>
                    <a:lstStyle>
                      <a:lvl1pPr indent="287338">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287338"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工时费收入</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按每小时</a:t>
                      </a: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 </a:t>
                      </a: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元计算</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收入合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05911">
                <a:tc rowSpan="6">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含</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税</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毛</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利</a:t>
                      </a:r>
                    </a:p>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额</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整车毛利</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整车毛利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计算</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341980">
                <a:tc vMerge="1">
                  <a:txBody>
                    <a:bodyPr/>
                    <a:lstStyle/>
                    <a:p>
                      <a:endParaRPr lang="en-GB"/>
                    </a:p>
                  </a:txBody>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二手车毛利</a:t>
                      </a:r>
                      <a:endPar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p>
                      <a:pPr marL="0" marR="0" lvl="0" indent="0" algn="ctr" defTabSz="914400" rtl="0" eaLnBrk="1" fontAlgn="ctr" latinLnBrk="0" hangingPunct="1">
                        <a:lnSpc>
                          <a:spcPct val="100000"/>
                        </a:lnSpc>
                        <a:spcBef>
                          <a:spcPct val="0"/>
                        </a:spcBef>
                        <a:spcAft>
                          <a:spcPct val="0"/>
                        </a:spcAft>
                        <a:buClrTx/>
                        <a:buSzTx/>
                        <a:buFontTx/>
                        <a:buNone/>
                        <a:tabLst/>
                        <a:defRPr/>
                      </a:pPr>
                      <a:r>
                        <a:rPr kumimoji="0" lang="zh-CN" altLang="en-US" sz="900" b="0" i="0" u="none" strike="noStrike" kern="1200" cap="none" normalizeH="0" baseline="0" dirty="0">
                          <a:ln>
                            <a:noFill/>
                          </a:ln>
                          <a:solidFill>
                            <a:schemeClr val="tx1"/>
                          </a:solidFill>
                          <a:effectLst/>
                          <a:latin typeface="微软雅黑" panose="020B0503020204020204" pitchFamily="34" charset="-122"/>
                          <a:ea typeface="微软雅黑" panose="020B0503020204020204" pitchFamily="34" charset="-122"/>
                          <a:cs typeface="+mn-cs"/>
                        </a:rPr>
                        <a:t>（无意向做二手车业务，该项可不填）</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endParaRP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ctr" latinLnBrk="0" hangingPunct="1">
                        <a:lnSpc>
                          <a:spcPct val="100000"/>
                        </a:lnSpc>
                        <a:spcBef>
                          <a:spcPct val="0"/>
                        </a:spcBef>
                        <a:spcAft>
                          <a:spcPct val="0"/>
                        </a:spcAft>
                        <a:buClrTx/>
                        <a:buSzTx/>
                        <a:buFontTx/>
                        <a:buNone/>
                        <a:tabLst/>
                        <a:defRPr/>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二手车毛利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计算</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配件毛利</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配件毛利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计算</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工时费毛利</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其他毛利</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按</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kumimoji="0" lang="en-US" altLang="zh-CN"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xx%</a:t>
                      </a: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计算</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05911">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毛利合计</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9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p>
                  </a:txBody>
                  <a:tcPr marL="70427" marR="70427" marT="35213" marB="352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bl>
          </a:graphicData>
        </a:graphic>
      </p:graphicFrame>
      <p:sp>
        <p:nvSpPr>
          <p:cNvPr id="11" name="Text Box 151"/>
          <p:cNvSpPr txBox="1">
            <a:spLocks noChangeArrowheads="1"/>
          </p:cNvSpPr>
          <p:nvPr/>
        </p:nvSpPr>
        <p:spPr bwMode="auto">
          <a:xfrm>
            <a:off x="7383991" y="970118"/>
            <a:ext cx="1366307" cy="218667"/>
          </a:xfrm>
          <a:prstGeom prst="rect">
            <a:avLst/>
          </a:prstGeom>
          <a:noFill/>
          <a:ln>
            <a:noFill/>
          </a:ln>
        </p:spPr>
        <p:txBody>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r" eaLnBrk="1" fontAlgn="ctr" hangingPunct="1">
              <a:spcBef>
                <a:spcPct val="50000"/>
              </a:spcBef>
              <a:defRPr/>
            </a:pPr>
            <a:r>
              <a:rPr lang="zh-CN" altLang="en-US" sz="810" b="1" dirty="0">
                <a:solidFill>
                  <a:schemeClr val="tx1"/>
                </a:solidFill>
                <a:latin typeface="微软雅黑" panose="020B0503020204020204" pitchFamily="34" charset="-122"/>
                <a:ea typeface="微软雅黑" panose="020B0503020204020204" pitchFamily="34" charset="-122"/>
              </a:rPr>
              <a:t>单位：</a:t>
            </a:r>
            <a:r>
              <a:rPr lang="zh-CN" altLang="en-US" sz="810" dirty="0">
                <a:solidFill>
                  <a:schemeClr val="tx1"/>
                </a:solidFill>
                <a:latin typeface="微软雅黑" panose="020B0503020204020204" pitchFamily="34" charset="-122"/>
                <a:ea typeface="微软雅黑" panose="020B0503020204020204" pitchFamily="34" charset="-122"/>
              </a:rPr>
              <a:t>万元</a:t>
            </a:r>
            <a:endParaRPr lang="en-US" altLang="zh-CN" sz="81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60546822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投资回报分析  </a:t>
            </a:r>
            <a:r>
              <a:rPr lang="en-US" altLang="zh-CN" b="1" dirty="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参照如下格式分析</a:t>
            </a:r>
            <a:r>
              <a:rPr lang="en-US" altLang="zh-CN" b="1" dirty="0">
                <a:latin typeface="微软雅黑" panose="020B0503020204020204" pitchFamily="34" charset="-122"/>
                <a:ea typeface="微软雅黑" panose="020B0503020204020204" pitchFamily="34" charset="-122"/>
              </a:rPr>
              <a:t>)</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1</a:t>
            </a:fld>
            <a:endParaRPr lang="sv-SE">
              <a:latin typeface="微软雅黑" panose="020B0503020204020204" pitchFamily="34" charset="-122"/>
              <a:ea typeface="微软雅黑" panose="020B0503020204020204" pitchFamily="34" charset="-122"/>
            </a:endParaRPr>
          </a:p>
        </p:txBody>
      </p:sp>
      <p:graphicFrame>
        <p:nvGraphicFramePr>
          <p:cNvPr id="8" name="Group 222"/>
          <p:cNvGraphicFramePr>
            <a:graphicFrameLocks noGrp="1"/>
          </p:cNvGraphicFramePr>
          <p:nvPr>
            <p:extLst>
              <p:ext uri="{D42A27DB-BD31-4B8C-83A1-F6EECF244321}">
                <p14:modId xmlns:p14="http://schemas.microsoft.com/office/powerpoint/2010/main" val="1497757924"/>
              </p:ext>
            </p:extLst>
          </p:nvPr>
        </p:nvGraphicFramePr>
        <p:xfrm>
          <a:off x="360363" y="1168978"/>
          <a:ext cx="8292321" cy="3740556"/>
        </p:xfrm>
        <a:graphic>
          <a:graphicData uri="http://schemas.openxmlformats.org/drawingml/2006/table">
            <a:tbl>
              <a:tblPr/>
              <a:tblGrid>
                <a:gridCol w="431256">
                  <a:extLst>
                    <a:ext uri="{9D8B030D-6E8A-4147-A177-3AD203B41FA5}">
                      <a16:colId xmlns:a16="http://schemas.microsoft.com/office/drawing/2014/main" val="20000"/>
                    </a:ext>
                  </a:extLst>
                </a:gridCol>
                <a:gridCol w="1773467">
                  <a:extLst>
                    <a:ext uri="{9D8B030D-6E8A-4147-A177-3AD203B41FA5}">
                      <a16:colId xmlns:a16="http://schemas.microsoft.com/office/drawing/2014/main" val="20001"/>
                    </a:ext>
                  </a:extLst>
                </a:gridCol>
                <a:gridCol w="715636">
                  <a:extLst>
                    <a:ext uri="{9D8B030D-6E8A-4147-A177-3AD203B41FA5}">
                      <a16:colId xmlns:a16="http://schemas.microsoft.com/office/drawing/2014/main" val="20002"/>
                    </a:ext>
                  </a:extLst>
                </a:gridCol>
                <a:gridCol w="717199">
                  <a:extLst>
                    <a:ext uri="{9D8B030D-6E8A-4147-A177-3AD203B41FA5}">
                      <a16:colId xmlns:a16="http://schemas.microsoft.com/office/drawing/2014/main" val="20003"/>
                    </a:ext>
                  </a:extLst>
                </a:gridCol>
                <a:gridCol w="715636">
                  <a:extLst>
                    <a:ext uri="{9D8B030D-6E8A-4147-A177-3AD203B41FA5}">
                      <a16:colId xmlns:a16="http://schemas.microsoft.com/office/drawing/2014/main" val="20004"/>
                    </a:ext>
                  </a:extLst>
                </a:gridCol>
                <a:gridCol w="715636">
                  <a:extLst>
                    <a:ext uri="{9D8B030D-6E8A-4147-A177-3AD203B41FA5}">
                      <a16:colId xmlns:a16="http://schemas.microsoft.com/office/drawing/2014/main" val="20005"/>
                    </a:ext>
                  </a:extLst>
                </a:gridCol>
                <a:gridCol w="717200">
                  <a:extLst>
                    <a:ext uri="{9D8B030D-6E8A-4147-A177-3AD203B41FA5}">
                      <a16:colId xmlns:a16="http://schemas.microsoft.com/office/drawing/2014/main" val="20006"/>
                    </a:ext>
                  </a:extLst>
                </a:gridCol>
                <a:gridCol w="571884">
                  <a:extLst>
                    <a:ext uri="{9D8B030D-6E8A-4147-A177-3AD203B41FA5}">
                      <a16:colId xmlns:a16="http://schemas.microsoft.com/office/drawing/2014/main" val="20007"/>
                    </a:ext>
                  </a:extLst>
                </a:gridCol>
                <a:gridCol w="1934407">
                  <a:extLst>
                    <a:ext uri="{9D8B030D-6E8A-4147-A177-3AD203B41FA5}">
                      <a16:colId xmlns:a16="http://schemas.microsoft.com/office/drawing/2014/main" val="20008"/>
                    </a:ext>
                  </a:extLst>
                </a:gridCol>
              </a:tblGrid>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项目</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第一年</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第二年</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第三年</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第四年</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第五年</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合计</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备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205843">
                <a:tc rowSpan="1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费</a:t>
                      </a:r>
                      <a:b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b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销售和服务佣金</a:t>
                      </a: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车</a:t>
                      </a:r>
                      <a:r>
                        <a:rPr kumimoji="0" lang="en-US" altLang="zh-CN" sz="8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XX</a:t>
                      </a:r>
                      <a:r>
                        <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a:t>
                      </a: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241225">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财务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按年率</a:t>
                      </a:r>
                      <a:r>
                        <a:rPr kumimoji="0" lang="en-US" altLang="zh-CN" sz="8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XX</a:t>
                      </a:r>
                      <a:r>
                        <a:rPr kumimoji="0" lang="en-US" altLang="zh-CN"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及平均</a:t>
                      </a:r>
                      <a:r>
                        <a:rPr kumimoji="0" lang="en-US" altLang="zh-CN" sz="8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X.X</a:t>
                      </a: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月库存</a:t>
                      </a:r>
                      <a:endParaRPr kumimoji="0" lang="en-US" altLang="zh-CN"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市场、公关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按销售额的</a:t>
                      </a:r>
                      <a:r>
                        <a:rPr kumimoji="0" lang="en-US" altLang="zh-CN" sz="8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X.X</a:t>
                      </a:r>
                      <a:r>
                        <a:rPr kumimoji="0" lang="en-US" altLang="zh-CN"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培训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每人</a:t>
                      </a:r>
                      <a:r>
                        <a:rPr kumimoji="0" lang="en-US" altLang="zh-CN" sz="800" b="0" i="0" u="none" strike="noStrike" cap="none" normalizeH="0" baseline="0" dirty="0">
                          <a:ln>
                            <a:noFill/>
                          </a:ln>
                          <a:solidFill>
                            <a:srgbClr val="FF0000"/>
                          </a:solidFill>
                          <a:effectLst/>
                          <a:latin typeface="微软雅黑" panose="020B0503020204020204" pitchFamily="34" charset="-122"/>
                          <a:ea typeface="微软雅黑" panose="020B0503020204020204" pitchFamily="34" charset="-122"/>
                        </a:rPr>
                        <a:t>XX</a:t>
                      </a:r>
                      <a:r>
                        <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元</a:t>
                      </a: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差旅、交际和通讯费</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工资福利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6"/>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运营管理费</a:t>
                      </a:r>
                      <a:endParaRPr kumimoji="0" lang="en-US" altLang="zh-CN"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土地租赁或摊销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折旧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开办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0"/>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其它费用</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1"/>
                  </a:ext>
                </a:extLst>
              </a:tr>
              <a:tr h="20584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费用合计</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2"/>
                  </a:ext>
                </a:extLst>
              </a:tr>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增值税及附加税</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3"/>
                  </a:ext>
                </a:extLst>
              </a:tr>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税前利润</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4"/>
                  </a:ext>
                </a:extLst>
              </a:tr>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税后利润</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5"/>
                  </a:ext>
                </a:extLst>
              </a:tr>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销售净利润率</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净利润</a:t>
                      </a:r>
                      <a:r>
                        <a:rPr kumimoji="0" lang="en-US" altLang="zh-CN"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销售收入</a:t>
                      </a:r>
                      <a:endParaRPr kumimoji="0" lang="en-US" altLang="zh-CN"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6"/>
                  </a:ext>
                </a:extLst>
              </a:tr>
              <a:tr h="205843">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初始固定投资回报率</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净现值</a:t>
                      </a:r>
                      <a:r>
                        <a:rPr kumimoji="0" lang="en-US" altLang="zh-CN"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8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初始固定投资</a:t>
                      </a:r>
                      <a:endParaRPr kumimoji="0" lang="zh-CN" altLang="en-US" sz="8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2320" marR="82320" marT="41181" marB="41181"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17"/>
                  </a:ext>
                </a:extLst>
              </a:tr>
            </a:tbl>
          </a:graphicData>
        </a:graphic>
      </p:graphicFrame>
      <p:sp>
        <p:nvSpPr>
          <p:cNvPr id="9" name="Text Box 151"/>
          <p:cNvSpPr txBox="1">
            <a:spLocks noChangeArrowheads="1"/>
          </p:cNvSpPr>
          <p:nvPr/>
        </p:nvSpPr>
        <p:spPr bwMode="auto">
          <a:xfrm>
            <a:off x="7379929" y="942273"/>
            <a:ext cx="1366307" cy="218667"/>
          </a:xfrm>
          <a:prstGeom prst="rect">
            <a:avLst/>
          </a:prstGeom>
          <a:noFill/>
          <a:ln>
            <a:noFill/>
          </a:ln>
        </p:spPr>
        <p:txBody>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r" eaLnBrk="1" fontAlgn="ctr" hangingPunct="1">
              <a:spcBef>
                <a:spcPct val="50000"/>
              </a:spcBef>
              <a:defRPr/>
            </a:pPr>
            <a:r>
              <a:rPr lang="zh-CN" altLang="en-US" sz="720" b="1" dirty="0">
                <a:solidFill>
                  <a:schemeClr val="tx1"/>
                </a:solidFill>
                <a:latin typeface="微软雅黑" panose="020B0503020204020204" pitchFamily="34" charset="-122"/>
                <a:ea typeface="微软雅黑" panose="020B0503020204020204" pitchFamily="34" charset="-122"/>
              </a:rPr>
              <a:t>单位：</a:t>
            </a:r>
            <a:r>
              <a:rPr lang="zh-CN" altLang="en-US" sz="720" dirty="0">
                <a:solidFill>
                  <a:schemeClr val="tx1"/>
                </a:solidFill>
                <a:latin typeface="微软雅黑" panose="020B0503020204020204" pitchFamily="34" charset="-122"/>
                <a:ea typeface="微软雅黑" panose="020B0503020204020204" pitchFamily="34" charset="-122"/>
              </a:rPr>
              <a:t>万元</a:t>
            </a:r>
            <a:endParaRPr lang="en-US" altLang="zh-CN" sz="720" dirty="0">
              <a:solidFill>
                <a:schemeClr val="tx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219569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36"/>
          </p:nvPr>
        </p:nvSpPr>
        <p:spPr>
          <a:xfrm>
            <a:off x="360364" y="1260514"/>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投资计划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分配方案</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2</a:t>
            </a:fld>
            <a:endParaRPr lang="sv-SE">
              <a:latin typeface="微软雅黑" panose="020B0503020204020204" pitchFamily="34" charset="-122"/>
              <a:ea typeface="微软雅黑" panose="020B0503020204020204" pitchFamily="34" charset="-122"/>
            </a:endParaRPr>
          </a:p>
        </p:txBody>
      </p:sp>
      <p:graphicFrame>
        <p:nvGraphicFramePr>
          <p:cNvPr id="9" name="Group 105"/>
          <p:cNvGraphicFramePr>
            <a:graphicFrameLocks noGrp="1"/>
          </p:cNvGraphicFramePr>
          <p:nvPr>
            <p:extLst>
              <p:ext uri="{D42A27DB-BD31-4B8C-83A1-F6EECF244321}">
                <p14:modId xmlns:p14="http://schemas.microsoft.com/office/powerpoint/2010/main" val="4068128476"/>
              </p:ext>
            </p:extLst>
          </p:nvPr>
        </p:nvGraphicFramePr>
        <p:xfrm>
          <a:off x="360363" y="1658710"/>
          <a:ext cx="8222416" cy="3181722"/>
        </p:xfrm>
        <a:graphic>
          <a:graphicData uri="http://schemas.openxmlformats.org/drawingml/2006/table">
            <a:tbl>
              <a:tblPr/>
              <a:tblGrid>
                <a:gridCol w="2158895">
                  <a:extLst>
                    <a:ext uri="{9D8B030D-6E8A-4147-A177-3AD203B41FA5}">
                      <a16:colId xmlns:a16="http://schemas.microsoft.com/office/drawing/2014/main" val="20000"/>
                    </a:ext>
                  </a:extLst>
                </a:gridCol>
                <a:gridCol w="1249285">
                  <a:extLst>
                    <a:ext uri="{9D8B030D-6E8A-4147-A177-3AD203B41FA5}">
                      <a16:colId xmlns:a16="http://schemas.microsoft.com/office/drawing/2014/main" val="20001"/>
                    </a:ext>
                  </a:extLst>
                </a:gridCol>
                <a:gridCol w="1175797">
                  <a:extLst>
                    <a:ext uri="{9D8B030D-6E8A-4147-A177-3AD203B41FA5}">
                      <a16:colId xmlns:a16="http://schemas.microsoft.com/office/drawing/2014/main" val="20002"/>
                    </a:ext>
                  </a:extLst>
                </a:gridCol>
                <a:gridCol w="1213357">
                  <a:extLst>
                    <a:ext uri="{9D8B030D-6E8A-4147-A177-3AD203B41FA5}">
                      <a16:colId xmlns:a16="http://schemas.microsoft.com/office/drawing/2014/main" val="20003"/>
                    </a:ext>
                  </a:extLst>
                </a:gridCol>
                <a:gridCol w="1213358">
                  <a:extLst>
                    <a:ext uri="{9D8B030D-6E8A-4147-A177-3AD203B41FA5}">
                      <a16:colId xmlns:a16="http://schemas.microsoft.com/office/drawing/2014/main" val="20004"/>
                    </a:ext>
                  </a:extLst>
                </a:gridCol>
                <a:gridCol w="1211724">
                  <a:extLst>
                    <a:ext uri="{9D8B030D-6E8A-4147-A177-3AD203B41FA5}">
                      <a16:colId xmlns:a16="http://schemas.microsoft.com/office/drawing/2014/main" val="20005"/>
                    </a:ext>
                  </a:extLst>
                </a:gridCol>
              </a:tblGrid>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一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二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三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四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第五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土地购买</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固定投资</a:t>
                      </a: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建筑和装修</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工具</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mp;</a:t>
                      </a: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设备</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信息系统</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其它</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流动资金</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新车库存</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零件库存</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265400">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其它</a:t>
                      </a:r>
                      <a:endPar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26488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投资总额</a:t>
                      </a:r>
                    </a:p>
                  </a:txBody>
                  <a:tcPr marL="64819" marR="64819"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bl>
          </a:graphicData>
        </a:graphic>
      </p:graphicFrame>
      <p:sp>
        <p:nvSpPr>
          <p:cNvPr id="10" name="Text Box 98"/>
          <p:cNvSpPr txBox="1">
            <a:spLocks noChangeArrowheads="1"/>
          </p:cNvSpPr>
          <p:nvPr/>
        </p:nvSpPr>
        <p:spPr bwMode="auto">
          <a:xfrm>
            <a:off x="6222412" y="1260514"/>
            <a:ext cx="2453921" cy="286232"/>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r" eaLnBrk="1" fontAlgn="ctr" hangingPunct="1">
              <a:spcBef>
                <a:spcPct val="50000"/>
              </a:spcBef>
            </a:pPr>
            <a:r>
              <a:rPr lang="zh-CN" altLang="en-US" sz="1260" b="1" dirty="0">
                <a:solidFill>
                  <a:schemeClr val="bg2"/>
                </a:solidFill>
                <a:latin typeface="微软雅黑" panose="020B0503020204020204" pitchFamily="34" charset="-122"/>
                <a:ea typeface="微软雅黑" panose="020B0503020204020204" pitchFamily="34" charset="-122"/>
              </a:rPr>
              <a:t>单位</a:t>
            </a:r>
            <a:r>
              <a:rPr lang="en-US" altLang="zh-CN" sz="1260" b="1" dirty="0">
                <a:solidFill>
                  <a:schemeClr val="bg2"/>
                </a:solidFill>
                <a:latin typeface="微软雅黑" panose="020B0503020204020204" pitchFamily="34" charset="-122"/>
                <a:ea typeface="微软雅黑" panose="020B0503020204020204" pitchFamily="34" charset="-122"/>
              </a:rPr>
              <a:t>: </a:t>
            </a:r>
            <a:r>
              <a:rPr lang="zh-CN" altLang="en-US" sz="1260" b="1" dirty="0">
                <a:solidFill>
                  <a:schemeClr val="bg2"/>
                </a:solidFill>
                <a:latin typeface="微软雅黑" panose="020B0503020204020204" pitchFamily="34" charset="-122"/>
                <a:ea typeface="微软雅黑" panose="020B0503020204020204" pitchFamily="34" charset="-122"/>
              </a:rPr>
              <a:t>万元</a:t>
            </a:r>
            <a:endParaRPr lang="zh-CN" altLang="en-US" sz="1260" dirty="0">
              <a:solidFill>
                <a:schemeClr val="bg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40638934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投资回报分析总结</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3</a:t>
            </a:fld>
            <a:endParaRPr lang="sv-SE">
              <a:latin typeface="微软雅黑" panose="020B0503020204020204" pitchFamily="34" charset="-122"/>
              <a:ea typeface="微软雅黑" panose="020B0503020204020204" pitchFamily="34" charset="-122"/>
            </a:endParaRPr>
          </a:p>
        </p:txBody>
      </p:sp>
      <p:graphicFrame>
        <p:nvGraphicFramePr>
          <p:cNvPr id="9" name="Group 38"/>
          <p:cNvGraphicFramePr>
            <a:graphicFrameLocks noGrp="1"/>
          </p:cNvGraphicFramePr>
          <p:nvPr>
            <p:ph sz="half" idx="4294967295"/>
            <p:extLst>
              <p:ext uri="{D42A27DB-BD31-4B8C-83A1-F6EECF244321}">
                <p14:modId xmlns:p14="http://schemas.microsoft.com/office/powerpoint/2010/main" val="3632939651"/>
              </p:ext>
            </p:extLst>
          </p:nvPr>
        </p:nvGraphicFramePr>
        <p:xfrm>
          <a:off x="360363" y="1366332"/>
          <a:ext cx="8222417" cy="3314809"/>
        </p:xfrm>
        <a:graphic>
          <a:graphicData uri="http://schemas.openxmlformats.org/drawingml/2006/table">
            <a:tbl>
              <a:tblPr/>
              <a:tblGrid>
                <a:gridCol w="5702755">
                  <a:extLst>
                    <a:ext uri="{9D8B030D-6E8A-4147-A177-3AD203B41FA5}">
                      <a16:colId xmlns:a16="http://schemas.microsoft.com/office/drawing/2014/main" val="20000"/>
                    </a:ext>
                  </a:extLst>
                </a:gridCol>
                <a:gridCol w="2519662">
                  <a:extLst>
                    <a:ext uri="{9D8B030D-6E8A-4147-A177-3AD203B41FA5}">
                      <a16:colId xmlns:a16="http://schemas.microsoft.com/office/drawing/2014/main" val="20001"/>
                    </a:ext>
                  </a:extLst>
                </a:gridCol>
              </a:tblGrid>
              <a:tr h="57674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答复</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76742">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初始固定投资回报期限</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7965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初始固定投资金额</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7528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您可接受的初始固定投资回报期限</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1006385">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在签署谅解备忘录前，是否愿意在沃尔沃建议的银行建立意向金监管账户</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73928361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42"/>
          <p:cNvGraphicFramePr>
            <a:graphicFrameLocks noGrp="1"/>
          </p:cNvGraphicFramePr>
          <p:nvPr>
            <p:ph sz="half" idx="4294967295"/>
            <p:extLst>
              <p:ext uri="{D42A27DB-BD31-4B8C-83A1-F6EECF244321}">
                <p14:modId xmlns:p14="http://schemas.microsoft.com/office/powerpoint/2010/main" val="1880578210"/>
              </p:ext>
            </p:extLst>
          </p:nvPr>
        </p:nvGraphicFramePr>
        <p:xfrm>
          <a:off x="437482" y="1709195"/>
          <a:ext cx="8227458" cy="3041718"/>
        </p:xfrm>
        <a:graphic>
          <a:graphicData uri="http://schemas.openxmlformats.org/drawingml/2006/table">
            <a:tbl>
              <a:tblPr/>
              <a:tblGrid>
                <a:gridCol w="2617676">
                  <a:extLst>
                    <a:ext uri="{9D8B030D-6E8A-4147-A177-3AD203B41FA5}">
                      <a16:colId xmlns:a16="http://schemas.microsoft.com/office/drawing/2014/main" val="20000"/>
                    </a:ext>
                  </a:extLst>
                </a:gridCol>
                <a:gridCol w="1911487">
                  <a:extLst>
                    <a:ext uri="{9D8B030D-6E8A-4147-A177-3AD203B41FA5}">
                      <a16:colId xmlns:a16="http://schemas.microsoft.com/office/drawing/2014/main" val="20001"/>
                    </a:ext>
                  </a:extLst>
                </a:gridCol>
                <a:gridCol w="3698295">
                  <a:extLst>
                    <a:ext uri="{9D8B030D-6E8A-4147-A177-3AD203B41FA5}">
                      <a16:colId xmlns:a16="http://schemas.microsoft.com/office/drawing/2014/main" val="20002"/>
                    </a:ext>
                  </a:extLst>
                </a:gridCol>
              </a:tblGrid>
              <a:tr h="50695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ctr"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资金来源</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金额</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证明文件 （如果已有，请提供）</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506953">
                <a:tc>
                  <a:txBody>
                    <a:bodyPr/>
                    <a:lstStyle>
                      <a:lvl1pPr marL="377825"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377825" marR="0" lvl="0" indent="-285750" algn="l" defTabSz="914400" rtl="0" eaLnBrk="1" fontAlgn="base" latinLnBrk="0" hangingPunct="1">
                        <a:lnSpc>
                          <a:spcPct val="100000"/>
                        </a:lnSpc>
                        <a:spcBef>
                          <a:spcPct val="20000"/>
                        </a:spcBef>
                        <a:spcAft>
                          <a:spcPct val="0"/>
                        </a:spcAft>
                        <a:buClrTx/>
                        <a:buSzTx/>
                        <a:buFont typeface="Verdana" panose="020B0604030504040204" pitchFamily="34" charset="0"/>
                        <a:buChar char="­"/>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注册资本</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06953">
                <a:tc>
                  <a:txBody>
                    <a:bodyPr/>
                    <a:lstStyle>
                      <a:lvl1pPr marL="377825"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377825" marR="0" lvl="0" indent="-285750" algn="l" defTabSz="914400" rtl="0" eaLnBrk="1" fontAlgn="base" latinLnBrk="0" hangingPunct="1">
                        <a:lnSpc>
                          <a:spcPct val="100000"/>
                        </a:lnSpc>
                        <a:spcBef>
                          <a:spcPct val="20000"/>
                        </a:spcBef>
                        <a:spcAft>
                          <a:spcPct val="0"/>
                        </a:spcAft>
                        <a:buClrTx/>
                        <a:buSzTx/>
                        <a:buFont typeface="Verdana" panose="020B0604030504040204" pitchFamily="34" charset="0"/>
                        <a:buChar char="­"/>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额外实收资本</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06953">
                <a:tc>
                  <a:txBody>
                    <a:bodyPr/>
                    <a:lstStyle>
                      <a:lvl1pPr marL="377825"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377825" marR="0" lvl="0" indent="-285750" algn="l" defTabSz="914400" rtl="0" eaLnBrk="1" fontAlgn="base" latinLnBrk="0" hangingPunct="1">
                        <a:lnSpc>
                          <a:spcPct val="100000"/>
                        </a:lnSpc>
                        <a:spcBef>
                          <a:spcPct val="20000"/>
                        </a:spcBef>
                        <a:spcAft>
                          <a:spcPct val="0"/>
                        </a:spcAft>
                        <a:buClrTx/>
                        <a:buSzTx/>
                        <a:buFont typeface="Verdana" panose="020B0604030504040204" pitchFamily="34" charset="0"/>
                        <a:buChar char="­"/>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东贷款</a:t>
                      </a:r>
                      <a:endPar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股东账户金额证明</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06953">
                <a:tc>
                  <a:txBody>
                    <a:bodyPr/>
                    <a:lstStyle>
                      <a:lvl1pPr marL="377825"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377825" marR="0" lvl="0" indent="-285750" algn="l" defTabSz="914400" rtl="0" eaLnBrk="1" fontAlgn="base" latinLnBrk="0" hangingPunct="1">
                        <a:lnSpc>
                          <a:spcPct val="100000"/>
                        </a:lnSpc>
                        <a:spcBef>
                          <a:spcPct val="20000"/>
                        </a:spcBef>
                        <a:spcAft>
                          <a:spcPct val="0"/>
                        </a:spcAft>
                        <a:buClrTx/>
                        <a:buSzTx/>
                        <a:buFont typeface="Verdana" panose="020B0604030504040204" pitchFamily="34" charset="0"/>
                        <a:buChar char="­"/>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银行贷款</a:t>
                      </a: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银行融资证明</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06953">
                <a:tc>
                  <a:txBody>
                    <a:bodyPr/>
                    <a:lstStyle>
                      <a:lvl1pPr marL="92075">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92075" marR="0" lvl="0" indent="0" algn="l" defTabSz="914400" rtl="0" eaLnBrk="1" fontAlgn="base" latinLnBrk="0" hangingPunct="1">
                        <a:lnSpc>
                          <a:spcPct val="100000"/>
                        </a:lnSpc>
                        <a:spcBef>
                          <a:spcPct val="2000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投资总额</a:t>
                      </a:r>
                    </a:p>
                  </a:txBody>
                  <a:tcPr marL="69962" marR="69962"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投资计划 </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来源及证明</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商业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4</a:t>
            </a:fld>
            <a:endParaRPr lang="sv-SE">
              <a:latin typeface="微软雅黑" panose="020B0503020204020204" pitchFamily="34" charset="-122"/>
              <a:ea typeface="微软雅黑" panose="020B0503020204020204" pitchFamily="34" charset="-122"/>
            </a:endParaRPr>
          </a:p>
        </p:txBody>
      </p:sp>
      <p:sp>
        <p:nvSpPr>
          <p:cNvPr id="11" name="Text Box 98"/>
          <p:cNvSpPr txBox="1">
            <a:spLocks noChangeArrowheads="1"/>
          </p:cNvSpPr>
          <p:nvPr/>
        </p:nvSpPr>
        <p:spPr bwMode="auto">
          <a:xfrm>
            <a:off x="5695040" y="1253630"/>
            <a:ext cx="2981292" cy="286232"/>
          </a:xfrm>
          <a:prstGeom prst="rect">
            <a:avLst/>
          </a:prstGeom>
          <a:solidFill>
            <a:schemeClr val="bg1"/>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a:defRPr sz="2000">
                <a:solidFill>
                  <a:schemeClr val="tx2"/>
                </a:solidFill>
                <a:latin typeface="Arial" panose="020B0604020202020204" pitchFamily="34" charset="0"/>
              </a:defRPr>
            </a:lvl1pPr>
            <a:lvl2pPr marL="742950" indent="-285750">
              <a:defRPr sz="2000">
                <a:solidFill>
                  <a:schemeClr val="tx2"/>
                </a:solidFill>
                <a:latin typeface="Arial" panose="020B0604020202020204" pitchFamily="34" charset="0"/>
              </a:defRPr>
            </a:lvl2pPr>
            <a:lvl3pPr marL="1143000" indent="-228600">
              <a:defRPr sz="2000">
                <a:solidFill>
                  <a:schemeClr val="tx2"/>
                </a:solidFill>
                <a:latin typeface="Arial" panose="020B0604020202020204" pitchFamily="34" charset="0"/>
              </a:defRPr>
            </a:lvl3pPr>
            <a:lvl4pPr marL="1600200" indent="-228600">
              <a:defRPr sz="2000">
                <a:solidFill>
                  <a:schemeClr val="tx2"/>
                </a:solidFill>
                <a:latin typeface="Arial" panose="020B0604020202020204" pitchFamily="34" charset="0"/>
              </a:defRPr>
            </a:lvl4pPr>
            <a:lvl5pPr marL="2057400" indent="-228600">
              <a:defRPr sz="2000">
                <a:solidFill>
                  <a:schemeClr val="tx2"/>
                </a:solidFill>
                <a:latin typeface="Arial" panose="020B0604020202020204" pitchFamily="34" charset="0"/>
              </a:defRPr>
            </a:lvl5pPr>
            <a:lvl6pPr marL="2514600" indent="-228600" eaLnBrk="0" fontAlgn="base" hangingPunct="0">
              <a:spcBef>
                <a:spcPct val="0"/>
              </a:spcBef>
              <a:spcAft>
                <a:spcPct val="0"/>
              </a:spcAft>
              <a:defRPr sz="2000">
                <a:solidFill>
                  <a:schemeClr val="tx2"/>
                </a:solidFill>
                <a:latin typeface="Arial" panose="020B0604020202020204" pitchFamily="34" charset="0"/>
              </a:defRPr>
            </a:lvl6pPr>
            <a:lvl7pPr marL="2971800" indent="-228600" eaLnBrk="0" fontAlgn="base" hangingPunct="0">
              <a:spcBef>
                <a:spcPct val="0"/>
              </a:spcBef>
              <a:spcAft>
                <a:spcPct val="0"/>
              </a:spcAft>
              <a:defRPr sz="2000">
                <a:solidFill>
                  <a:schemeClr val="tx2"/>
                </a:solidFill>
                <a:latin typeface="Arial" panose="020B0604020202020204" pitchFamily="34" charset="0"/>
              </a:defRPr>
            </a:lvl7pPr>
            <a:lvl8pPr marL="3429000" indent="-228600" eaLnBrk="0" fontAlgn="base" hangingPunct="0">
              <a:spcBef>
                <a:spcPct val="0"/>
              </a:spcBef>
              <a:spcAft>
                <a:spcPct val="0"/>
              </a:spcAft>
              <a:defRPr sz="2000">
                <a:solidFill>
                  <a:schemeClr val="tx2"/>
                </a:solidFill>
                <a:latin typeface="Arial" panose="020B0604020202020204" pitchFamily="34" charset="0"/>
              </a:defRPr>
            </a:lvl8pPr>
            <a:lvl9pPr marL="3886200" indent="-228600" eaLnBrk="0" fontAlgn="base" hangingPunct="0">
              <a:spcBef>
                <a:spcPct val="0"/>
              </a:spcBef>
              <a:spcAft>
                <a:spcPct val="0"/>
              </a:spcAft>
              <a:defRPr sz="2000">
                <a:solidFill>
                  <a:schemeClr val="tx2"/>
                </a:solidFill>
                <a:latin typeface="Arial" panose="020B0604020202020204" pitchFamily="34" charset="0"/>
              </a:defRPr>
            </a:lvl9pPr>
          </a:lstStyle>
          <a:p>
            <a:pPr algn="r" eaLnBrk="1" fontAlgn="ctr" hangingPunct="1">
              <a:spcBef>
                <a:spcPct val="50000"/>
              </a:spcBef>
            </a:pPr>
            <a:r>
              <a:rPr lang="zh-CN" altLang="en-US" sz="1260" b="1" dirty="0">
                <a:solidFill>
                  <a:schemeClr val="bg2"/>
                </a:solidFill>
                <a:latin typeface="微软雅黑" panose="020B0503020204020204" pitchFamily="34" charset="-122"/>
                <a:ea typeface="微软雅黑" panose="020B0503020204020204" pitchFamily="34" charset="-122"/>
              </a:rPr>
              <a:t>单位</a:t>
            </a:r>
            <a:r>
              <a:rPr lang="en-US" altLang="zh-CN" sz="1260" b="1" dirty="0">
                <a:solidFill>
                  <a:schemeClr val="bg2"/>
                </a:solidFill>
                <a:latin typeface="微软雅黑" panose="020B0503020204020204" pitchFamily="34" charset="-122"/>
                <a:ea typeface="微软雅黑" panose="020B0503020204020204" pitchFamily="34" charset="-122"/>
              </a:rPr>
              <a:t>: </a:t>
            </a:r>
            <a:r>
              <a:rPr lang="zh-CN" altLang="en-US" sz="1260" b="1" dirty="0">
                <a:solidFill>
                  <a:schemeClr val="bg2"/>
                </a:solidFill>
                <a:latin typeface="微软雅黑" panose="020B0503020204020204" pitchFamily="34" charset="-122"/>
                <a:ea typeface="微软雅黑" panose="020B0503020204020204" pitchFamily="34" charset="-122"/>
              </a:rPr>
              <a:t>万元</a:t>
            </a:r>
            <a:endParaRPr lang="zh-CN" altLang="en-US" sz="1260" dirty="0">
              <a:solidFill>
                <a:schemeClr val="bg2"/>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04006969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建议的股权结构</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业务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5</a:t>
            </a:fld>
            <a:endParaRPr lang="sv-SE">
              <a:latin typeface="微软雅黑" panose="020B0503020204020204" pitchFamily="34" charset="-122"/>
              <a:ea typeface="微软雅黑" panose="020B0503020204020204" pitchFamily="34" charset="-122"/>
            </a:endParaRPr>
          </a:p>
        </p:txBody>
      </p:sp>
      <p:sp>
        <p:nvSpPr>
          <p:cNvPr id="10" name="Text Box 8"/>
          <p:cNvSpPr txBox="1">
            <a:spLocks noChangeArrowheads="1"/>
          </p:cNvSpPr>
          <p:nvPr/>
        </p:nvSpPr>
        <p:spPr bwMode="auto">
          <a:xfrm>
            <a:off x="385830" y="4314161"/>
            <a:ext cx="7085929" cy="2809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6223" tIns="43112" rIns="86223" bIns="43112">
            <a:spAutoFit/>
          </a:bodyPr>
          <a:lstStyle>
            <a:lvl1pPr marL="363538" indent="-363538" defTabSz="957263">
              <a:defRPr sz="2000">
                <a:solidFill>
                  <a:schemeClr val="tx2"/>
                </a:solidFill>
                <a:latin typeface="Arial" panose="020B0604020202020204" pitchFamily="34" charset="0"/>
              </a:defRPr>
            </a:lvl1pPr>
            <a:lvl2pPr marL="742950" indent="-285750" defTabSz="957263">
              <a:defRPr sz="2000">
                <a:solidFill>
                  <a:schemeClr val="tx2"/>
                </a:solidFill>
                <a:latin typeface="Arial" panose="020B0604020202020204" pitchFamily="34" charset="0"/>
              </a:defRPr>
            </a:lvl2pPr>
            <a:lvl3pPr marL="1143000" indent="-228600" defTabSz="957263">
              <a:defRPr sz="2000">
                <a:solidFill>
                  <a:schemeClr val="tx2"/>
                </a:solidFill>
                <a:latin typeface="Arial" panose="020B0604020202020204" pitchFamily="34" charset="0"/>
              </a:defRPr>
            </a:lvl3pPr>
            <a:lvl4pPr marL="1600200" indent="-228600" defTabSz="957263">
              <a:defRPr sz="2000">
                <a:solidFill>
                  <a:schemeClr val="tx2"/>
                </a:solidFill>
                <a:latin typeface="Arial" panose="020B0604020202020204" pitchFamily="34" charset="0"/>
              </a:defRPr>
            </a:lvl4pPr>
            <a:lvl5pPr marL="2057400" indent="-228600" defTabSz="957263">
              <a:defRPr sz="2000">
                <a:solidFill>
                  <a:schemeClr val="tx2"/>
                </a:solidFill>
                <a:latin typeface="Arial" panose="020B0604020202020204" pitchFamily="34" charset="0"/>
              </a:defRPr>
            </a:lvl5pPr>
            <a:lvl6pPr marL="2514600" indent="-228600" defTabSz="957263" eaLnBrk="0" fontAlgn="base" hangingPunct="0">
              <a:spcBef>
                <a:spcPct val="0"/>
              </a:spcBef>
              <a:spcAft>
                <a:spcPct val="0"/>
              </a:spcAft>
              <a:defRPr sz="2000">
                <a:solidFill>
                  <a:schemeClr val="tx2"/>
                </a:solidFill>
                <a:latin typeface="Arial" panose="020B0604020202020204" pitchFamily="34" charset="0"/>
              </a:defRPr>
            </a:lvl6pPr>
            <a:lvl7pPr marL="2971800" indent="-228600" defTabSz="957263" eaLnBrk="0" fontAlgn="base" hangingPunct="0">
              <a:spcBef>
                <a:spcPct val="0"/>
              </a:spcBef>
              <a:spcAft>
                <a:spcPct val="0"/>
              </a:spcAft>
              <a:defRPr sz="2000">
                <a:solidFill>
                  <a:schemeClr val="tx2"/>
                </a:solidFill>
                <a:latin typeface="Arial" panose="020B0604020202020204" pitchFamily="34" charset="0"/>
              </a:defRPr>
            </a:lvl7pPr>
            <a:lvl8pPr marL="3429000" indent="-228600" defTabSz="957263" eaLnBrk="0" fontAlgn="base" hangingPunct="0">
              <a:spcBef>
                <a:spcPct val="0"/>
              </a:spcBef>
              <a:spcAft>
                <a:spcPct val="0"/>
              </a:spcAft>
              <a:defRPr sz="2000">
                <a:solidFill>
                  <a:schemeClr val="tx2"/>
                </a:solidFill>
                <a:latin typeface="Arial" panose="020B0604020202020204" pitchFamily="34" charset="0"/>
              </a:defRPr>
            </a:lvl8pPr>
            <a:lvl9pPr marL="3886200" indent="-228600" defTabSz="957263" eaLnBrk="0" fontAlgn="base" hangingPunct="0">
              <a:spcBef>
                <a:spcPct val="0"/>
              </a:spcBef>
              <a:spcAft>
                <a:spcPct val="0"/>
              </a:spcAft>
              <a:defRPr sz="2000">
                <a:solidFill>
                  <a:schemeClr val="tx2"/>
                </a:solidFill>
                <a:latin typeface="Arial" panose="020B0604020202020204" pitchFamily="34" charset="0"/>
              </a:defRPr>
            </a:lvl9pPr>
          </a:lstStyle>
          <a:p>
            <a:pPr eaLnBrk="1" hangingPunct="1">
              <a:spcBef>
                <a:spcPct val="20000"/>
              </a:spcBef>
              <a:buFontTx/>
              <a:buChar char="•"/>
            </a:pPr>
            <a:r>
              <a:rPr lang="zh-CN" altLang="en-US" sz="1260" dirty="0">
                <a:latin typeface="微软雅黑" panose="020B0503020204020204" pitchFamily="34" charset="-122"/>
                <a:ea typeface="微软雅黑" panose="020B0503020204020204" pitchFamily="34" charset="-122"/>
              </a:rPr>
              <a:t> </a:t>
            </a:r>
            <a:r>
              <a:rPr lang="zh-CN" altLang="en-US" sz="1260" dirty="0">
                <a:solidFill>
                  <a:schemeClr val="tx1"/>
                </a:solidFill>
                <a:latin typeface="微软雅黑" panose="020B0503020204020204" pitchFamily="34" charset="-122"/>
                <a:ea typeface="微软雅黑" panose="020B0503020204020204" pitchFamily="34" charset="-122"/>
              </a:rPr>
              <a:t>成立新公司或者改组现有公司来开展沃尔沃汽车业务</a:t>
            </a:r>
            <a:r>
              <a:rPr lang="en-US" altLang="zh-CN" sz="1260" dirty="0">
                <a:solidFill>
                  <a:schemeClr val="tx1"/>
                </a:solidFill>
                <a:latin typeface="微软雅黑" panose="020B0503020204020204" pitchFamily="34" charset="-122"/>
                <a:ea typeface="微软雅黑" panose="020B0503020204020204" pitchFamily="34" charset="-122"/>
              </a:rPr>
              <a:t>?</a:t>
            </a:r>
            <a:endParaRPr lang="en-US" altLang="zh-CN" sz="1260" dirty="0">
              <a:latin typeface="微软雅黑" panose="020B0503020204020204" pitchFamily="34" charset="-122"/>
              <a:ea typeface="微软雅黑" panose="020B0503020204020204" pitchFamily="34" charset="-122"/>
            </a:endParaRPr>
          </a:p>
        </p:txBody>
      </p:sp>
      <p:sp>
        <p:nvSpPr>
          <p:cNvPr id="11" name="TextBox 10"/>
          <p:cNvSpPr txBox="1"/>
          <p:nvPr/>
        </p:nvSpPr>
        <p:spPr>
          <a:xfrm>
            <a:off x="3539218" y="2671590"/>
            <a:ext cx="311304" cy="307648"/>
          </a:xfrm>
          <a:prstGeom prst="rect">
            <a:avLst/>
          </a:prstGeom>
          <a:noFill/>
          <a:ln>
            <a:solidFill>
              <a:schemeClr val="tx1">
                <a:lumMod val="50000"/>
                <a:lumOff val="50000"/>
              </a:schemeClr>
            </a:solidFill>
          </a:ln>
        </p:spPr>
        <p:txBody>
          <a:bodyPr wrap="none" rtlCol="0" anchor="ctr">
            <a:spAutoFit/>
          </a:bodyPr>
          <a:lstStyle/>
          <a:p>
            <a:pPr algn="ctr"/>
            <a:r>
              <a:rPr lang="en-US" sz="1399" dirty="0">
                <a:latin typeface="微软雅黑" panose="020B0503020204020204" pitchFamily="34" charset="-122"/>
                <a:ea typeface="微软雅黑" panose="020B0503020204020204" pitchFamily="34" charset="-122"/>
              </a:rPr>
              <a:t>A</a:t>
            </a:r>
            <a:endParaRPr lang="en-GB" sz="1399" dirty="0">
              <a:latin typeface="微软雅黑" panose="020B0503020204020204" pitchFamily="34" charset="-122"/>
              <a:ea typeface="微软雅黑" panose="020B0503020204020204" pitchFamily="34" charset="-122"/>
            </a:endParaRPr>
          </a:p>
        </p:txBody>
      </p:sp>
      <p:sp>
        <p:nvSpPr>
          <p:cNvPr id="12" name="TextBox 11"/>
          <p:cNvSpPr txBox="1"/>
          <p:nvPr/>
        </p:nvSpPr>
        <p:spPr>
          <a:xfrm>
            <a:off x="2260492" y="1683119"/>
            <a:ext cx="511680" cy="307648"/>
          </a:xfrm>
          <a:prstGeom prst="rect">
            <a:avLst/>
          </a:prstGeom>
          <a:noFill/>
          <a:ln>
            <a:solidFill>
              <a:schemeClr val="tx1">
                <a:lumMod val="50000"/>
                <a:lumOff val="50000"/>
              </a:schemeClr>
            </a:solidFill>
          </a:ln>
        </p:spPr>
        <p:txBody>
          <a:bodyPr wrap="none" rtlCol="0" anchor="ctr">
            <a:spAutoFit/>
          </a:bodyPr>
          <a:lstStyle/>
          <a:p>
            <a:pPr algn="ctr"/>
            <a:r>
              <a:rPr lang="zh-CN" altLang="en-US"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cxnSp>
        <p:nvCxnSpPr>
          <p:cNvPr id="13" name="Elbow Connector 12"/>
          <p:cNvCxnSpPr>
            <a:stCxn id="12" idx="2"/>
            <a:endCxn id="11" idx="0"/>
          </p:cNvCxnSpPr>
          <p:nvPr/>
        </p:nvCxnSpPr>
        <p:spPr>
          <a:xfrm rot="16200000" flipH="1">
            <a:off x="2765190" y="1741909"/>
            <a:ext cx="680823" cy="1178538"/>
          </a:xfrm>
          <a:prstGeom prst="bentConnector3">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4552322" y="1690705"/>
            <a:ext cx="511680" cy="307648"/>
          </a:xfrm>
          <a:prstGeom prst="rect">
            <a:avLst/>
          </a:prstGeom>
          <a:noFill/>
          <a:ln>
            <a:solidFill>
              <a:schemeClr val="tx1">
                <a:lumMod val="50000"/>
                <a:lumOff val="50000"/>
              </a:schemeClr>
            </a:solidFill>
          </a:ln>
        </p:spPr>
        <p:txBody>
          <a:bodyPr wrap="none" rtlCol="0" anchor="ctr">
            <a:spAutoFit/>
          </a:bodyPr>
          <a:lstStyle/>
          <a:p>
            <a:pPr algn="ctr"/>
            <a:r>
              <a:rPr lang="zh-CN" altLang="en-US"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cxnSp>
        <p:nvCxnSpPr>
          <p:cNvPr id="15" name="Elbow Connector 14"/>
          <p:cNvCxnSpPr>
            <a:stCxn id="14" idx="2"/>
            <a:endCxn id="11" idx="0"/>
          </p:cNvCxnSpPr>
          <p:nvPr/>
        </p:nvCxnSpPr>
        <p:spPr>
          <a:xfrm rot="5400000">
            <a:off x="3914898" y="1778325"/>
            <a:ext cx="673237" cy="1113292"/>
          </a:xfrm>
          <a:prstGeom prst="bentConnector3">
            <a:avLst>
              <a:gd name="adj1" fmla="val 5000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632065" y="2016715"/>
            <a:ext cx="508473" cy="307648"/>
          </a:xfrm>
          <a:prstGeom prst="rect">
            <a:avLst/>
          </a:prstGeom>
          <a:noFill/>
        </p:spPr>
        <p:txBody>
          <a:bodyPr wrap="none" rtlCol="0" anchor="ctr">
            <a:spAutoFit/>
          </a:bodyPr>
          <a:lstStyle/>
          <a:p>
            <a:r>
              <a:rPr lang="zh-CN" altLang="en-US" sz="1399" dirty="0">
                <a:latin typeface="微软雅黑" panose="020B0503020204020204" pitchFamily="34" charset="-122"/>
                <a:ea typeface="微软雅黑" panose="020B0503020204020204" pitchFamily="34" charset="-122"/>
              </a:rPr>
              <a:t>**</a:t>
            </a:r>
            <a:r>
              <a:rPr lang="en-US" altLang="zh-CN"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sp>
        <p:nvSpPr>
          <p:cNvPr id="17" name="TextBox 16"/>
          <p:cNvSpPr txBox="1"/>
          <p:nvPr/>
        </p:nvSpPr>
        <p:spPr>
          <a:xfrm>
            <a:off x="4196191" y="2027354"/>
            <a:ext cx="508473" cy="307648"/>
          </a:xfrm>
          <a:prstGeom prst="rect">
            <a:avLst/>
          </a:prstGeom>
          <a:noFill/>
        </p:spPr>
        <p:txBody>
          <a:bodyPr wrap="none" rtlCol="0" anchor="ctr">
            <a:spAutoFit/>
          </a:bodyPr>
          <a:lstStyle/>
          <a:p>
            <a:r>
              <a:rPr lang="zh-CN" altLang="en-US" sz="1399" dirty="0">
                <a:latin typeface="微软雅黑" panose="020B0503020204020204" pitchFamily="34" charset="-122"/>
                <a:ea typeface="微软雅黑" panose="020B0503020204020204" pitchFamily="34" charset="-122"/>
              </a:rPr>
              <a:t>**</a:t>
            </a:r>
            <a:r>
              <a:rPr lang="en-US" altLang="zh-CN"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sp>
        <p:nvSpPr>
          <p:cNvPr id="18" name="TextBox 17"/>
          <p:cNvSpPr txBox="1"/>
          <p:nvPr/>
        </p:nvSpPr>
        <p:spPr>
          <a:xfrm>
            <a:off x="3813453" y="3463388"/>
            <a:ext cx="1082349" cy="307648"/>
          </a:xfrm>
          <a:prstGeom prst="rect">
            <a:avLst/>
          </a:prstGeom>
          <a:noFill/>
          <a:ln>
            <a:solidFill>
              <a:schemeClr val="tx1">
                <a:lumMod val="50000"/>
                <a:lumOff val="50000"/>
              </a:schemeClr>
            </a:solidFill>
          </a:ln>
        </p:spPr>
        <p:txBody>
          <a:bodyPr wrap="none" rtlCol="0" anchor="ctr">
            <a:spAutoFit/>
          </a:bodyPr>
          <a:lstStyle/>
          <a:p>
            <a:pPr algn="ctr"/>
            <a:r>
              <a:rPr lang="zh-CN" altLang="en-US" sz="1399" dirty="0">
                <a:latin typeface="微软雅黑" panose="020B0503020204020204" pitchFamily="34" charset="-122"/>
                <a:ea typeface="微软雅黑" panose="020B0503020204020204" pitchFamily="34" charset="-122"/>
              </a:rPr>
              <a:t>未来经销商</a:t>
            </a:r>
            <a:endParaRPr lang="en-GB" sz="1399" dirty="0">
              <a:latin typeface="微软雅黑" panose="020B0503020204020204" pitchFamily="34" charset="-122"/>
              <a:ea typeface="微软雅黑" panose="020B0503020204020204" pitchFamily="34" charset="-122"/>
            </a:endParaRPr>
          </a:p>
        </p:txBody>
      </p:sp>
      <p:sp>
        <p:nvSpPr>
          <p:cNvPr id="19" name="TextBox 18"/>
          <p:cNvSpPr txBox="1"/>
          <p:nvPr/>
        </p:nvSpPr>
        <p:spPr>
          <a:xfrm>
            <a:off x="4872881" y="2674254"/>
            <a:ext cx="511680" cy="307648"/>
          </a:xfrm>
          <a:prstGeom prst="rect">
            <a:avLst/>
          </a:prstGeom>
          <a:noFill/>
          <a:ln>
            <a:solidFill>
              <a:schemeClr val="tx1">
                <a:lumMod val="50000"/>
                <a:lumOff val="50000"/>
              </a:schemeClr>
            </a:solidFill>
          </a:ln>
        </p:spPr>
        <p:txBody>
          <a:bodyPr wrap="none" rtlCol="0" anchor="ctr">
            <a:spAutoFit/>
          </a:bodyPr>
          <a:lstStyle/>
          <a:p>
            <a:pPr algn="ctr"/>
            <a:r>
              <a:rPr lang="zh-CN" altLang="en-US"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cxnSp>
        <p:nvCxnSpPr>
          <p:cNvPr id="20" name="Elbow Connector 19"/>
          <p:cNvCxnSpPr>
            <a:stCxn id="19" idx="2"/>
            <a:endCxn id="18" idx="0"/>
          </p:cNvCxnSpPr>
          <p:nvPr/>
        </p:nvCxnSpPr>
        <p:spPr>
          <a:xfrm rot="5400000">
            <a:off x="4500932" y="2835599"/>
            <a:ext cx="481486" cy="774093"/>
          </a:xfrm>
          <a:prstGeom prst="bentConnector3">
            <a:avLst>
              <a:gd name="adj1" fmla="val 5000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stCxn id="11" idx="2"/>
            <a:endCxn id="18" idx="0"/>
          </p:cNvCxnSpPr>
          <p:nvPr/>
        </p:nvCxnSpPr>
        <p:spPr>
          <a:xfrm rot="16200000" flipH="1">
            <a:off x="3782674" y="2891434"/>
            <a:ext cx="484150" cy="659758"/>
          </a:xfrm>
          <a:prstGeom prst="bentConnector3">
            <a:avLst>
              <a:gd name="adj1" fmla="val 5000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3805316" y="2928930"/>
            <a:ext cx="508473" cy="307648"/>
          </a:xfrm>
          <a:prstGeom prst="rect">
            <a:avLst/>
          </a:prstGeom>
          <a:noFill/>
        </p:spPr>
        <p:txBody>
          <a:bodyPr wrap="none" rtlCol="0" anchor="ctr">
            <a:spAutoFit/>
          </a:bodyPr>
          <a:lstStyle/>
          <a:p>
            <a:r>
              <a:rPr lang="zh-CN" altLang="en-US" sz="1399" dirty="0">
                <a:latin typeface="微软雅黑" panose="020B0503020204020204" pitchFamily="34" charset="-122"/>
                <a:ea typeface="微软雅黑" panose="020B0503020204020204" pitchFamily="34" charset="-122"/>
              </a:rPr>
              <a:t>**</a:t>
            </a:r>
            <a:r>
              <a:rPr lang="en-US" altLang="zh-CN"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sp>
        <p:nvSpPr>
          <p:cNvPr id="23" name="TextBox 22"/>
          <p:cNvSpPr txBox="1"/>
          <p:nvPr/>
        </p:nvSpPr>
        <p:spPr>
          <a:xfrm>
            <a:off x="4451643" y="2899766"/>
            <a:ext cx="508473" cy="307648"/>
          </a:xfrm>
          <a:prstGeom prst="rect">
            <a:avLst/>
          </a:prstGeom>
          <a:noFill/>
        </p:spPr>
        <p:txBody>
          <a:bodyPr wrap="none" rtlCol="0" anchor="ctr">
            <a:spAutoFit/>
          </a:bodyPr>
          <a:lstStyle/>
          <a:p>
            <a:r>
              <a:rPr lang="zh-CN" altLang="en-US" sz="1399" dirty="0">
                <a:latin typeface="微软雅黑" panose="020B0503020204020204" pitchFamily="34" charset="-122"/>
                <a:ea typeface="微软雅黑" panose="020B0503020204020204" pitchFamily="34" charset="-122"/>
              </a:rPr>
              <a:t>**</a:t>
            </a:r>
            <a:r>
              <a:rPr lang="en-US" altLang="zh-CN" sz="1399" dirty="0">
                <a:latin typeface="微软雅黑" panose="020B0503020204020204" pitchFamily="34" charset="-122"/>
                <a:ea typeface="微软雅黑" panose="020B0503020204020204" pitchFamily="34" charset="-122"/>
              </a:rPr>
              <a:t>%</a:t>
            </a:r>
            <a:endParaRPr lang="en-GB" sz="1399" dirty="0">
              <a:latin typeface="微软雅黑" panose="020B0503020204020204" pitchFamily="34" charset="-122"/>
              <a:ea typeface="微软雅黑" panose="020B0503020204020204" pitchFamily="34" charset="-122"/>
            </a:endParaRPr>
          </a:p>
        </p:txBody>
      </p:sp>
      <p:sp>
        <p:nvSpPr>
          <p:cNvPr id="2" name="TextBox 1"/>
          <p:cNvSpPr txBox="1"/>
          <p:nvPr/>
        </p:nvSpPr>
        <p:spPr>
          <a:xfrm>
            <a:off x="761894" y="3945443"/>
            <a:ext cx="1156086" cy="286232"/>
          </a:xfrm>
          <a:prstGeom prst="rect">
            <a:avLst/>
          </a:prstGeom>
          <a:noFill/>
        </p:spPr>
        <p:txBody>
          <a:bodyPr wrap="none" rtlCol="0">
            <a:spAutoFit/>
          </a:bodyPr>
          <a:lstStyle/>
          <a:p>
            <a:r>
              <a:rPr lang="zh-CN" altLang="en-US" sz="1260" dirty="0">
                <a:latin typeface="微软雅黑" panose="020B0503020204020204" pitchFamily="34" charset="-122"/>
                <a:ea typeface="微软雅黑" panose="020B0503020204020204" pitchFamily="34" charset="-122"/>
              </a:rPr>
              <a:t>最终决策人：</a:t>
            </a:r>
            <a:endParaRPr lang="en-GB" sz="126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0895346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决策机制</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6</a:t>
            </a:fld>
            <a:endParaRPr lang="sv-SE">
              <a:latin typeface="微软雅黑" panose="020B0503020204020204" pitchFamily="34" charset="-122"/>
              <a:ea typeface="微软雅黑" panose="020B0503020204020204" pitchFamily="34" charset="-122"/>
            </a:endParaRPr>
          </a:p>
        </p:txBody>
      </p:sp>
      <p:graphicFrame>
        <p:nvGraphicFramePr>
          <p:cNvPr id="8" name="Table 7"/>
          <p:cNvGraphicFramePr>
            <a:graphicFrameLocks noGrp="1"/>
          </p:cNvGraphicFramePr>
          <p:nvPr>
            <p:extLst>
              <p:ext uri="{D42A27DB-BD31-4B8C-83A1-F6EECF244321}">
                <p14:modId xmlns:p14="http://schemas.microsoft.com/office/powerpoint/2010/main" val="801555780"/>
              </p:ext>
            </p:extLst>
          </p:nvPr>
        </p:nvGraphicFramePr>
        <p:xfrm>
          <a:off x="360363" y="1263778"/>
          <a:ext cx="8315970" cy="3540284"/>
        </p:xfrm>
        <a:graphic>
          <a:graphicData uri="http://schemas.openxmlformats.org/drawingml/2006/table">
            <a:tbl>
              <a:tblPr/>
              <a:tblGrid>
                <a:gridCol w="1159447">
                  <a:extLst>
                    <a:ext uri="{9D8B030D-6E8A-4147-A177-3AD203B41FA5}">
                      <a16:colId xmlns:a16="http://schemas.microsoft.com/office/drawing/2014/main" val="20000"/>
                    </a:ext>
                  </a:extLst>
                </a:gridCol>
                <a:gridCol w="1469952">
                  <a:extLst>
                    <a:ext uri="{9D8B030D-6E8A-4147-A177-3AD203B41FA5}">
                      <a16:colId xmlns:a16="http://schemas.microsoft.com/office/drawing/2014/main" val="20001"/>
                    </a:ext>
                  </a:extLst>
                </a:gridCol>
                <a:gridCol w="2958074">
                  <a:extLst>
                    <a:ext uri="{9D8B030D-6E8A-4147-A177-3AD203B41FA5}">
                      <a16:colId xmlns:a16="http://schemas.microsoft.com/office/drawing/2014/main" val="20002"/>
                    </a:ext>
                  </a:extLst>
                </a:gridCol>
                <a:gridCol w="2728497">
                  <a:extLst>
                    <a:ext uri="{9D8B030D-6E8A-4147-A177-3AD203B41FA5}">
                      <a16:colId xmlns:a16="http://schemas.microsoft.com/office/drawing/2014/main" val="20003"/>
                    </a:ext>
                  </a:extLst>
                </a:gridCol>
              </a:tblGrid>
              <a:tr h="171419">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0000"/>
                        </a:lnSpc>
                        <a:spcBef>
                          <a:spcPct val="0"/>
                        </a:spcBef>
                        <a:spcAft>
                          <a:spcPct val="0"/>
                        </a:spcAft>
                        <a:buClrTx/>
                        <a:buSzTx/>
                        <a:buFontTx/>
                        <a:buNone/>
                        <a:tabLst/>
                      </a:pPr>
                      <a:r>
                        <a:rPr kumimoji="0" lang="zh-CN"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新方案</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0000"/>
                        </a:lnSpc>
                        <a:spcBef>
                          <a:spcPct val="0"/>
                        </a:spcBef>
                        <a:spcAft>
                          <a:spcPct val="0"/>
                        </a:spcAft>
                        <a:buClrTx/>
                        <a:buSzTx/>
                        <a:buFontTx/>
                        <a:buNone/>
                        <a:tabLst/>
                      </a:pPr>
                      <a:r>
                        <a:rPr kumimoji="0" lang="zh-CN" altLang="en-US" sz="1100" b="1"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备注</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171419">
                <a:tc gridSpan="4">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决策权</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407604">
                <a:tc rowSpan="4">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Tx/>
                        <a:buNone/>
                        <a:tabLst/>
                      </a:pPr>
                      <a:r>
                        <a:rPr kumimoji="0" lang="ja-JP"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决策机构</a:t>
                      </a:r>
                      <a:endParaRPr kumimoji="0" lang="zh-CN"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实际</a:t>
                      </a:r>
                      <a:r>
                        <a:rPr kumimoji="0" lang="ja-JP"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控制人</a:t>
                      </a:r>
                      <a:endPar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0" marR="0"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indent="-185738">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457200" marR="0" lvl="1" indent="-457200" algn="l" defTabSz="914400" rtl="0" eaLnBrk="1" fontAlgn="base" latinLnBrk="0" hangingPunct="1">
                        <a:lnSpc>
                          <a:spcPct val="110000"/>
                        </a:lnSpc>
                        <a:spcBef>
                          <a:spcPct val="0"/>
                        </a:spcBef>
                        <a:spcAft>
                          <a:spcPct val="0"/>
                        </a:spcAft>
                        <a:buClrTx/>
                        <a:buSzTx/>
                        <a:buFontTx/>
                        <a:buNone/>
                        <a:tabLst/>
                      </a:pPr>
                      <a:r>
                        <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是否存在代持股协议？</a:t>
                      </a:r>
                      <a:endPar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457200" marR="0" lvl="1" indent="-457200" algn="l" defTabSz="914400" rtl="0" eaLnBrk="1" fontAlgn="base" latinLnBrk="0" hangingPunct="1">
                        <a:lnSpc>
                          <a:spcPct val="110000"/>
                        </a:lnSpc>
                        <a:spcBef>
                          <a:spcPct val="0"/>
                        </a:spcBef>
                        <a:spcAft>
                          <a:spcPct val="0"/>
                        </a:spcAft>
                        <a:buClrTx/>
                        <a:buSzTx/>
                        <a:buFontTx/>
                        <a:buNone/>
                        <a:tabLst/>
                      </a:pPr>
                      <a:r>
                        <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债转股协议？</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39887">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会</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股权比例：</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 10% C:90%]</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第一层股权）</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zh-CN" sz="1100" b="0" i="0" u="sng"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决策权：</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第一层大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如有信托，需列明委托人</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539887">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董事会</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执行董事</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defRPr>
                      </a:lvl2pPr>
                      <a:lvl3pPr marL="1143000" indent="-228600" defTabSz="457200">
                        <a:spcBef>
                          <a:spcPct val="20000"/>
                        </a:spcBef>
                        <a:defRPr sz="2000">
                          <a:solidFill>
                            <a:schemeClr val="tx1"/>
                          </a:solidFill>
                          <a:latin typeface="Arial" panose="020B0604020202020204" pitchFamily="34" charset="0"/>
                        </a:defRPr>
                      </a:lvl3pPr>
                      <a:lvl4pPr marL="1600200" indent="-228600" defTabSz="457200">
                        <a:spcBef>
                          <a:spcPct val="20000"/>
                        </a:spcBef>
                        <a:defRPr>
                          <a:solidFill>
                            <a:schemeClr val="tx1"/>
                          </a:solidFill>
                          <a:latin typeface="Arial" panose="020B0604020202020204" pitchFamily="34" charset="0"/>
                        </a:defRPr>
                      </a:lvl4pPr>
                      <a:lvl5pPr marL="2057400" indent="-228600" defTabSz="457200">
                        <a:spcBef>
                          <a:spcPct val="20000"/>
                        </a:spcBef>
                        <a:defRPr>
                          <a:solidFill>
                            <a:schemeClr val="tx1"/>
                          </a:solidFill>
                          <a:latin typeface="Arial" panose="020B0604020202020204" pitchFamily="34" charset="0"/>
                        </a:defRPr>
                      </a:lvl5pPr>
                      <a:lvl6pPr marL="2514600" indent="-228600" defTabSz="457200" eaLnBrk="0" fontAlgn="base" hangingPunct="0">
                        <a:spcBef>
                          <a:spcPct val="20000"/>
                        </a:spcBef>
                        <a:spcAft>
                          <a:spcPct val="0"/>
                        </a:spcAft>
                        <a:defRPr>
                          <a:solidFill>
                            <a:schemeClr val="tx1"/>
                          </a:solidFill>
                          <a:latin typeface="Arial" panose="020B0604020202020204" pitchFamily="34" charset="0"/>
                        </a:defRPr>
                      </a:lvl6pPr>
                      <a:lvl7pPr marL="2971800" indent="-228600" defTabSz="457200" eaLnBrk="0" fontAlgn="base" hangingPunct="0">
                        <a:spcBef>
                          <a:spcPct val="20000"/>
                        </a:spcBef>
                        <a:spcAft>
                          <a:spcPct val="0"/>
                        </a:spcAft>
                        <a:defRPr>
                          <a:solidFill>
                            <a:schemeClr val="tx1"/>
                          </a:solidFill>
                          <a:latin typeface="Arial" panose="020B0604020202020204" pitchFamily="34" charset="0"/>
                        </a:defRPr>
                      </a:lvl7pPr>
                      <a:lvl8pPr marL="3429000" indent="-228600" defTabSz="457200" eaLnBrk="0" fontAlgn="base" hangingPunct="0">
                        <a:spcBef>
                          <a:spcPct val="20000"/>
                        </a:spcBef>
                        <a:spcAft>
                          <a:spcPct val="0"/>
                        </a:spcAft>
                        <a:defRPr>
                          <a:solidFill>
                            <a:schemeClr val="tx1"/>
                          </a:solidFill>
                          <a:latin typeface="Arial" panose="020B0604020202020204" pitchFamily="34" charset="0"/>
                        </a:defRPr>
                      </a:lvl8pPr>
                      <a:lvl9pPr marL="3886200" indent="-228600" defTabSz="4572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甲</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丁</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戊</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董事长</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或席位</a:t>
                      </a:r>
                    </a:p>
                    <a:p>
                      <a:pPr marL="0" marR="0" lvl="0" indent="0" algn="l" defTabSz="457200" rtl="0" eaLnBrk="1" fontAlgn="base" latinLnBrk="0" hangingPunct="1">
                        <a:lnSpc>
                          <a:spcPct val="110000"/>
                        </a:lnSpc>
                        <a:spcBef>
                          <a:spcPct val="0"/>
                        </a:spcBef>
                        <a:spcAft>
                          <a:spcPct val="0"/>
                        </a:spcAft>
                        <a:buClrTx/>
                        <a:buSzTx/>
                        <a:buFontTx/>
                        <a:buNone/>
                        <a:tabLst/>
                      </a:pPr>
                      <a:r>
                        <a:rPr kumimoji="0" lang="zh-CN" altLang="en-US" sz="1100" b="0" i="0" u="sng"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表决权：</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甲代表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的利益；丁</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戊代表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的权益</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r h="355653">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监事（会）</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defTabSz="457200">
                        <a:spcBef>
                          <a:spcPct val="20000"/>
                        </a:spcBef>
                        <a:defRPr sz="2800">
                          <a:solidFill>
                            <a:schemeClr val="tx1"/>
                          </a:solidFill>
                          <a:latin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defRPr>
                      </a:lvl2pPr>
                      <a:lvl3pPr marL="1143000" indent="-228600" defTabSz="457200">
                        <a:spcBef>
                          <a:spcPct val="20000"/>
                        </a:spcBef>
                        <a:defRPr sz="2000">
                          <a:solidFill>
                            <a:schemeClr val="tx1"/>
                          </a:solidFill>
                          <a:latin typeface="Arial" panose="020B0604020202020204" pitchFamily="34" charset="0"/>
                        </a:defRPr>
                      </a:lvl3pPr>
                      <a:lvl4pPr marL="1600200" indent="-228600" defTabSz="457200">
                        <a:spcBef>
                          <a:spcPct val="20000"/>
                        </a:spcBef>
                        <a:defRPr>
                          <a:solidFill>
                            <a:schemeClr val="tx1"/>
                          </a:solidFill>
                          <a:latin typeface="Arial" panose="020B0604020202020204" pitchFamily="34" charset="0"/>
                        </a:defRPr>
                      </a:lvl4pPr>
                      <a:lvl5pPr marL="2057400" indent="-228600" defTabSz="457200">
                        <a:spcBef>
                          <a:spcPct val="20000"/>
                        </a:spcBef>
                        <a:defRPr>
                          <a:solidFill>
                            <a:schemeClr val="tx1"/>
                          </a:solidFill>
                          <a:latin typeface="Arial" panose="020B0604020202020204" pitchFamily="34" charset="0"/>
                        </a:defRPr>
                      </a:lvl5pPr>
                      <a:lvl6pPr marL="2514600" indent="-228600" defTabSz="457200" eaLnBrk="0" fontAlgn="base" hangingPunct="0">
                        <a:spcBef>
                          <a:spcPct val="20000"/>
                        </a:spcBef>
                        <a:spcAft>
                          <a:spcPct val="0"/>
                        </a:spcAft>
                        <a:defRPr>
                          <a:solidFill>
                            <a:schemeClr val="tx1"/>
                          </a:solidFill>
                          <a:latin typeface="Arial" panose="020B0604020202020204" pitchFamily="34" charset="0"/>
                        </a:defRPr>
                      </a:lvl6pPr>
                      <a:lvl7pPr marL="2971800" indent="-228600" defTabSz="457200" eaLnBrk="0" fontAlgn="base" hangingPunct="0">
                        <a:spcBef>
                          <a:spcPct val="20000"/>
                        </a:spcBef>
                        <a:spcAft>
                          <a:spcPct val="0"/>
                        </a:spcAft>
                        <a:defRPr>
                          <a:solidFill>
                            <a:schemeClr val="tx1"/>
                          </a:solidFill>
                          <a:latin typeface="Arial" panose="020B0604020202020204" pitchFamily="34" charset="0"/>
                        </a:defRPr>
                      </a:lvl7pPr>
                      <a:lvl8pPr marL="3429000" indent="-228600" defTabSz="457200" eaLnBrk="0" fontAlgn="base" hangingPunct="0">
                        <a:spcBef>
                          <a:spcPct val="20000"/>
                        </a:spcBef>
                        <a:spcAft>
                          <a:spcPct val="0"/>
                        </a:spcAft>
                        <a:defRPr>
                          <a:solidFill>
                            <a:schemeClr val="tx1"/>
                          </a:solidFill>
                          <a:latin typeface="Arial" panose="020B0604020202020204" pitchFamily="34" charset="0"/>
                        </a:defRPr>
                      </a:lvl8pPr>
                      <a:lvl9pPr marL="3886200" indent="-228600" defTabSz="4572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张三</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王二麻子</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陈六</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或席位</a:t>
                      </a:r>
                    </a:p>
                    <a:p>
                      <a:pPr marL="0" marR="0" lvl="0" indent="0" algn="l" defTabSz="457200" rtl="0" eaLnBrk="1" fontAlgn="base" latinLnBrk="0" hangingPunct="1">
                        <a:lnSpc>
                          <a:spcPct val="110000"/>
                        </a:lnSpc>
                        <a:spcBef>
                          <a:spcPct val="0"/>
                        </a:spcBef>
                        <a:spcAft>
                          <a:spcPct val="0"/>
                        </a:spcAft>
                        <a:buClrTx/>
                        <a:buSzTx/>
                        <a:buFontTx/>
                        <a:buNone/>
                        <a:tabLst/>
                      </a:pPr>
                      <a:r>
                        <a:rPr kumimoji="0" lang="zh-CN" altLang="en-US" sz="1100" b="0" i="0" u="sng"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监督权：</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陈六代表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的利益</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5"/>
                  </a:ext>
                </a:extLst>
              </a:tr>
              <a:tr h="171419">
                <a:tc gridSpan="4">
                  <a:txBody>
                    <a:bodyPr/>
                    <a:lstStyle>
                      <a:lvl1pPr defTabSz="457200">
                        <a:spcBef>
                          <a:spcPct val="20000"/>
                        </a:spcBef>
                        <a:defRPr sz="2800">
                          <a:solidFill>
                            <a:schemeClr val="tx1"/>
                          </a:solidFill>
                          <a:latin typeface="Arial" panose="020B0604020202020204" pitchFamily="34" charset="0"/>
                        </a:defRPr>
                      </a:lvl1pPr>
                      <a:lvl2pPr marL="742950" indent="-285750" defTabSz="457200">
                        <a:spcBef>
                          <a:spcPct val="20000"/>
                        </a:spcBef>
                        <a:defRPr sz="2400">
                          <a:solidFill>
                            <a:schemeClr val="tx1"/>
                          </a:solidFill>
                          <a:latin typeface="Arial" panose="020B0604020202020204" pitchFamily="34" charset="0"/>
                        </a:defRPr>
                      </a:lvl2pPr>
                      <a:lvl3pPr marL="1143000" indent="-228600" defTabSz="457200">
                        <a:spcBef>
                          <a:spcPct val="20000"/>
                        </a:spcBef>
                        <a:defRPr sz="2000">
                          <a:solidFill>
                            <a:schemeClr val="tx1"/>
                          </a:solidFill>
                          <a:latin typeface="Arial" panose="020B0604020202020204" pitchFamily="34" charset="0"/>
                        </a:defRPr>
                      </a:lvl3pPr>
                      <a:lvl4pPr marL="1600200" indent="-228600" defTabSz="457200">
                        <a:spcBef>
                          <a:spcPct val="20000"/>
                        </a:spcBef>
                        <a:defRPr>
                          <a:solidFill>
                            <a:schemeClr val="tx1"/>
                          </a:solidFill>
                          <a:latin typeface="Arial" panose="020B0604020202020204" pitchFamily="34" charset="0"/>
                        </a:defRPr>
                      </a:lvl4pPr>
                      <a:lvl5pPr marL="2057400" indent="-228600" defTabSz="457200">
                        <a:spcBef>
                          <a:spcPct val="20000"/>
                        </a:spcBef>
                        <a:defRPr>
                          <a:solidFill>
                            <a:schemeClr val="tx1"/>
                          </a:solidFill>
                          <a:latin typeface="Arial" panose="020B0604020202020204" pitchFamily="34" charset="0"/>
                        </a:defRPr>
                      </a:lvl5pPr>
                      <a:lvl6pPr marL="2514600" indent="-228600" defTabSz="457200" eaLnBrk="0" fontAlgn="base" hangingPunct="0">
                        <a:spcBef>
                          <a:spcPct val="20000"/>
                        </a:spcBef>
                        <a:spcAft>
                          <a:spcPct val="0"/>
                        </a:spcAft>
                        <a:defRPr>
                          <a:solidFill>
                            <a:schemeClr val="tx1"/>
                          </a:solidFill>
                          <a:latin typeface="Arial" panose="020B0604020202020204" pitchFamily="34" charset="0"/>
                        </a:defRPr>
                      </a:lvl6pPr>
                      <a:lvl7pPr marL="2971800" indent="-228600" defTabSz="457200" eaLnBrk="0" fontAlgn="base" hangingPunct="0">
                        <a:spcBef>
                          <a:spcPct val="20000"/>
                        </a:spcBef>
                        <a:spcAft>
                          <a:spcPct val="0"/>
                        </a:spcAft>
                        <a:defRPr>
                          <a:solidFill>
                            <a:schemeClr val="tx1"/>
                          </a:solidFill>
                          <a:latin typeface="Arial" panose="020B0604020202020204" pitchFamily="34" charset="0"/>
                        </a:defRPr>
                      </a:lvl7pPr>
                      <a:lvl8pPr marL="3429000" indent="-228600" defTabSz="457200" eaLnBrk="0" fontAlgn="base" hangingPunct="0">
                        <a:spcBef>
                          <a:spcPct val="20000"/>
                        </a:spcBef>
                        <a:spcAft>
                          <a:spcPct val="0"/>
                        </a:spcAft>
                        <a:defRPr>
                          <a:solidFill>
                            <a:schemeClr val="tx1"/>
                          </a:solidFill>
                          <a:latin typeface="Arial" panose="020B0604020202020204" pitchFamily="34" charset="0"/>
                        </a:defRPr>
                      </a:lvl8pPr>
                      <a:lvl9pPr marL="3886200" indent="-228600" defTabSz="4572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10000"/>
                        </a:lnSpc>
                        <a:spcBef>
                          <a:spcPct val="0"/>
                        </a:spcBef>
                        <a:spcAft>
                          <a:spcPct val="0"/>
                        </a:spcAft>
                        <a:buClrTx/>
                        <a:buSzTx/>
                        <a:buFontTx/>
                        <a:buNone/>
                        <a:tabLst/>
                      </a:pPr>
                      <a:r>
                        <a:rPr kumimoji="0" lang="zh-CN"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任免权</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6"/>
                  </a:ext>
                </a:extLst>
              </a:tr>
              <a:tr h="284832">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10000"/>
                        </a:lnSpc>
                        <a:spcBef>
                          <a:spcPct val="0"/>
                        </a:spcBef>
                        <a:spcAft>
                          <a:spcPct val="0"/>
                        </a:spcAft>
                        <a:buClrTx/>
                        <a:buSzTx/>
                        <a:buFontTx/>
                        <a:buNone/>
                        <a:tabLst/>
                      </a:pPr>
                      <a:r>
                        <a:rPr kumimoji="0" lang="zh-CN" altLang="en-US"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日常经营机构</a:t>
                      </a:r>
                    </a:p>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1"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法定代表人</a:t>
                      </a:r>
                    </a:p>
                  </a:txBody>
                  <a:tcPr marL="0" marR="0"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7"/>
                  </a:ext>
                </a:extLst>
              </a:tr>
              <a:tr h="171419">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ja-JP"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总经理</a:t>
                      </a:r>
                      <a:endParaRPr kumimoji="0" lang="zh-CN" altLang="en-US" sz="11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0" marR="0"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董事丁</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戊推荐聘任</a:t>
                      </a: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8"/>
                  </a:ext>
                </a:extLst>
              </a:tr>
              <a:tr h="702790">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其它对公司决策有重大影响的高管（如</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FO/</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副总经理</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销售主管</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售后主管）</a:t>
                      </a:r>
                    </a:p>
                  </a:txBody>
                  <a:tcPr marL="0" marR="0"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FO: </a:t>
                      </a: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C</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Tx/>
                        <a:buNone/>
                        <a:tabLst/>
                      </a:pPr>
                      <a:r>
                        <a:rPr kumimoji="0" lang="zh-CN" altLang="en-US"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销售主管： 股东</a:t>
                      </a: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10000"/>
                        </a:lnSpc>
                        <a:spcBef>
                          <a:spcPct val="0"/>
                        </a:spcBef>
                        <a:spcAft>
                          <a:spcPct val="0"/>
                        </a:spcAft>
                        <a:buClrTx/>
                        <a:buSzTx/>
                        <a:buFontTx/>
                        <a:buNone/>
                        <a:tabLst/>
                      </a:pPr>
                      <a:r>
                        <a:rPr kumimoji="0" lang="en-US"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1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47902" marR="47902"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82364705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内容占位符 2"/>
          <p:cNvSpPr>
            <a:spLocks noGrp="1"/>
          </p:cNvSpPr>
          <p:nvPr>
            <p:ph type="body" sz="quarter" idx="36"/>
          </p:nvPr>
        </p:nvSpPr>
        <p:spPr bwMode="auto">
          <a:xfrm>
            <a:off x="360364" y="1270669"/>
            <a:ext cx="8389936" cy="3457575"/>
          </a:xfrm>
          <a:prstGeom prst="rect">
            <a:avLst/>
          </a:prstGeom>
          <a:solidFill>
            <a:srgbClr val="FFFFFF"/>
          </a:solidFill>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ormAutofit/>
          </a:bodyPr>
          <a:lstStyle/>
          <a:p>
            <a:pPr eaLnBrk="1" hangingPunct="1"/>
            <a:r>
              <a:rPr lang="zh-CN" altLang="en-US" dirty="0">
                <a:solidFill>
                  <a:srgbClr val="000000"/>
                </a:solidFill>
                <a:latin typeface="微软雅黑" panose="020B0503020204020204" pitchFamily="34" charset="-122"/>
                <a:ea typeface="微软雅黑" panose="020B0503020204020204" pitchFamily="34" charset="-122"/>
              </a:rPr>
              <a:t>建议的管理团队计划</a:t>
            </a:r>
            <a:r>
              <a:rPr lang="en-US" altLang="zh-CN" dirty="0">
                <a:solidFill>
                  <a:srgbClr val="000000"/>
                </a:solidFill>
                <a:latin typeface="微软雅黑" panose="020B0503020204020204" pitchFamily="34" charset="-122"/>
                <a:ea typeface="微软雅黑" panose="020B0503020204020204" pitchFamily="34" charset="-122"/>
              </a:rPr>
              <a:t>- </a:t>
            </a:r>
            <a:r>
              <a:rPr lang="zh-CN" altLang="en-US" u="sng" dirty="0">
                <a:solidFill>
                  <a:srgbClr val="000000"/>
                </a:solidFill>
                <a:latin typeface="微软雅黑" panose="020B0503020204020204" pitchFamily="34" charset="-122"/>
                <a:ea typeface="微软雅黑" panose="020B0503020204020204" pitchFamily="34" charset="-122"/>
              </a:rPr>
              <a:t>任职资格计划</a:t>
            </a:r>
          </a:p>
          <a:p>
            <a:pPr lvl="1" eaLnBrk="1" hangingPunct="1">
              <a:buFontTx/>
              <a:buChar char="•"/>
            </a:pPr>
            <a:endParaRPr lang="en-US" altLang="zh-CN" sz="1400" dirty="0">
              <a:solidFill>
                <a:srgbClr val="000000"/>
              </a:solidFill>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业务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7</a:t>
            </a:fld>
            <a:endParaRPr lang="sv-SE">
              <a:latin typeface="微软雅黑" panose="020B0503020204020204" pitchFamily="34" charset="-122"/>
              <a:ea typeface="微软雅黑" panose="020B0503020204020204" pitchFamily="34" charset="-122"/>
            </a:endParaRPr>
          </a:p>
        </p:txBody>
      </p:sp>
      <p:graphicFrame>
        <p:nvGraphicFramePr>
          <p:cNvPr id="9" name="Group 87"/>
          <p:cNvGraphicFramePr>
            <a:graphicFrameLocks noGrp="1"/>
          </p:cNvGraphicFramePr>
          <p:nvPr>
            <p:extLst>
              <p:ext uri="{D42A27DB-BD31-4B8C-83A1-F6EECF244321}">
                <p14:modId xmlns:p14="http://schemas.microsoft.com/office/powerpoint/2010/main" val="1824977629"/>
              </p:ext>
            </p:extLst>
          </p:nvPr>
        </p:nvGraphicFramePr>
        <p:xfrm>
          <a:off x="453916" y="1564679"/>
          <a:ext cx="8222416" cy="3045322"/>
        </p:xfrm>
        <a:graphic>
          <a:graphicData uri="http://schemas.openxmlformats.org/drawingml/2006/table">
            <a:tbl>
              <a:tblPr/>
              <a:tblGrid>
                <a:gridCol w="1229298">
                  <a:extLst>
                    <a:ext uri="{9D8B030D-6E8A-4147-A177-3AD203B41FA5}">
                      <a16:colId xmlns:a16="http://schemas.microsoft.com/office/drawing/2014/main" val="20000"/>
                    </a:ext>
                  </a:extLst>
                </a:gridCol>
                <a:gridCol w="1411059">
                  <a:extLst>
                    <a:ext uri="{9D8B030D-6E8A-4147-A177-3AD203B41FA5}">
                      <a16:colId xmlns:a16="http://schemas.microsoft.com/office/drawing/2014/main" val="20001"/>
                    </a:ext>
                  </a:extLst>
                </a:gridCol>
                <a:gridCol w="1337717">
                  <a:extLst>
                    <a:ext uri="{9D8B030D-6E8A-4147-A177-3AD203B41FA5}">
                      <a16:colId xmlns:a16="http://schemas.microsoft.com/office/drawing/2014/main" val="20002"/>
                    </a:ext>
                  </a:extLst>
                </a:gridCol>
                <a:gridCol w="1269157">
                  <a:extLst>
                    <a:ext uri="{9D8B030D-6E8A-4147-A177-3AD203B41FA5}">
                      <a16:colId xmlns:a16="http://schemas.microsoft.com/office/drawing/2014/main" val="20003"/>
                    </a:ext>
                  </a:extLst>
                </a:gridCol>
                <a:gridCol w="1639062">
                  <a:extLst>
                    <a:ext uri="{9D8B030D-6E8A-4147-A177-3AD203B41FA5}">
                      <a16:colId xmlns:a16="http://schemas.microsoft.com/office/drawing/2014/main" val="20004"/>
                    </a:ext>
                  </a:extLst>
                </a:gridCol>
                <a:gridCol w="1336123">
                  <a:extLst>
                    <a:ext uri="{9D8B030D-6E8A-4147-A177-3AD203B41FA5}">
                      <a16:colId xmlns:a16="http://schemas.microsoft.com/office/drawing/2014/main" val="20005"/>
                    </a:ext>
                  </a:extLst>
                </a:gridCol>
              </a:tblGrid>
              <a:tr h="39450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未来决策人</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总经理</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销售经理</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市场客服经理</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售后经理</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71555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年龄</a:t>
                      </a:r>
                      <a:r>
                        <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性别</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75631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教育背景</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613544">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经验背景</a:t>
                      </a:r>
                    </a:p>
                    <a:p>
                      <a:pPr marL="0" marR="0" lvl="0" indent="0" algn="ctr" defTabSz="914400" rtl="0" eaLnBrk="0" fontAlgn="base" latinLnBrk="0" hangingPunct="0">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65407">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内部</a:t>
                      </a:r>
                      <a:r>
                        <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外部招聘</a:t>
                      </a: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zh-CN"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4" marB="43114"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33967754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Group 84"/>
          <p:cNvGraphicFramePr>
            <a:graphicFrameLocks noGrp="1"/>
          </p:cNvGraphicFramePr>
          <p:nvPr>
            <p:ph sz="half" idx="4294967295"/>
            <p:extLst>
              <p:ext uri="{D42A27DB-BD31-4B8C-83A1-F6EECF244321}">
                <p14:modId xmlns:p14="http://schemas.microsoft.com/office/powerpoint/2010/main" val="1207867104"/>
              </p:ext>
            </p:extLst>
          </p:nvPr>
        </p:nvGraphicFramePr>
        <p:xfrm>
          <a:off x="444122" y="1769878"/>
          <a:ext cx="8222418" cy="3035485"/>
        </p:xfrm>
        <a:graphic>
          <a:graphicData uri="http://schemas.openxmlformats.org/drawingml/2006/table">
            <a:tbl>
              <a:tblPr/>
              <a:tblGrid>
                <a:gridCol w="1086994">
                  <a:extLst>
                    <a:ext uri="{9D8B030D-6E8A-4147-A177-3AD203B41FA5}">
                      <a16:colId xmlns:a16="http://schemas.microsoft.com/office/drawing/2014/main" val="20000"/>
                    </a:ext>
                  </a:extLst>
                </a:gridCol>
                <a:gridCol w="1423831">
                  <a:extLst>
                    <a:ext uri="{9D8B030D-6E8A-4147-A177-3AD203B41FA5}">
                      <a16:colId xmlns:a16="http://schemas.microsoft.com/office/drawing/2014/main" val="20001"/>
                    </a:ext>
                  </a:extLst>
                </a:gridCol>
                <a:gridCol w="1331078">
                  <a:extLst>
                    <a:ext uri="{9D8B030D-6E8A-4147-A177-3AD203B41FA5}">
                      <a16:colId xmlns:a16="http://schemas.microsoft.com/office/drawing/2014/main" val="20002"/>
                    </a:ext>
                  </a:extLst>
                </a:gridCol>
                <a:gridCol w="1378267">
                  <a:extLst>
                    <a:ext uri="{9D8B030D-6E8A-4147-A177-3AD203B41FA5}">
                      <a16:colId xmlns:a16="http://schemas.microsoft.com/office/drawing/2014/main" val="20003"/>
                    </a:ext>
                  </a:extLst>
                </a:gridCol>
                <a:gridCol w="1672797">
                  <a:extLst>
                    <a:ext uri="{9D8B030D-6E8A-4147-A177-3AD203B41FA5}">
                      <a16:colId xmlns:a16="http://schemas.microsoft.com/office/drawing/2014/main" val="20004"/>
                    </a:ext>
                  </a:extLst>
                </a:gridCol>
                <a:gridCol w="1329451">
                  <a:extLst>
                    <a:ext uri="{9D8B030D-6E8A-4147-A177-3AD203B41FA5}">
                      <a16:colId xmlns:a16="http://schemas.microsoft.com/office/drawing/2014/main" val="20005"/>
                    </a:ext>
                  </a:extLst>
                </a:gridCol>
              </a:tblGrid>
              <a:tr h="41990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未来决策人</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总经理</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销售经理</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市场客服经理</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售后经理</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13072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薪资福利结构</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308316">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薪资福利竞争力定位</a:t>
                      </a: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20000"/>
                        </a:spcBef>
                        <a:spcAft>
                          <a:spcPct val="0"/>
                        </a:spcAft>
                        <a:buClrTx/>
                        <a:buSzTx/>
                        <a:buFontTx/>
                        <a:buNone/>
                        <a:tabLst/>
                      </a:pPr>
                      <a:endParaRPr kumimoji="0" lang="en-US" altLang="zh-CN"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6223" marR="86223" marT="43113" marB="43113"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sp>
        <p:nvSpPr>
          <p:cNvPr id="2" name="Text Placeholder 1"/>
          <p:cNvSpPr>
            <a:spLocks noGrp="1"/>
          </p:cNvSpPr>
          <p:nvPr>
            <p:ph type="body" sz="quarter" idx="36"/>
          </p:nvPr>
        </p:nvSpPr>
        <p:spPr>
          <a:xfrm>
            <a:off x="444122" y="1347788"/>
            <a:ext cx="8389936" cy="3457575"/>
          </a:xfrm>
        </p:spPr>
        <p:txBody>
          <a:bodyPr/>
          <a:lstStyle/>
          <a:p>
            <a:pPr marL="0" indent="0">
              <a:buNone/>
            </a:pPr>
            <a:r>
              <a:rPr lang="zh-CN" altLang="en-US" dirty="0">
                <a:latin typeface="微软雅黑" panose="020B0503020204020204" pitchFamily="34" charset="-122"/>
                <a:ea typeface="微软雅黑" panose="020B0503020204020204" pitchFamily="34" charset="-122"/>
              </a:rPr>
              <a:t>建议的管理团队计划 </a:t>
            </a:r>
            <a:r>
              <a:rPr lang="en-US" altLang="zh-CN" dirty="0">
                <a:latin typeface="微软雅黑" panose="020B0503020204020204" pitchFamily="34" charset="-122"/>
                <a:ea typeface="微软雅黑" panose="020B0503020204020204" pitchFamily="34" charset="-122"/>
              </a:rPr>
              <a:t>– </a:t>
            </a:r>
            <a:r>
              <a:rPr lang="zh-CN" altLang="en-US" u="sng" dirty="0">
                <a:latin typeface="微软雅黑" panose="020B0503020204020204" pitchFamily="34" charset="-122"/>
                <a:ea typeface="微软雅黑" panose="020B0503020204020204" pitchFamily="34" charset="-122"/>
              </a:rPr>
              <a:t>薪资福利计划</a:t>
            </a:r>
            <a:endParaRPr lang="en-GB" u="sng"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业务计划</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8</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36127727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oup 51"/>
          <p:cNvGraphicFramePr>
            <a:graphicFrameLocks noGrp="1"/>
          </p:cNvGraphicFramePr>
          <p:nvPr>
            <p:ph sz="half" idx="4294967295"/>
            <p:extLst>
              <p:ext uri="{D42A27DB-BD31-4B8C-83A1-F6EECF244321}">
                <p14:modId xmlns:p14="http://schemas.microsoft.com/office/powerpoint/2010/main" val="4041058259"/>
              </p:ext>
            </p:extLst>
          </p:nvPr>
        </p:nvGraphicFramePr>
        <p:xfrm>
          <a:off x="360363" y="1966530"/>
          <a:ext cx="6926017" cy="2753467"/>
        </p:xfrm>
        <a:graphic>
          <a:graphicData uri="http://schemas.openxmlformats.org/drawingml/2006/table">
            <a:tbl>
              <a:tblPr/>
              <a:tblGrid>
                <a:gridCol w="1046184">
                  <a:extLst>
                    <a:ext uri="{9D8B030D-6E8A-4147-A177-3AD203B41FA5}">
                      <a16:colId xmlns:a16="http://schemas.microsoft.com/office/drawing/2014/main" val="20000"/>
                    </a:ext>
                  </a:extLst>
                </a:gridCol>
                <a:gridCol w="2007541">
                  <a:extLst>
                    <a:ext uri="{9D8B030D-6E8A-4147-A177-3AD203B41FA5}">
                      <a16:colId xmlns:a16="http://schemas.microsoft.com/office/drawing/2014/main" val="20001"/>
                    </a:ext>
                  </a:extLst>
                </a:gridCol>
                <a:gridCol w="1237041">
                  <a:extLst>
                    <a:ext uri="{9D8B030D-6E8A-4147-A177-3AD203B41FA5}">
                      <a16:colId xmlns:a16="http://schemas.microsoft.com/office/drawing/2014/main" val="20002"/>
                    </a:ext>
                  </a:extLst>
                </a:gridCol>
                <a:gridCol w="2635251">
                  <a:extLst>
                    <a:ext uri="{9D8B030D-6E8A-4147-A177-3AD203B41FA5}">
                      <a16:colId xmlns:a16="http://schemas.microsoft.com/office/drawing/2014/main" val="20003"/>
                    </a:ext>
                  </a:extLst>
                </a:gridCol>
              </a:tblGrid>
              <a:tr h="527455">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起讫时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及所经营品牌</a:t>
                      </a: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职 位</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主要职责和业绩</a:t>
                      </a: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2" name="Text Placeholder 1"/>
          <p:cNvSpPr>
            <a:spLocks noGrp="1"/>
          </p:cNvSpPr>
          <p:nvPr>
            <p:ph type="body" sz="quarter" idx="36"/>
          </p:nvPr>
        </p:nvSpPr>
        <p:spPr>
          <a:xfrm>
            <a:off x="360364" y="1291535"/>
            <a:ext cx="8389936" cy="515347"/>
          </a:xfrm>
        </p:spPr>
        <p:txBody>
          <a:bodyPr/>
          <a:lstStyle/>
          <a:p>
            <a:pPr marL="0" indent="0">
              <a:buNone/>
            </a:pPr>
            <a:r>
              <a:rPr lang="zh-CN" altLang="en-US" dirty="0">
                <a:latin typeface="微软雅黑" panose="020B0503020204020204" pitchFamily="34" charset="-122"/>
                <a:ea typeface="微软雅黑" panose="020B0503020204020204" pitchFamily="34" charset="-122"/>
              </a:rPr>
              <a:t>姓名</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性别</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年龄</a:t>
            </a:r>
            <a:r>
              <a:rPr lang="en-US" altLang="zh-CN" dirty="0">
                <a:latin typeface="微软雅黑" panose="020B0503020204020204" pitchFamily="34" charset="-122"/>
                <a:ea typeface="微软雅黑" panose="020B0503020204020204" pitchFamily="34" charset="-122"/>
              </a:rPr>
              <a:t>:         </a:t>
            </a:r>
          </a:p>
          <a:p>
            <a:pPr marL="0" indent="0">
              <a:buNone/>
            </a:pPr>
            <a:r>
              <a:rPr lang="zh-CN" altLang="en-US" dirty="0">
                <a:latin typeface="微软雅黑" panose="020B0503020204020204" pitchFamily="34" charset="-122"/>
                <a:ea typeface="微软雅黑" panose="020B0503020204020204" pitchFamily="34" charset="-122"/>
              </a:rPr>
              <a:t>学历</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专业：</a:t>
            </a:r>
          </a:p>
          <a:p>
            <a:pPr marL="0" indent="0">
              <a:buNone/>
            </a:pP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建议的未来决策人（如果已经有）</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59</a:t>
            </a:fld>
            <a:endParaRPr lang="sv-SE">
              <a:latin typeface="微软雅黑" panose="020B0503020204020204" pitchFamily="34" charset="-122"/>
              <a:ea typeface="微软雅黑" panose="020B0503020204020204" pitchFamily="34" charset="-122"/>
            </a:endParaRPr>
          </a:p>
        </p:txBody>
      </p:sp>
      <p:sp>
        <p:nvSpPr>
          <p:cNvPr id="11" name="Rectangle 46"/>
          <p:cNvSpPr>
            <a:spLocks noChangeArrowheads="1"/>
          </p:cNvSpPr>
          <p:nvPr/>
        </p:nvSpPr>
        <p:spPr bwMode="auto">
          <a:xfrm>
            <a:off x="7510050" y="1304909"/>
            <a:ext cx="1166282" cy="1523598"/>
          </a:xfrm>
          <a:prstGeom prst="rect">
            <a:avLst/>
          </a:prstGeom>
          <a:solidFill>
            <a:schemeClr val="bg2">
              <a:lumMod val="10000"/>
              <a:lumOff val="90000"/>
            </a:schemeClr>
          </a:solidFill>
          <a:ln>
            <a:noFill/>
          </a:ln>
          <a:effectLst/>
        </p:spPr>
        <p:txBody>
          <a:bodyPr wrap="none" lIns="86223" tIns="43112" rIns="86223" bIns="43112" anchor="ctr"/>
          <a:lstStyle/>
          <a:p>
            <a:pPr algn="ctr" defTabSz="861824">
              <a:defRPr/>
            </a:pPr>
            <a:r>
              <a:rPr lang="zh-CN" altLang="en-US" sz="2521" b="1" dirty="0">
                <a:solidFill>
                  <a:srgbClr val="0070C0"/>
                </a:solidFill>
                <a:latin typeface="微软雅黑" panose="020B0503020204020204" pitchFamily="34" charset="-122"/>
                <a:ea typeface="微软雅黑" panose="020B0503020204020204" pitchFamily="34" charset="-122"/>
              </a:rPr>
              <a:t>照</a:t>
            </a:r>
            <a:endParaRPr lang="en-US" altLang="zh-CN" sz="2521" b="1" dirty="0">
              <a:solidFill>
                <a:srgbClr val="0070C0"/>
              </a:solidFill>
              <a:latin typeface="微软雅黑" panose="020B0503020204020204" pitchFamily="34" charset="-122"/>
              <a:ea typeface="微软雅黑" panose="020B0503020204020204" pitchFamily="34" charset="-122"/>
            </a:endParaRPr>
          </a:p>
          <a:p>
            <a:pPr algn="ctr" defTabSz="861824">
              <a:defRPr/>
            </a:pPr>
            <a:r>
              <a:rPr lang="zh-CN" altLang="en-US" sz="2521" b="1" dirty="0">
                <a:solidFill>
                  <a:srgbClr val="0070C0"/>
                </a:solidFill>
                <a:latin typeface="微软雅黑" panose="020B0503020204020204" pitchFamily="34" charset="-122"/>
                <a:ea typeface="微软雅黑" panose="020B0503020204020204" pitchFamily="34" charset="-122"/>
              </a:rPr>
              <a:t>片</a:t>
            </a:r>
          </a:p>
        </p:txBody>
      </p:sp>
    </p:spTree>
    <p:extLst>
      <p:ext uri="{BB962C8B-B14F-4D97-AF65-F5344CB8AC3E}">
        <p14:creationId xmlns:p14="http://schemas.microsoft.com/office/powerpoint/2010/main" val="3593324498"/>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36"/>
          </p:nvPr>
        </p:nvSpPr>
        <p:spPr/>
        <p:txBody>
          <a:bodyPr>
            <a:normAutofit/>
          </a:bodyPr>
          <a:lstStyle/>
          <a:p>
            <a:r>
              <a:rPr lang="zh-CN" altLang="en-US" dirty="0">
                <a:solidFill>
                  <a:srgbClr val="000000"/>
                </a:solidFill>
                <a:latin typeface="微软雅黑" panose="020B0503020204020204" pitchFamily="34" charset="-122"/>
                <a:ea typeface="微软雅黑" panose="020B0503020204020204" pitchFamily="34" charset="-122"/>
              </a:rPr>
              <a:t>申请公司的背景资料</a:t>
            </a:r>
            <a:r>
              <a:rPr lang="en-US" altLang="zh-CN" dirty="0">
                <a:solidFill>
                  <a:srgbClr val="000000"/>
                </a:solidFill>
                <a:latin typeface="微软雅黑" panose="020B0503020204020204" pitchFamily="34" charset="-122"/>
                <a:ea typeface="微软雅黑" panose="020B0503020204020204" pitchFamily="34" charset="-122"/>
              </a:rPr>
              <a:t>:</a:t>
            </a:r>
          </a:p>
          <a:p>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a:t>
            </a:fld>
            <a:endParaRPr lang="sv-SE">
              <a:latin typeface="微软雅黑" panose="020B0503020204020204" pitchFamily="34" charset="-122"/>
              <a:ea typeface="微软雅黑" panose="020B0503020204020204" pitchFamily="34" charset="-122"/>
            </a:endParaRPr>
          </a:p>
        </p:txBody>
      </p:sp>
      <p:graphicFrame>
        <p:nvGraphicFramePr>
          <p:cNvPr id="9" name="Group 59"/>
          <p:cNvGraphicFramePr>
            <a:graphicFrameLocks noGrp="1"/>
          </p:cNvGraphicFramePr>
          <p:nvPr>
            <p:extLst>
              <p:ext uri="{D42A27DB-BD31-4B8C-83A1-F6EECF244321}">
                <p14:modId xmlns:p14="http://schemas.microsoft.com/office/powerpoint/2010/main" val="1272608192"/>
              </p:ext>
            </p:extLst>
          </p:nvPr>
        </p:nvGraphicFramePr>
        <p:xfrm>
          <a:off x="568251" y="1742523"/>
          <a:ext cx="8121702" cy="2540235"/>
        </p:xfrm>
        <a:graphic>
          <a:graphicData uri="http://schemas.openxmlformats.org/drawingml/2006/table">
            <a:tbl>
              <a:tblPr/>
              <a:tblGrid>
                <a:gridCol w="4060850">
                  <a:extLst>
                    <a:ext uri="{9D8B030D-6E8A-4147-A177-3AD203B41FA5}">
                      <a16:colId xmlns:a16="http://schemas.microsoft.com/office/drawing/2014/main" val="20000"/>
                    </a:ext>
                  </a:extLst>
                </a:gridCol>
                <a:gridCol w="4060852">
                  <a:extLst>
                    <a:ext uri="{9D8B030D-6E8A-4147-A177-3AD203B41FA5}">
                      <a16:colId xmlns:a16="http://schemas.microsoft.com/office/drawing/2014/main" val="20001"/>
                    </a:ext>
                  </a:extLst>
                </a:gridCol>
              </a:tblGrid>
              <a:tr h="508047">
                <a:tc>
                  <a:txBody>
                    <a:bodyPr/>
                    <a:lstStyle>
                      <a:lvl1pPr marL="285750"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285750" marR="0" lvl="0" indent="-285750" algn="l" defTabSz="914400" rtl="0" eaLnBrk="1" fontAlgn="base" latinLnBrk="0" hangingPunct="1">
                        <a:lnSpc>
                          <a:spcPct val="130000"/>
                        </a:lnSpc>
                        <a:spcBef>
                          <a:spcPct val="0"/>
                        </a:spcBef>
                        <a:spcAft>
                          <a:spcPct val="0"/>
                        </a:spcAft>
                        <a:buClr>
                          <a:srgbClr val="000000"/>
                        </a:buClr>
                        <a:buSzTx/>
                        <a:buFont typeface="Wingdings" panose="05000000000000000000" pitchFamily="2" charset="2"/>
                        <a:buChar char="Ø"/>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注册资本</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0"/>
                  </a:ext>
                </a:extLst>
              </a:tr>
              <a:tr h="508047">
                <a:tc>
                  <a:txBody>
                    <a:bodyPr/>
                    <a:lstStyle>
                      <a:lvl1pPr marL="285750"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285750" marR="0" lvl="0" indent="-285750" algn="l" defTabSz="914400" rtl="0" eaLnBrk="1" fontAlgn="base" latinLnBrk="0" hangingPunct="1">
                        <a:lnSpc>
                          <a:spcPct val="130000"/>
                        </a:lnSpc>
                        <a:spcBef>
                          <a:spcPct val="0"/>
                        </a:spcBef>
                        <a:spcAft>
                          <a:spcPct val="0"/>
                        </a:spcAft>
                        <a:buClr>
                          <a:srgbClr val="000000"/>
                        </a:buClr>
                        <a:buSzTx/>
                        <a:buFont typeface="Wingdings" panose="05000000000000000000" pitchFamily="2" charset="2"/>
                        <a:buChar char="Ø"/>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主要经营范围</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r h="508047">
                <a:tc>
                  <a:txBody>
                    <a:bodyPr/>
                    <a:lstStyle>
                      <a:lvl1pPr marL="285750"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285750" marR="0" lvl="0" indent="-285750" algn="l" defTabSz="914400" rtl="0" eaLnBrk="1" fontAlgn="base" latinLnBrk="0" hangingPunct="1">
                        <a:lnSpc>
                          <a:spcPct val="130000"/>
                        </a:lnSpc>
                        <a:spcBef>
                          <a:spcPct val="0"/>
                        </a:spcBef>
                        <a:spcAft>
                          <a:spcPct val="0"/>
                        </a:spcAft>
                        <a:buClr>
                          <a:srgbClr val="000000"/>
                        </a:buClr>
                        <a:buSzTx/>
                        <a:buFont typeface="Wingdings" panose="05000000000000000000" pitchFamily="2" charset="2"/>
                        <a:buChar char="Ø"/>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收入总计</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2"/>
                  </a:ext>
                </a:extLst>
              </a:tr>
              <a:tr h="508047">
                <a:tc>
                  <a:txBody>
                    <a:bodyPr/>
                    <a:lstStyle>
                      <a:lvl1pPr marL="285750"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285750" marR="0" lvl="0" indent="-285750" algn="l" defTabSz="914400" rtl="0" eaLnBrk="1" fontAlgn="base" latinLnBrk="0" hangingPunct="1">
                        <a:lnSpc>
                          <a:spcPct val="130000"/>
                        </a:lnSpc>
                        <a:spcBef>
                          <a:spcPct val="0"/>
                        </a:spcBef>
                        <a:spcAft>
                          <a:spcPct val="0"/>
                        </a:spcAft>
                        <a:buClr>
                          <a:srgbClr val="000000"/>
                        </a:buClr>
                        <a:buSzTx/>
                        <a:buFont typeface="Wingdings" panose="05000000000000000000" pitchFamily="2" charset="2"/>
                        <a:buChar char="Ø"/>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利润总计</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3"/>
                  </a:ext>
                </a:extLst>
              </a:tr>
              <a:tr h="508047">
                <a:tc>
                  <a:txBody>
                    <a:bodyPr/>
                    <a:lstStyle>
                      <a:lvl1pPr marL="285750" indent="-285750">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285750" marR="0" lvl="0" indent="-285750" algn="l" defTabSz="914400" rtl="0" eaLnBrk="1" fontAlgn="base" latinLnBrk="0" hangingPunct="1">
                        <a:lnSpc>
                          <a:spcPct val="130000"/>
                        </a:lnSpc>
                        <a:spcBef>
                          <a:spcPct val="0"/>
                        </a:spcBef>
                        <a:spcAft>
                          <a:spcPct val="0"/>
                        </a:spcAft>
                        <a:buClr>
                          <a:srgbClr val="000000"/>
                        </a:buClr>
                        <a:buSzTx/>
                        <a:buFont typeface="Wingdings" panose="05000000000000000000" pitchFamily="2" charset="2"/>
                        <a:buChar char="Ø"/>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员工人数总计</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77307" marR="77307" marT="41300" marB="4130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87042397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oup 51"/>
          <p:cNvGraphicFramePr>
            <a:graphicFrameLocks noGrp="1"/>
          </p:cNvGraphicFramePr>
          <p:nvPr>
            <p:ph sz="half" idx="4294967295"/>
            <p:extLst>
              <p:ext uri="{D42A27DB-BD31-4B8C-83A1-F6EECF244321}">
                <p14:modId xmlns:p14="http://schemas.microsoft.com/office/powerpoint/2010/main" val="1639316856"/>
              </p:ext>
            </p:extLst>
          </p:nvPr>
        </p:nvGraphicFramePr>
        <p:xfrm>
          <a:off x="360363" y="1966530"/>
          <a:ext cx="6926017" cy="2753467"/>
        </p:xfrm>
        <a:graphic>
          <a:graphicData uri="http://schemas.openxmlformats.org/drawingml/2006/table">
            <a:tbl>
              <a:tblPr/>
              <a:tblGrid>
                <a:gridCol w="1046184">
                  <a:extLst>
                    <a:ext uri="{9D8B030D-6E8A-4147-A177-3AD203B41FA5}">
                      <a16:colId xmlns:a16="http://schemas.microsoft.com/office/drawing/2014/main" val="20000"/>
                    </a:ext>
                  </a:extLst>
                </a:gridCol>
                <a:gridCol w="2007541">
                  <a:extLst>
                    <a:ext uri="{9D8B030D-6E8A-4147-A177-3AD203B41FA5}">
                      <a16:colId xmlns:a16="http://schemas.microsoft.com/office/drawing/2014/main" val="20001"/>
                    </a:ext>
                  </a:extLst>
                </a:gridCol>
                <a:gridCol w="1237041">
                  <a:extLst>
                    <a:ext uri="{9D8B030D-6E8A-4147-A177-3AD203B41FA5}">
                      <a16:colId xmlns:a16="http://schemas.microsoft.com/office/drawing/2014/main" val="20002"/>
                    </a:ext>
                  </a:extLst>
                </a:gridCol>
                <a:gridCol w="2635251">
                  <a:extLst>
                    <a:ext uri="{9D8B030D-6E8A-4147-A177-3AD203B41FA5}">
                      <a16:colId xmlns:a16="http://schemas.microsoft.com/office/drawing/2014/main" val="20003"/>
                    </a:ext>
                  </a:extLst>
                </a:gridCol>
              </a:tblGrid>
              <a:tr h="527455">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起讫时间</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及所经营品牌</a:t>
                      </a: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职 位</a:t>
                      </a: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主要职责和业绩</a:t>
                      </a: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72563">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69441">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0" marR="0"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zh-CN" altLang="en-US" sz="13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64823" marR="64823"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bl>
          </a:graphicData>
        </a:graphic>
      </p:graphicFrame>
      <p:sp>
        <p:nvSpPr>
          <p:cNvPr id="2" name="Text Placeholder 1"/>
          <p:cNvSpPr>
            <a:spLocks noGrp="1"/>
          </p:cNvSpPr>
          <p:nvPr>
            <p:ph type="body" sz="quarter" idx="36"/>
          </p:nvPr>
        </p:nvSpPr>
        <p:spPr/>
        <p:txBody>
          <a:bodyPr/>
          <a:lstStyle/>
          <a:p>
            <a:pPr marL="0" indent="0">
              <a:buNone/>
            </a:pPr>
            <a:r>
              <a:rPr lang="zh-CN" altLang="en-US" dirty="0">
                <a:latin typeface="微软雅黑" panose="020B0503020204020204" pitchFamily="34" charset="-122"/>
                <a:ea typeface="微软雅黑" panose="020B0503020204020204" pitchFamily="34" charset="-122"/>
              </a:rPr>
              <a:t>姓名</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性别</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年龄</a:t>
            </a:r>
            <a:r>
              <a:rPr lang="en-US" altLang="zh-CN" dirty="0">
                <a:latin typeface="微软雅黑" panose="020B0503020204020204" pitchFamily="34" charset="-122"/>
                <a:ea typeface="微软雅黑" panose="020B0503020204020204" pitchFamily="34" charset="-122"/>
              </a:rPr>
              <a:t>:         </a:t>
            </a:r>
          </a:p>
          <a:p>
            <a:pPr marL="0" indent="0">
              <a:buNone/>
            </a:pPr>
            <a:r>
              <a:rPr lang="zh-CN" altLang="en-US" dirty="0">
                <a:latin typeface="微软雅黑" panose="020B0503020204020204" pitchFamily="34" charset="-122"/>
                <a:ea typeface="微软雅黑" panose="020B0503020204020204" pitchFamily="34" charset="-122"/>
              </a:rPr>
              <a:t>学历</a:t>
            </a:r>
            <a:r>
              <a:rPr lang="en-US" altLang="zh-CN" dirty="0">
                <a:latin typeface="微软雅黑" panose="020B0503020204020204" pitchFamily="34" charset="-122"/>
                <a:ea typeface="微软雅黑" panose="020B0503020204020204" pitchFamily="34" charset="-122"/>
              </a:rPr>
              <a:t>:                  </a:t>
            </a:r>
            <a:r>
              <a:rPr lang="zh-CN" altLang="en-US" dirty="0">
                <a:latin typeface="微软雅黑" panose="020B0503020204020204" pitchFamily="34" charset="-122"/>
                <a:ea typeface="微软雅黑" panose="020B0503020204020204" pitchFamily="34" charset="-122"/>
              </a:rPr>
              <a:t>专业：</a:t>
            </a:r>
          </a:p>
          <a:p>
            <a:pPr marL="0" indent="0">
              <a:buNone/>
            </a:pP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dirty="0">
                <a:latin typeface="微软雅黑" panose="020B0503020204020204" pitchFamily="34" charset="-122"/>
                <a:ea typeface="微软雅黑" panose="020B0503020204020204" pitchFamily="34" charset="-122"/>
              </a:rPr>
              <a:t>建议的未来总经理（如果已经有）</a:t>
            </a:r>
            <a:endParaRPr lang="en-GB"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0</a:t>
            </a:fld>
            <a:endParaRPr lang="sv-SE">
              <a:latin typeface="微软雅黑" panose="020B0503020204020204" pitchFamily="34" charset="-122"/>
              <a:ea typeface="微软雅黑" panose="020B0503020204020204" pitchFamily="34" charset="-122"/>
            </a:endParaRPr>
          </a:p>
        </p:txBody>
      </p:sp>
      <p:sp>
        <p:nvSpPr>
          <p:cNvPr id="11" name="Rectangle 46"/>
          <p:cNvSpPr>
            <a:spLocks noChangeArrowheads="1"/>
          </p:cNvSpPr>
          <p:nvPr/>
        </p:nvSpPr>
        <p:spPr bwMode="auto">
          <a:xfrm>
            <a:off x="7510050" y="1304909"/>
            <a:ext cx="1166282" cy="1523598"/>
          </a:xfrm>
          <a:prstGeom prst="rect">
            <a:avLst/>
          </a:prstGeom>
          <a:solidFill>
            <a:schemeClr val="bg2">
              <a:lumMod val="10000"/>
              <a:lumOff val="90000"/>
            </a:schemeClr>
          </a:solidFill>
          <a:ln>
            <a:noFill/>
          </a:ln>
          <a:effectLst/>
        </p:spPr>
        <p:txBody>
          <a:bodyPr wrap="none" lIns="86223" tIns="43112" rIns="86223" bIns="43112" anchor="ctr"/>
          <a:lstStyle/>
          <a:p>
            <a:pPr algn="ctr" defTabSz="861824">
              <a:defRPr/>
            </a:pPr>
            <a:r>
              <a:rPr lang="zh-CN" altLang="en-US" sz="2521" b="1" dirty="0">
                <a:solidFill>
                  <a:srgbClr val="0070C0"/>
                </a:solidFill>
                <a:latin typeface="微软雅黑" panose="020B0503020204020204" pitchFamily="34" charset="-122"/>
                <a:ea typeface="微软雅黑" panose="020B0503020204020204" pitchFamily="34" charset="-122"/>
              </a:rPr>
              <a:t>照</a:t>
            </a:r>
            <a:endParaRPr lang="en-US" altLang="zh-CN" sz="2521" b="1" dirty="0">
              <a:solidFill>
                <a:srgbClr val="0070C0"/>
              </a:solidFill>
              <a:latin typeface="微软雅黑" panose="020B0503020204020204" pitchFamily="34" charset="-122"/>
              <a:ea typeface="微软雅黑" panose="020B0503020204020204" pitchFamily="34" charset="-122"/>
            </a:endParaRPr>
          </a:p>
          <a:p>
            <a:pPr algn="ctr" defTabSz="861824">
              <a:defRPr/>
            </a:pPr>
            <a:r>
              <a:rPr lang="zh-CN" altLang="en-US" sz="2521" b="1" dirty="0">
                <a:solidFill>
                  <a:srgbClr val="0070C0"/>
                </a:solidFill>
                <a:latin typeface="微软雅黑" panose="020B0503020204020204" pitchFamily="34" charset="-122"/>
                <a:ea typeface="微软雅黑" panose="020B0503020204020204" pitchFamily="34" charset="-122"/>
              </a:rPr>
              <a:t>片</a:t>
            </a:r>
          </a:p>
        </p:txBody>
      </p:sp>
    </p:spTree>
    <p:extLst>
      <p:ext uri="{BB962C8B-B14F-4D97-AF65-F5344CB8AC3E}">
        <p14:creationId xmlns:p14="http://schemas.microsoft.com/office/powerpoint/2010/main" val="28768741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36"/>
          </p:nvPr>
        </p:nvSpPr>
        <p:spPr>
          <a:xfrm>
            <a:off x="360364" y="1347788"/>
            <a:ext cx="4068761" cy="3457575"/>
          </a:xfrm>
          <a:ln w="12700">
            <a:solidFill>
              <a:schemeClr val="tx1">
                <a:lumMod val="50000"/>
                <a:lumOff val="50000"/>
              </a:schemeClr>
            </a:solidFill>
            <a:prstDash val="solid"/>
          </a:ln>
        </p:spPr>
        <p:txBody>
          <a:bodyPr/>
          <a:lstStyle/>
          <a:p>
            <a:r>
              <a:rPr lang="zh-CN" altLang="en-US" dirty="0">
                <a:latin typeface="微软雅黑" panose="020B0503020204020204" pitchFamily="34" charset="-122"/>
                <a:ea typeface="微软雅黑" panose="020B0503020204020204" pitchFamily="34" charset="-122"/>
              </a:rPr>
              <a:t>优势</a:t>
            </a: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总结</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1</a:t>
            </a:fld>
            <a:endParaRPr lang="sv-SE">
              <a:latin typeface="微软雅黑" panose="020B0503020204020204" pitchFamily="34" charset="-122"/>
              <a:ea typeface="微软雅黑" panose="020B0503020204020204" pitchFamily="34" charset="-122"/>
            </a:endParaRPr>
          </a:p>
        </p:txBody>
      </p:sp>
      <p:sp>
        <p:nvSpPr>
          <p:cNvPr id="12" name="Text Placeholder 10"/>
          <p:cNvSpPr txBox="1">
            <a:spLocks/>
          </p:cNvSpPr>
          <p:nvPr/>
        </p:nvSpPr>
        <p:spPr>
          <a:xfrm>
            <a:off x="4555331" y="1347788"/>
            <a:ext cx="4068761" cy="3457575"/>
          </a:xfrm>
          <a:prstGeom prst="rect">
            <a:avLst/>
          </a:prstGeom>
          <a:ln w="12700">
            <a:solidFill>
              <a:schemeClr val="tx1">
                <a:lumMod val="50000"/>
                <a:lumOff val="50000"/>
              </a:schemeClr>
            </a:solidFill>
            <a:prstDash val="solid"/>
          </a:ln>
        </p:spPr>
        <p:txBody>
          <a:bodyPr vert="horz" lIns="0" tIns="0" rIns="0" bIns="0" rtlCol="0" anchor="t" anchorCtr="0">
            <a:normAutofit/>
          </a:bodyPr>
          <a:lstStyle>
            <a:lvl1pPr marL="228592" indent="-228592" defTabSz="685981">
              <a:lnSpc>
                <a:spcPct val="120000"/>
              </a:lnSpc>
              <a:spcBef>
                <a:spcPts val="0"/>
              </a:spcBef>
              <a:spcAft>
                <a:spcPts val="0"/>
              </a:spcAft>
              <a:buSzPct val="100000"/>
              <a:buFont typeface="+mj-lt"/>
              <a:buAutoNum type="arabicPeriod"/>
              <a:tabLst/>
              <a:defRPr sz="1400" b="0" i="0">
                <a:latin typeface="微软雅黑" panose="020B0503020204020204" pitchFamily="34" charset="-122"/>
                <a:ea typeface="微软雅黑" panose="020B0503020204020204" pitchFamily="34" charset="-122"/>
              </a:defRPr>
            </a:lvl1pPr>
            <a:lvl2pPr marL="241291" indent="123820" defTabSz="685981">
              <a:lnSpc>
                <a:spcPct val="120000"/>
              </a:lnSpc>
              <a:spcBef>
                <a:spcPts val="0"/>
              </a:spcBef>
              <a:spcAft>
                <a:spcPts val="0"/>
              </a:spcAft>
              <a:buSzPct val="100000"/>
              <a:buFont typeface="Volvo Novum Light" panose="020B0604020202020204" pitchFamily="34" charset="0"/>
              <a:buChar char="•"/>
              <a:tabLst/>
              <a:defRPr sz="1200" b="0" i="0">
                <a:latin typeface="Volvo Novum Light" panose="020B0303040502060204" pitchFamily="34" charset="77"/>
              </a:defRPr>
            </a:lvl2pPr>
            <a:lvl3pPr marL="368287" indent="120646" defTabSz="685981">
              <a:lnSpc>
                <a:spcPct val="120000"/>
              </a:lnSpc>
              <a:spcBef>
                <a:spcPts val="0"/>
              </a:spcBef>
              <a:spcAft>
                <a:spcPts val="0"/>
              </a:spcAft>
              <a:buSzPct val="100000"/>
              <a:buFont typeface="Volvo Novum Light" panose="020B0604020202020204" pitchFamily="34" charset="0"/>
              <a:buChar char="•"/>
              <a:tabLst/>
              <a:defRPr sz="1100" b="0" i="0">
                <a:latin typeface="Volvo Novum Light" panose="020B0303040502060204" pitchFamily="34" charset="77"/>
              </a:defRPr>
            </a:lvl3pPr>
            <a:lvl4pPr marL="488932" indent="123820" defTabSz="685981">
              <a:lnSpc>
                <a:spcPct val="120000"/>
              </a:lnSpc>
              <a:spcBef>
                <a:spcPts val="0"/>
              </a:spcBef>
              <a:spcAft>
                <a:spcPts val="0"/>
              </a:spcAft>
              <a:buSzPct val="100000"/>
              <a:buFont typeface="Volvo Novum Light" panose="020B0604020202020204" pitchFamily="34" charset="0"/>
              <a:buChar char="•"/>
              <a:tabLst/>
              <a:defRPr sz="1000" b="0" i="0">
                <a:latin typeface="Volvo Novum Light" panose="020B0303040502060204" pitchFamily="34" charset="77"/>
              </a:defRPr>
            </a:lvl4pPr>
            <a:lvl5pPr marL="623865" indent="109534" defTabSz="685981">
              <a:lnSpc>
                <a:spcPct val="120000"/>
              </a:lnSpc>
              <a:spcBef>
                <a:spcPts val="0"/>
              </a:spcBef>
              <a:spcAft>
                <a:spcPts val="0"/>
              </a:spcAft>
              <a:buSzPct val="100000"/>
              <a:buFont typeface="Volvo Novum Light" panose="020B0604020202020204" pitchFamily="34" charset="0"/>
              <a:buChar char="•"/>
              <a:tabLst/>
              <a:defRPr sz="900" b="0" i="0">
                <a:latin typeface="Volvo Novum Light" panose="020B0303040502060204" pitchFamily="34" charset="77"/>
              </a:defRPr>
            </a:lvl5pPr>
            <a:lvl6pPr marL="742923" indent="104772" defTabSz="613961">
              <a:lnSpc>
                <a:spcPct val="120000"/>
              </a:lnSpc>
              <a:spcBef>
                <a:spcPts val="0"/>
              </a:spcBef>
              <a:spcAft>
                <a:spcPts val="0"/>
              </a:spcAft>
              <a:buSzPct val="100000"/>
              <a:buFont typeface="Volvo Novum Light" panose="020B0604020202020204" pitchFamily="34" charset="0"/>
              <a:buChar char="•"/>
              <a:tabLst/>
              <a:defRPr sz="800" b="0" i="0">
                <a:latin typeface="Volvo Novum Light" panose="020B0303040502060204" pitchFamily="34" charset="77"/>
              </a:defRPr>
            </a:lvl6pPr>
            <a:lvl7pPr marL="741573" indent="104396" defTabSz="685981">
              <a:lnSpc>
                <a:spcPct val="120000"/>
              </a:lnSpc>
              <a:spcBef>
                <a:spcPts val="0"/>
              </a:spcBef>
              <a:spcAft>
                <a:spcPts val="0"/>
              </a:spcAft>
              <a:buSzPct val="80000"/>
              <a:buFont typeface="Volvo Novum Light" panose="020B0604020202020204" pitchFamily="34" charset="0"/>
              <a:buChar char="•"/>
              <a:tabLst/>
              <a:defRPr sz="800" b="0" i="0">
                <a:latin typeface="Volvo Novum Light" panose="020B0303040502060204" pitchFamily="34" charset="77"/>
              </a:defRPr>
            </a:lvl7pPr>
            <a:lvl8pPr marL="741573" indent="104396" defTabSz="685981">
              <a:lnSpc>
                <a:spcPct val="150000"/>
              </a:lnSpc>
              <a:spcBef>
                <a:spcPts val="0"/>
              </a:spcBef>
              <a:spcAft>
                <a:spcPts val="0"/>
              </a:spcAft>
              <a:buSzPct val="80000"/>
              <a:buFont typeface="Volvo Novum Light" panose="020B0604020202020204" pitchFamily="34" charset="0"/>
              <a:buChar char="•"/>
              <a:tabLst/>
              <a:defRPr sz="800" b="0" i="0">
                <a:latin typeface="Volvo Novum Light" panose="020B0303040502060204" pitchFamily="34" charset="77"/>
              </a:defRPr>
            </a:lvl8pPr>
            <a:lvl9pPr marL="741573" indent="104396" defTabSz="685981">
              <a:lnSpc>
                <a:spcPct val="150000"/>
              </a:lnSpc>
              <a:spcBef>
                <a:spcPts val="0"/>
              </a:spcBef>
              <a:spcAft>
                <a:spcPts val="0"/>
              </a:spcAft>
              <a:buSzPct val="80000"/>
              <a:buFont typeface="Volvo Novum Light" panose="020B0604020202020204" pitchFamily="34" charset="0"/>
              <a:buChar char="•"/>
              <a:tabLst/>
              <a:defRPr sz="800" b="0" i="0">
                <a:latin typeface="Volvo Novum Light" panose="020B0303040502060204" pitchFamily="34" charset="77"/>
              </a:defRPr>
            </a:lvl9pPr>
          </a:lstStyle>
          <a:p>
            <a:r>
              <a:rPr lang="zh-CN" altLang="en-US" dirty="0"/>
              <a:t>劣势</a:t>
            </a:r>
            <a:endParaRPr lang="en-GB" dirty="0"/>
          </a:p>
        </p:txBody>
      </p:sp>
    </p:spTree>
    <p:extLst>
      <p:ext uri="{BB962C8B-B14F-4D97-AF65-F5344CB8AC3E}">
        <p14:creationId xmlns:p14="http://schemas.microsoft.com/office/powerpoint/2010/main" val="308417015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3"/>
          <p:cNvSpPr>
            <a:spLocks noGrp="1"/>
          </p:cNvSpPr>
          <p:nvPr>
            <p:ph type="body" sz="quarter" idx="3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321" tIns="41161" rIns="82321" bIns="41161" numCol="1" rtlCol="0" anchor="t" anchorCtr="0" compatLnSpc="1">
            <a:prstTxWarp prst="textNoShape">
              <a:avLst/>
            </a:prstTxWarp>
            <a:noAutofit/>
          </a:bodyPr>
          <a:lstStyle/>
          <a:p>
            <a:pPr marL="0" indent="0">
              <a:lnSpc>
                <a:spcPct val="150000"/>
              </a:lnSpc>
              <a:buNone/>
            </a:pPr>
            <a:r>
              <a:rPr lang="zh-CN" altLang="en-US" sz="1050" dirty="0">
                <a:latin typeface="微软雅黑" panose="020B0503020204020204" pitchFamily="34" charset="-122"/>
                <a:ea typeface="微软雅黑" panose="020B0503020204020204" pitchFamily="34" charset="-122"/>
              </a:rPr>
              <a:t>以下请提供</a:t>
            </a:r>
            <a:r>
              <a:rPr lang="en-US" altLang="zh-CN" sz="1050" dirty="0">
                <a:latin typeface="微软雅黑" panose="020B0503020204020204" pitchFamily="34" charset="-122"/>
                <a:ea typeface="微软雅黑" panose="020B0503020204020204" pitchFamily="34" charset="-122"/>
              </a:rPr>
              <a:t>PDF</a:t>
            </a:r>
            <a:r>
              <a:rPr lang="zh-CN" altLang="en-US" sz="1050" dirty="0">
                <a:latin typeface="微软雅黑" panose="020B0503020204020204" pitchFamily="34" charset="-122"/>
                <a:ea typeface="微软雅黑" panose="020B0503020204020204" pitchFamily="34" charset="-122"/>
              </a:rPr>
              <a:t>版本：</a:t>
            </a:r>
            <a:endParaRPr lang="en-US" altLang="zh-CN" sz="1050" dirty="0">
              <a:latin typeface="微软雅黑" panose="020B0503020204020204" pitchFamily="34" charset="-122"/>
              <a:ea typeface="微软雅黑" panose="020B0503020204020204" pitchFamily="34" charset="-122"/>
            </a:endParaRPr>
          </a:p>
          <a:p>
            <a:pPr marL="0" indent="0">
              <a:lnSpc>
                <a:spcPct val="150000"/>
              </a:lnSpc>
              <a:buFontTx/>
              <a:buAutoNum type="arabicPeriod"/>
            </a:pPr>
            <a:r>
              <a:rPr lang="zh-CN" altLang="en-US" sz="1050" dirty="0">
                <a:latin typeface="微软雅黑" panose="020B0503020204020204" pitchFamily="34" charset="-122"/>
                <a:ea typeface="微软雅黑" panose="020B0503020204020204" pitchFamily="34" charset="-122"/>
              </a:rPr>
              <a:t>申请</a:t>
            </a:r>
            <a:r>
              <a:rPr lang="zh-CN" altLang="zh-CN" sz="1050" dirty="0">
                <a:latin typeface="微软雅黑" panose="020B0503020204020204" pitchFamily="34" charset="-122"/>
                <a:ea typeface="微软雅黑" panose="020B0503020204020204" pitchFamily="34" charset="-122"/>
              </a:rPr>
              <a:t>公司营业执照</a:t>
            </a:r>
            <a:r>
              <a:rPr lang="zh-CN" altLang="en-US" sz="1050" dirty="0">
                <a:latin typeface="微软雅黑" panose="020B0503020204020204" pitchFamily="34" charset="-122"/>
                <a:ea typeface="微软雅黑" panose="020B0503020204020204" pitchFamily="34" charset="-122"/>
              </a:rPr>
              <a:t>；</a:t>
            </a:r>
            <a:endParaRPr lang="zh-CN" altLang="zh-CN" sz="1050" dirty="0">
              <a:latin typeface="微软雅黑" panose="020B0503020204020204" pitchFamily="34" charset="-122"/>
              <a:ea typeface="微软雅黑" panose="020B0503020204020204" pitchFamily="34" charset="-122"/>
            </a:endParaRPr>
          </a:p>
          <a:p>
            <a:pPr marL="0" indent="0">
              <a:lnSpc>
                <a:spcPct val="150000"/>
              </a:lnSpc>
              <a:buNone/>
            </a:pPr>
            <a:r>
              <a:rPr lang="en-US" altLang="zh-CN" sz="1050" dirty="0">
                <a:latin typeface="微软雅黑" panose="020B0503020204020204" pitchFamily="34" charset="-122"/>
                <a:ea typeface="微软雅黑" panose="020B0503020204020204" pitchFamily="34" charset="-122"/>
              </a:rPr>
              <a:t>2.</a:t>
            </a:r>
            <a:r>
              <a:rPr lang="zh-CN" altLang="zh-CN" sz="1050" dirty="0">
                <a:latin typeface="微软雅黑" panose="020B0503020204020204" pitchFamily="34" charset="-122"/>
                <a:ea typeface="微软雅黑" panose="020B0503020204020204" pitchFamily="34" charset="-122"/>
              </a:rPr>
              <a:t>申请</a:t>
            </a:r>
            <a:r>
              <a:rPr lang="zh-CN" altLang="en-US" sz="1050" dirty="0">
                <a:latin typeface="微软雅黑" panose="020B0503020204020204" pitchFamily="34" charset="-122"/>
                <a:ea typeface="微软雅黑" panose="020B0503020204020204" pitchFamily="34" charset="-122"/>
              </a:rPr>
              <a:t>公司最近</a:t>
            </a:r>
            <a:r>
              <a:rPr lang="en-US" altLang="zh-CN" sz="1050" dirty="0">
                <a:latin typeface="微软雅黑" panose="020B0503020204020204" pitchFamily="34" charset="-122"/>
                <a:ea typeface="微软雅黑" panose="020B0503020204020204" pitchFamily="34" charset="-122"/>
              </a:rPr>
              <a:t>3</a:t>
            </a:r>
            <a:r>
              <a:rPr lang="zh-CN" altLang="en-US" sz="1050" dirty="0">
                <a:latin typeface="微软雅黑" panose="020B0503020204020204" pitchFamily="34" charset="-122"/>
                <a:ea typeface="微软雅黑" panose="020B0503020204020204" pitchFamily="34" charset="-122"/>
              </a:rPr>
              <a:t>年</a:t>
            </a:r>
            <a:r>
              <a:rPr lang="zh-CN" altLang="zh-CN" sz="1050" dirty="0">
                <a:latin typeface="微软雅黑" panose="020B0503020204020204" pitchFamily="34" charset="-122"/>
                <a:ea typeface="微软雅黑" panose="020B0503020204020204" pitchFamily="34" charset="-122"/>
              </a:rPr>
              <a:t>之年度合并财务报告</a:t>
            </a:r>
            <a:r>
              <a:rPr lang="en-US" altLang="zh-CN" sz="1050" b="1" dirty="0">
                <a:latin typeface="微软雅黑" panose="020B0503020204020204" pitchFamily="34" charset="-122"/>
                <a:ea typeface="微软雅黑" panose="020B0503020204020204" pitchFamily="34" charset="-122"/>
              </a:rPr>
              <a:t>(</a:t>
            </a:r>
            <a:r>
              <a:rPr lang="zh-CN" altLang="zh-CN" sz="1050" b="1" dirty="0">
                <a:latin typeface="微软雅黑" panose="020B0503020204020204" pitchFamily="34" charset="-122"/>
                <a:ea typeface="微软雅黑" panose="020B0503020204020204" pitchFamily="34" charset="-122"/>
              </a:rPr>
              <a:t>经会计审核</a:t>
            </a:r>
            <a:r>
              <a:rPr lang="en-US" altLang="zh-CN" sz="1050" b="1" dirty="0">
                <a:latin typeface="微软雅黑" panose="020B0503020204020204" pitchFamily="34" charset="-122"/>
                <a:ea typeface="微软雅黑" panose="020B0503020204020204" pitchFamily="34" charset="-122"/>
              </a:rPr>
              <a:t>)</a:t>
            </a:r>
            <a:r>
              <a:rPr lang="zh-CN" altLang="zh-CN" sz="1050" b="1" dirty="0">
                <a:latin typeface="微软雅黑" panose="020B0503020204020204" pitchFamily="34" charset="-122"/>
                <a:ea typeface="微软雅黑" panose="020B0503020204020204" pitchFamily="34" charset="-122"/>
              </a:rPr>
              <a:t> </a:t>
            </a:r>
            <a:r>
              <a:rPr lang="zh-CN" altLang="zh-CN" sz="1050" dirty="0">
                <a:latin typeface="微软雅黑" panose="020B0503020204020204" pitchFamily="34" charset="-122"/>
                <a:ea typeface="微软雅黑" panose="020B0503020204020204" pitchFamily="34" charset="-122"/>
              </a:rPr>
              <a:t>；</a:t>
            </a:r>
            <a:endParaRPr lang="en-US" altLang="zh-CN" sz="1050" dirty="0">
              <a:latin typeface="微软雅黑" panose="020B0503020204020204" pitchFamily="34" charset="-122"/>
              <a:ea typeface="微软雅黑" panose="020B0503020204020204" pitchFamily="34" charset="-122"/>
            </a:endParaRPr>
          </a:p>
          <a:p>
            <a:pPr marL="0" indent="0">
              <a:lnSpc>
                <a:spcPct val="150000"/>
              </a:lnSpc>
              <a:buNone/>
            </a:pPr>
            <a:r>
              <a:rPr lang="en-US" altLang="zh-CN" sz="1050" dirty="0">
                <a:latin typeface="微软雅黑" panose="020B0503020204020204" pitchFamily="34" charset="-122"/>
                <a:ea typeface="微软雅黑" panose="020B0503020204020204" pitchFamily="34" charset="-122"/>
              </a:rPr>
              <a:t>3.</a:t>
            </a:r>
            <a:r>
              <a:rPr lang="zh-CN" altLang="en-US" sz="1050" dirty="0">
                <a:latin typeface="微软雅黑" panose="020B0503020204020204" pitchFamily="34" charset="-122"/>
                <a:ea typeface="微软雅黑" panose="020B0503020204020204" pitchFamily="34" charset="-122"/>
              </a:rPr>
              <a:t>投资所需资金来源证明（银行存款、股东账户金额证明、银行融资证明等）</a:t>
            </a:r>
            <a:endParaRPr lang="en-US" altLang="zh-CN" sz="1050" dirty="0">
              <a:latin typeface="微软雅黑" panose="020B0503020204020204" pitchFamily="34" charset="-122"/>
              <a:ea typeface="微软雅黑" panose="020B0503020204020204" pitchFamily="34" charset="-122"/>
            </a:endParaRPr>
          </a:p>
          <a:p>
            <a:pPr marL="0" indent="0">
              <a:lnSpc>
                <a:spcPct val="150000"/>
              </a:lnSpc>
              <a:buNone/>
            </a:pPr>
            <a:r>
              <a:rPr lang="en-US" altLang="zh-CN" sz="1050" dirty="0">
                <a:latin typeface="微软雅黑" panose="020B0503020204020204" pitchFamily="34" charset="-122"/>
                <a:ea typeface="微软雅黑" panose="020B0503020204020204" pitchFamily="34" charset="-122"/>
              </a:rPr>
              <a:t>4.</a:t>
            </a:r>
            <a:r>
              <a:rPr lang="zh-CN" altLang="en-US" sz="1050" dirty="0">
                <a:latin typeface="微软雅黑" panose="020B0503020204020204" pitchFamily="34" charset="-122"/>
                <a:ea typeface="微软雅黑" panose="020B0503020204020204" pitchFamily="34" charset="-122"/>
              </a:rPr>
              <a:t>申请公司及持股股东的信用报告</a:t>
            </a:r>
            <a:endParaRPr lang="en-US" altLang="zh-CN" sz="1050" dirty="0">
              <a:latin typeface="微软雅黑" panose="020B0503020204020204" pitchFamily="34" charset="-122"/>
              <a:ea typeface="微软雅黑" panose="020B0503020204020204" pitchFamily="34" charset="-122"/>
            </a:endParaRPr>
          </a:p>
          <a:p>
            <a:pPr marL="514521" lvl="1" indent="-154356">
              <a:lnSpc>
                <a:spcPct val="150000"/>
              </a:lnSpc>
            </a:pPr>
            <a:r>
              <a:rPr lang="zh-CN" altLang="en-US" sz="1050" dirty="0">
                <a:latin typeface="微软雅黑" panose="020B0503020204020204" pitchFamily="34" charset="-122"/>
                <a:ea typeface="微软雅黑" panose="020B0503020204020204" pitchFamily="34" charset="-122"/>
              </a:rPr>
              <a:t>若</a:t>
            </a:r>
            <a:r>
              <a:rPr lang="en-US" altLang="zh-CN" sz="1050" dirty="0">
                <a:latin typeface="微软雅黑" panose="020B0503020204020204" pitchFamily="34" charset="-122"/>
                <a:ea typeface="微软雅黑" panose="020B0503020204020204" pitchFamily="34" charset="-122"/>
              </a:rPr>
              <a:t>100%</a:t>
            </a:r>
            <a:r>
              <a:rPr lang="zh-CN" altLang="en-US" sz="1050" dirty="0">
                <a:latin typeface="微软雅黑" panose="020B0503020204020204" pitchFamily="34" charset="-122"/>
                <a:ea typeface="微软雅黑" panose="020B0503020204020204" pitchFamily="34" charset="-122"/>
              </a:rPr>
              <a:t>为个人股东，请提供绝对控股股东或实际控制人的个人信用报告；</a:t>
            </a:r>
            <a:endParaRPr lang="en-US" altLang="zh-CN" sz="1050" dirty="0">
              <a:latin typeface="微软雅黑" panose="020B0503020204020204" pitchFamily="34" charset="-122"/>
              <a:ea typeface="微软雅黑" panose="020B0503020204020204" pitchFamily="34" charset="-122"/>
            </a:endParaRPr>
          </a:p>
          <a:p>
            <a:pPr marL="514521" lvl="1" indent="-154356">
              <a:lnSpc>
                <a:spcPct val="150000"/>
              </a:lnSpc>
            </a:pPr>
            <a:r>
              <a:rPr lang="zh-CN" altLang="en-US" sz="1050" dirty="0">
                <a:latin typeface="微软雅黑" panose="020B0503020204020204" pitchFamily="34" charset="-122"/>
                <a:ea typeface="微软雅黑" panose="020B0503020204020204" pitchFamily="34" charset="-122"/>
              </a:rPr>
              <a:t>若</a:t>
            </a:r>
            <a:r>
              <a:rPr lang="en-US" altLang="zh-CN" sz="1050" dirty="0">
                <a:latin typeface="微软雅黑" panose="020B0503020204020204" pitchFamily="34" charset="-122"/>
                <a:ea typeface="微软雅黑" panose="020B0503020204020204" pitchFamily="34" charset="-122"/>
              </a:rPr>
              <a:t>100%</a:t>
            </a:r>
            <a:r>
              <a:rPr lang="zh-CN" altLang="en-US" sz="1050" dirty="0">
                <a:latin typeface="微软雅黑" panose="020B0503020204020204" pitchFamily="34" charset="-122"/>
                <a:ea typeface="微软雅黑" panose="020B0503020204020204" pitchFamily="34" charset="-122"/>
              </a:rPr>
              <a:t>为企业股东，请提供该企业的信用报告，若该企业的信用报告显示在其他公司有担保或股权关系，关联公司的信用报告也需要一并提供；</a:t>
            </a:r>
            <a:endParaRPr lang="en-US" altLang="zh-CN" sz="1050" dirty="0">
              <a:latin typeface="微软雅黑" panose="020B0503020204020204" pitchFamily="34" charset="-122"/>
              <a:ea typeface="微软雅黑" panose="020B0503020204020204" pitchFamily="34" charset="-122"/>
            </a:endParaRPr>
          </a:p>
          <a:p>
            <a:pPr marL="514521" lvl="1" indent="-154356">
              <a:lnSpc>
                <a:spcPct val="150000"/>
              </a:lnSpc>
            </a:pPr>
            <a:r>
              <a:rPr lang="zh-CN" altLang="en-US" sz="1050" dirty="0">
                <a:latin typeface="微软雅黑" panose="020B0503020204020204" pitchFamily="34" charset="-122"/>
                <a:ea typeface="微软雅黑" panose="020B0503020204020204" pitchFamily="34" charset="-122"/>
              </a:rPr>
              <a:t>若个人和企业股东均持股，则上述提到的报告均需提供</a:t>
            </a:r>
            <a:endParaRPr lang="en-US" altLang="zh-CN" sz="1050" dirty="0">
              <a:latin typeface="微软雅黑" panose="020B0503020204020204" pitchFamily="34" charset="-122"/>
              <a:ea typeface="微软雅黑" panose="020B0503020204020204" pitchFamily="34" charset="-122"/>
            </a:endParaRPr>
          </a:p>
          <a:p>
            <a:pPr marL="0" indent="0">
              <a:lnSpc>
                <a:spcPct val="150000"/>
              </a:lnSpc>
              <a:buNone/>
            </a:pPr>
            <a:r>
              <a:rPr lang="en-US" altLang="zh-CN" sz="1050" dirty="0">
                <a:latin typeface="微软雅黑" panose="020B0503020204020204" pitchFamily="34" charset="-122"/>
                <a:ea typeface="微软雅黑" panose="020B0503020204020204" pitchFamily="34" charset="-122"/>
              </a:rPr>
              <a:t>5.</a:t>
            </a:r>
            <a:r>
              <a:rPr lang="zh-CN" altLang="zh-CN" sz="1050" dirty="0">
                <a:latin typeface="微软雅黑" panose="020B0503020204020204" pitchFamily="34" charset="-122"/>
                <a:ea typeface="微软雅黑" panose="020B0503020204020204" pitchFamily="34" charset="-122"/>
              </a:rPr>
              <a:t>计划建设</a:t>
            </a:r>
            <a:r>
              <a:rPr lang="zh-CN" altLang="en-US" sz="1050" dirty="0">
                <a:latin typeface="微软雅黑" panose="020B0503020204020204" pitchFamily="34" charset="-122"/>
                <a:ea typeface="微软雅黑" panose="020B0503020204020204" pitchFamily="34" charset="-122"/>
              </a:rPr>
              <a:t>沃尔沃</a:t>
            </a:r>
            <a:r>
              <a:rPr lang="zh-CN" altLang="zh-CN" sz="1050" dirty="0">
                <a:latin typeface="微软雅黑" panose="020B0503020204020204" pitchFamily="34" charset="-122"/>
                <a:ea typeface="微软雅黑" panose="020B0503020204020204" pitchFamily="34" charset="-122"/>
              </a:rPr>
              <a:t>品牌的场地</a:t>
            </a:r>
            <a:r>
              <a:rPr lang="zh-CN" altLang="en-US" sz="1050" dirty="0">
                <a:latin typeface="微软雅黑" panose="020B0503020204020204" pitchFamily="34" charset="-122"/>
                <a:ea typeface="微软雅黑" panose="020B0503020204020204" pitchFamily="34" charset="-122"/>
              </a:rPr>
              <a:t>的相关证明材料（</a:t>
            </a:r>
            <a:r>
              <a:rPr lang="zh-CN" altLang="zh-CN" sz="1050" dirty="0">
                <a:latin typeface="微软雅黑" panose="020B0503020204020204" pitchFamily="34" charset="-122"/>
                <a:ea typeface="微软雅黑" panose="020B0503020204020204" pitchFamily="34" charset="-122"/>
              </a:rPr>
              <a:t>产权或租赁证明</a:t>
            </a:r>
            <a:r>
              <a:rPr lang="zh-CN" altLang="en-US" sz="1050" dirty="0">
                <a:latin typeface="微软雅黑" panose="020B0503020204020204" pitchFamily="34" charset="-122"/>
                <a:ea typeface="微软雅黑" panose="020B0503020204020204" pitchFamily="34" charset="-122"/>
              </a:rPr>
              <a:t>，政府已规划该地块为商业用地的证明材料，政府提供的土地规划图（或现有建筑图纸，包含用地面积及相关建设参数，如：容积率、退线要求、绿化率、限高、建筑密度等）</a:t>
            </a:r>
            <a:r>
              <a:rPr lang="zh-CN" altLang="zh-CN" sz="1050" dirty="0">
                <a:latin typeface="微软雅黑" panose="020B0503020204020204" pitchFamily="34" charset="-122"/>
                <a:ea typeface="微软雅黑" panose="020B0503020204020204" pitchFamily="34" charset="-122"/>
              </a:rPr>
              <a:t>扫描件</a:t>
            </a:r>
            <a:r>
              <a:rPr lang="zh-CN" altLang="en-US" sz="1050" dirty="0">
                <a:latin typeface="微软雅黑" panose="020B0503020204020204" pitchFamily="34" charset="-122"/>
                <a:ea typeface="微软雅黑" panose="020B0503020204020204" pitchFamily="34" charset="-122"/>
              </a:rPr>
              <a:t>，场地红线图，改建请提供平立面图纸等）</a:t>
            </a:r>
            <a:endParaRPr lang="en-US" altLang="zh-CN" sz="1050" dirty="0">
              <a:latin typeface="微软雅黑" panose="020B0503020204020204" pitchFamily="34" charset="-122"/>
              <a:ea typeface="微软雅黑" panose="020B0503020204020204" pitchFamily="34" charset="-122"/>
            </a:endParaRPr>
          </a:p>
          <a:p>
            <a:pPr marL="0" indent="0">
              <a:buNone/>
            </a:pPr>
            <a:r>
              <a:rPr lang="zh-CN" altLang="en-US" sz="1050" b="1" dirty="0">
                <a:solidFill>
                  <a:srgbClr val="FF0000"/>
                </a:solidFill>
                <a:latin typeface="微软雅黑" panose="020B0503020204020204" pitchFamily="34" charset="-122"/>
                <a:ea typeface="微软雅黑" panose="020B0503020204020204" pitchFamily="34" charset="-122"/>
              </a:rPr>
              <a:t>请务必完整提交以上材料，以免由于资料不全而影响贵司的申请！</a:t>
            </a:r>
            <a:endParaRPr lang="en-US" altLang="zh-CN" sz="1050" b="1" dirty="0">
              <a:solidFill>
                <a:srgbClr val="FF0000"/>
              </a:solidFill>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zh-CN" b="1" dirty="0">
                <a:latin typeface="微软雅黑" panose="020B0503020204020204" pitchFamily="34" charset="-122"/>
                <a:ea typeface="微软雅黑" panose="020B0503020204020204" pitchFamily="34" charset="-122"/>
              </a:rPr>
              <a:t>需要提交</a:t>
            </a:r>
            <a:r>
              <a:rPr lang="zh-CN" altLang="en-US" b="1" dirty="0">
                <a:latin typeface="微软雅黑" panose="020B0503020204020204" pitchFamily="34" charset="-122"/>
                <a:ea typeface="微软雅黑" panose="020B0503020204020204" pitchFamily="34" charset="-122"/>
              </a:rPr>
              <a:t>清单</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2</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401788881"/>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3"/>
          <p:cNvSpPr>
            <a:spLocks noGrp="1"/>
          </p:cNvSpPr>
          <p:nvPr>
            <p:ph type="body" sz="quarter" idx="3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321" tIns="41161" rIns="82321" bIns="41161" numCol="1" rtlCol="0" anchor="t" anchorCtr="0" compatLnSpc="1">
            <a:prstTxWarp prst="textNoShape">
              <a:avLst/>
            </a:prstTxWarp>
            <a:normAutofit/>
          </a:bodyPr>
          <a:lstStyle/>
          <a:p>
            <a:pPr marL="0" indent="0">
              <a:buNone/>
            </a:pPr>
            <a:r>
              <a:rPr lang="zh-CN" altLang="en-US" dirty="0">
                <a:latin typeface="微软雅黑" panose="020B0503020204020204" pitchFamily="34" charset="-122"/>
                <a:ea typeface="微软雅黑" panose="020B0503020204020204" pitchFamily="34" charset="-122"/>
              </a:rPr>
              <a:t>请：</a:t>
            </a:r>
            <a:endParaRPr lang="en-US" altLang="zh-CN" dirty="0">
              <a:latin typeface="微软雅黑" panose="020B0503020204020204" pitchFamily="34" charset="-122"/>
              <a:ea typeface="微软雅黑" panose="020B0503020204020204" pitchFamily="34" charset="-122"/>
            </a:endParaRPr>
          </a:p>
          <a:p>
            <a:pPr marL="0" indent="0">
              <a:buFontTx/>
              <a:buAutoNum type="arabicPeriod"/>
            </a:pPr>
            <a:r>
              <a:rPr lang="zh-CN" altLang="en-US" dirty="0">
                <a:latin typeface="微软雅黑" panose="020B0503020204020204" pitchFamily="34" charset="-122"/>
                <a:ea typeface="微软雅黑" panose="020B0503020204020204" pitchFamily="34" charset="-122"/>
              </a:rPr>
              <a:t>打开右边</a:t>
            </a:r>
            <a:r>
              <a:rPr lang="en-US" altLang="zh-CN" dirty="0">
                <a:latin typeface="微软雅黑" panose="020B0503020204020204" pitchFamily="34" charset="-122"/>
                <a:ea typeface="微软雅黑" panose="020B0503020204020204" pitchFamily="34" charset="-122"/>
              </a:rPr>
              <a:t>WORD</a:t>
            </a:r>
            <a:r>
              <a:rPr lang="zh-CN" altLang="en-US" dirty="0">
                <a:latin typeface="微软雅黑" panose="020B0503020204020204" pitchFamily="34" charset="-122"/>
                <a:ea typeface="微软雅黑" panose="020B0503020204020204" pitchFamily="34" charset="-122"/>
              </a:rPr>
              <a:t>文件；</a:t>
            </a:r>
            <a:endParaRPr lang="en-US" altLang="zh-CN" dirty="0">
              <a:latin typeface="微软雅黑" panose="020B0503020204020204" pitchFamily="34" charset="-122"/>
              <a:ea typeface="微软雅黑" panose="020B0503020204020204" pitchFamily="34" charset="-122"/>
            </a:endParaRPr>
          </a:p>
          <a:p>
            <a:pPr marL="0" indent="0">
              <a:buFontTx/>
              <a:buAutoNum type="arabicPeriod"/>
            </a:pPr>
            <a:r>
              <a:rPr lang="zh-CN" altLang="en-US" dirty="0">
                <a:latin typeface="微软雅黑" panose="020B0503020204020204" pitchFamily="34" charset="-122"/>
                <a:ea typeface="微软雅黑" panose="020B0503020204020204" pitchFamily="34" charset="-122"/>
              </a:rPr>
              <a:t>另存并打印；</a:t>
            </a:r>
            <a:endParaRPr lang="en-US" altLang="zh-CN" dirty="0">
              <a:latin typeface="微软雅黑" panose="020B0503020204020204" pitchFamily="34" charset="-122"/>
              <a:ea typeface="微软雅黑" panose="020B0503020204020204" pitchFamily="34" charset="-122"/>
            </a:endParaRPr>
          </a:p>
          <a:p>
            <a:pPr marL="0" indent="0">
              <a:buFontTx/>
              <a:buAutoNum type="arabicPeriod"/>
            </a:pPr>
            <a:r>
              <a:rPr lang="zh-CN" altLang="zh-CN" dirty="0">
                <a:latin typeface="微软雅黑" panose="020B0503020204020204" pitchFamily="34" charset="-122"/>
                <a:ea typeface="微软雅黑" panose="020B0503020204020204" pitchFamily="34" charset="-122"/>
              </a:rPr>
              <a:t>签字盖章</a:t>
            </a:r>
            <a:r>
              <a:rPr lang="zh-CN" altLang="en-US"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marL="0" indent="0">
              <a:buFontTx/>
              <a:buAutoNum type="arabicPeriod"/>
            </a:pPr>
            <a:r>
              <a:rPr lang="zh-CN" altLang="zh-CN" dirty="0">
                <a:latin typeface="微软雅黑" panose="020B0503020204020204" pitchFamily="34" charset="-122"/>
                <a:ea typeface="微软雅黑" panose="020B0503020204020204" pitchFamily="34" charset="-122"/>
              </a:rPr>
              <a:t>请扫描</a:t>
            </a:r>
            <a:r>
              <a:rPr lang="zh-CN" altLang="en-US" dirty="0">
                <a:latin typeface="微软雅黑" panose="020B0503020204020204" pitchFamily="34" charset="-122"/>
                <a:ea typeface="微软雅黑" panose="020B0503020204020204" pitchFamily="34" charset="-122"/>
              </a:rPr>
              <a:t>后，随本业务计划书一同提交。</a:t>
            </a:r>
          </a:p>
        </p:txBody>
      </p:sp>
      <p:sp>
        <p:nvSpPr>
          <p:cNvPr id="4" name="Title 3"/>
          <p:cNvSpPr>
            <a:spLocks noGrp="1"/>
          </p:cNvSpPr>
          <p:nvPr>
            <p:ph type="title"/>
          </p:nvPr>
        </p:nvSpPr>
        <p:spPr/>
        <p:txBody>
          <a:bodyPr/>
          <a:lstStyle/>
          <a:p>
            <a:r>
              <a:rPr lang="zh-CN" altLang="zh-CN" b="1" dirty="0">
                <a:latin typeface="微软雅黑" panose="020B0503020204020204" pitchFamily="34" charset="-122"/>
                <a:ea typeface="微软雅黑" panose="020B0503020204020204" pitchFamily="34" charset="-122"/>
              </a:rPr>
              <a:t>申请者声明与保证</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3</a:t>
            </a:fld>
            <a:endParaRPr lang="sv-SE">
              <a:latin typeface="微软雅黑" panose="020B0503020204020204" pitchFamily="34" charset="-122"/>
              <a:ea typeface="微软雅黑" panose="020B0503020204020204" pitchFamily="34" charset="-122"/>
            </a:endParaRPr>
          </a:p>
        </p:txBody>
      </p:sp>
      <p:graphicFrame>
        <p:nvGraphicFramePr>
          <p:cNvPr id="2" name="Object 1">
            <a:extLst>
              <a:ext uri="{FF2B5EF4-FFF2-40B4-BE49-F238E27FC236}">
                <a16:creationId xmlns:a16="http://schemas.microsoft.com/office/drawing/2014/main" id="{40464968-DED6-406A-BAEC-02BD626B800E}"/>
              </a:ext>
            </a:extLst>
          </p:cNvPr>
          <p:cNvGraphicFramePr>
            <a:graphicFrameLocks noChangeAspect="1"/>
          </p:cNvGraphicFramePr>
          <p:nvPr>
            <p:extLst>
              <p:ext uri="{D42A27DB-BD31-4B8C-83A1-F6EECF244321}">
                <p14:modId xmlns:p14="http://schemas.microsoft.com/office/powerpoint/2010/main" val="867359897"/>
              </p:ext>
            </p:extLst>
          </p:nvPr>
        </p:nvGraphicFramePr>
        <p:xfrm>
          <a:off x="4659313" y="644525"/>
          <a:ext cx="2655887" cy="4052888"/>
        </p:xfrm>
        <a:graphic>
          <a:graphicData uri="http://schemas.openxmlformats.org/presentationml/2006/ole">
            <mc:AlternateContent xmlns:mc="http://schemas.openxmlformats.org/markup-compatibility/2006">
              <mc:Choice xmlns:v="urn:schemas-microsoft-com:vml" Requires="v">
                <p:oleObj name="Document" r:id="rId2" imgW="5502248" imgH="8352092" progId="Word.Document.12">
                  <p:embed/>
                </p:oleObj>
              </mc:Choice>
              <mc:Fallback>
                <p:oleObj name="Document" r:id="rId2" imgW="5502248" imgH="8352092" progId="Word.Document.12">
                  <p:embed/>
                  <p:pic>
                    <p:nvPicPr>
                      <p:cNvPr id="0" name=""/>
                      <p:cNvPicPr/>
                      <p:nvPr/>
                    </p:nvPicPr>
                    <p:blipFill>
                      <a:blip r:embed="rId3"/>
                      <a:stretch>
                        <a:fillRect/>
                      </a:stretch>
                    </p:blipFill>
                    <p:spPr>
                      <a:xfrm>
                        <a:off x="4659313" y="644525"/>
                        <a:ext cx="2655887" cy="4052888"/>
                      </a:xfrm>
                      <a:prstGeom prst="rect">
                        <a:avLst/>
                      </a:prstGeom>
                    </p:spPr>
                  </p:pic>
                </p:oleObj>
              </mc:Fallback>
            </mc:AlternateContent>
          </a:graphicData>
        </a:graphic>
      </p:graphicFrame>
    </p:spTree>
    <p:extLst>
      <p:ext uri="{BB962C8B-B14F-4D97-AF65-F5344CB8AC3E}">
        <p14:creationId xmlns:p14="http://schemas.microsoft.com/office/powerpoint/2010/main" val="81193666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1"/>
          <p:cNvSpPr>
            <a:spLocks noGrp="1"/>
          </p:cNvSpPr>
          <p:nvPr>
            <p:ph type="body" sz="quarter" idx="36"/>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321" tIns="41161" rIns="82321" bIns="41161" numCol="1" rtlCol="0" anchor="t" anchorCtr="0" compatLnSpc="1">
            <a:prstTxWarp prst="textNoShape">
              <a:avLst/>
            </a:prstTxWarp>
            <a:normAutofit/>
          </a:bodyPr>
          <a:lstStyle/>
          <a:p>
            <a:pPr marL="0" indent="0">
              <a:lnSpc>
                <a:spcPct val="150000"/>
              </a:lnSpc>
              <a:buNone/>
            </a:pPr>
            <a:r>
              <a:rPr lang="zh-CN" altLang="en-US" dirty="0">
                <a:latin typeface="微软雅黑" panose="020B0503020204020204" pitchFamily="34" charset="-122"/>
                <a:ea typeface="微软雅黑" panose="020B0503020204020204" pitchFamily="34" charset="-122"/>
              </a:rPr>
              <a:t>申</a:t>
            </a:r>
            <a:r>
              <a:rPr lang="zh-CN" altLang="zh-CN" dirty="0">
                <a:latin typeface="微软雅黑" panose="020B0503020204020204" pitchFamily="34" charset="-122"/>
                <a:ea typeface="微软雅黑" panose="020B0503020204020204" pitchFamily="34" charset="-122"/>
              </a:rPr>
              <a:t>请人请提交填写好的沃尔沃经销商业务计划书。</a:t>
            </a:r>
            <a:endParaRPr lang="en-US" altLang="zh-CN" dirty="0">
              <a:latin typeface="微软雅黑" panose="020B0503020204020204" pitchFamily="34" charset="-122"/>
              <a:ea typeface="微软雅黑" panose="020B0503020204020204" pitchFamily="34" charset="-122"/>
            </a:endParaRPr>
          </a:p>
          <a:p>
            <a:pPr marL="0" indent="0">
              <a:lnSpc>
                <a:spcPct val="150000"/>
              </a:lnSpc>
              <a:buNone/>
            </a:pPr>
            <a:r>
              <a:rPr lang="zh-CN" altLang="zh-CN" dirty="0">
                <a:latin typeface="微软雅黑" panose="020B0503020204020204" pitchFamily="34" charset="-122"/>
                <a:ea typeface="微软雅黑" panose="020B0503020204020204" pitchFamily="34" charset="-122"/>
              </a:rPr>
              <a:t>我司只接受电子邮件形式的申请书，不接受其它形式申请以及未预约来访。为确保申请资料的顺利接收，请确认资料小于</a:t>
            </a:r>
            <a:r>
              <a:rPr lang="en-US" altLang="zh-CN" dirty="0">
                <a:latin typeface="微软雅黑" panose="020B0503020204020204" pitchFamily="34" charset="-122"/>
                <a:ea typeface="微软雅黑" panose="020B0503020204020204" pitchFamily="34" charset="-122"/>
              </a:rPr>
              <a:t>10M</a:t>
            </a:r>
            <a:r>
              <a:rPr lang="zh-CN" altLang="zh-CN" dirty="0">
                <a:latin typeface="微软雅黑" panose="020B0503020204020204" pitchFamily="34" charset="-122"/>
                <a:ea typeface="微软雅黑" panose="020B0503020204020204" pitchFamily="34" charset="-122"/>
              </a:rPr>
              <a:t>，并发送至以下电子邮箱：</a:t>
            </a:r>
            <a:r>
              <a:rPr lang="en-US" altLang="zh-CN" dirty="0">
                <a:latin typeface="微软雅黑" panose="020B0503020204020204" pitchFamily="34" charset="-122"/>
                <a:ea typeface="微软雅黑" panose="020B0503020204020204" pitchFamily="34" charset="-122"/>
                <a:hlinkClick r:id="rId2"/>
              </a:rPr>
              <a:t>vccnnd@volvocars.com</a:t>
            </a:r>
            <a:r>
              <a:rPr lang="zh-CN" altLang="zh-CN" dirty="0">
                <a:latin typeface="微软雅黑" panose="020B0503020204020204" pitchFamily="34" charset="-122"/>
                <a:ea typeface="微软雅黑" panose="020B0503020204020204" pitchFamily="34" charset="-122"/>
              </a:rPr>
              <a:t>。</a:t>
            </a:r>
            <a:endParaRPr lang="en-US" altLang="zh-CN" dirty="0">
              <a:latin typeface="微软雅黑" panose="020B0503020204020204" pitchFamily="34" charset="-122"/>
              <a:ea typeface="微软雅黑" panose="020B0503020204020204" pitchFamily="34" charset="-122"/>
            </a:endParaRPr>
          </a:p>
          <a:p>
            <a:pPr marL="0" indent="0">
              <a:lnSpc>
                <a:spcPct val="150000"/>
              </a:lnSpc>
              <a:buNone/>
            </a:pPr>
            <a:endParaRPr lang="en-US" altLang="zh-CN" dirty="0">
              <a:latin typeface="微软雅黑" panose="020B0503020204020204" pitchFamily="34" charset="-122"/>
              <a:ea typeface="微软雅黑" panose="020B0503020204020204" pitchFamily="34" charset="-122"/>
            </a:endParaRPr>
          </a:p>
          <a:p>
            <a:pPr marL="0" indent="0">
              <a:lnSpc>
                <a:spcPct val="150000"/>
              </a:lnSpc>
              <a:buNone/>
            </a:pPr>
            <a:r>
              <a:rPr lang="zh-CN" altLang="en-US" dirty="0">
                <a:latin typeface="微软雅黑" panose="020B0503020204020204" pitchFamily="34" charset="-122"/>
                <a:ea typeface="微软雅黑" panose="020B0503020204020204" pitchFamily="34" charset="-122"/>
              </a:rPr>
              <a:t>咨询电话：</a:t>
            </a:r>
            <a:r>
              <a:rPr lang="en-US" altLang="zh-CN" dirty="0">
                <a:latin typeface="微软雅黑" panose="020B0503020204020204" pitchFamily="34" charset="-122"/>
                <a:ea typeface="微软雅黑" panose="020B0503020204020204" pitchFamily="34" charset="-122"/>
              </a:rPr>
              <a:t>1010-8666</a:t>
            </a:r>
          </a:p>
          <a:p>
            <a:pPr marL="0" indent="0">
              <a:lnSpc>
                <a:spcPct val="150000"/>
              </a:lnSpc>
              <a:buNone/>
            </a:pPr>
            <a:endParaRPr lang="en-US" altLang="zh-CN"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提交</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64</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3636140787"/>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1D63FE3-1834-4A00-8EA4-594AD90D13D9}"/>
              </a:ext>
            </a:extLst>
          </p:cNvPr>
          <p:cNvSpPr>
            <a:spLocks noGrp="1"/>
          </p:cNvSpPr>
          <p:nvPr>
            <p:ph type="body" sz="quarter" idx="11"/>
          </p:nvPr>
        </p:nvSpPr>
        <p:spPr/>
        <p:txBody>
          <a:bodyPr/>
          <a:lstStyle/>
          <a:p>
            <a:endParaRPr lang="zh-CN" altLang="en-US"/>
          </a:p>
        </p:txBody>
      </p:sp>
      <p:sp>
        <p:nvSpPr>
          <p:cNvPr id="5" name="Slide Number Placeholder 4" hidden="1"/>
          <p:cNvSpPr>
            <a:spLocks noGrp="1"/>
          </p:cNvSpPr>
          <p:nvPr>
            <p:ph type="sldNum" sz="quarter" idx="4294967295"/>
          </p:nvPr>
        </p:nvSpPr>
        <p:spPr>
          <a:xfrm>
            <a:off x="8786813" y="4886325"/>
            <a:ext cx="360362" cy="101600"/>
          </a:xfrm>
        </p:spPr>
        <p:txBody>
          <a:bodyPr/>
          <a:lstStyle/>
          <a:p>
            <a:pPr>
              <a:spcAft>
                <a:spcPts val="600"/>
              </a:spcAft>
            </a:pPr>
            <a:fld id="{6F67B5D9-DB62-4DEA-AF3E-B11D0AE898D7}" type="slidenum">
              <a:rPr lang="sv-SE" smtClean="0">
                <a:latin typeface="微软雅黑" panose="020B0503020204020204" pitchFamily="34" charset="-122"/>
                <a:ea typeface="微软雅黑" panose="020B0503020204020204" pitchFamily="34" charset="-122"/>
              </a:rPr>
              <a:pPr>
                <a:spcAft>
                  <a:spcPts val="600"/>
                </a:spcAft>
              </a:pPr>
              <a:t>65</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76195384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type="body" sz="quarter" idx="36"/>
          </p:nvPr>
        </p:nvSpPr>
        <p:spPr/>
        <p:txBody>
          <a:bodyPr/>
          <a:lstStyle/>
          <a:p>
            <a:r>
              <a:rPr lang="zh-CN" altLang="en-US" dirty="0">
                <a:solidFill>
                  <a:srgbClr val="000000"/>
                </a:solidFill>
                <a:latin typeface="微软雅黑" panose="020B0503020204020204" pitchFamily="34" charset="-122"/>
                <a:ea typeface="微软雅黑" panose="020B0503020204020204" pitchFamily="34" charset="-122"/>
              </a:rPr>
              <a:t>申请公司的股权结构</a:t>
            </a:r>
            <a:r>
              <a:rPr lang="en-US" altLang="zh-CN" dirty="0">
                <a:solidFill>
                  <a:srgbClr val="000000"/>
                </a:solidFill>
                <a:latin typeface="微软雅黑" panose="020B0503020204020204" pitchFamily="34" charset="-122"/>
                <a:ea typeface="微软雅黑" panose="020B0503020204020204" pitchFamily="34" charset="-122"/>
              </a:rPr>
              <a:t>:</a:t>
            </a:r>
          </a:p>
          <a:p>
            <a:pPr marL="0" indent="0">
              <a:buNone/>
            </a:pPr>
            <a:endParaRPr lang="en-GB" dirty="0">
              <a:latin typeface="微软雅黑" panose="020B0503020204020204" pitchFamily="34" charset="-122"/>
              <a:ea typeface="微软雅黑" panose="020B0503020204020204" pitchFamily="34" charset="-122"/>
            </a:endParaRPr>
          </a:p>
        </p:txBody>
      </p:sp>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介绍</a:t>
            </a: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7</a:t>
            </a:fld>
            <a:endParaRPr lang="sv-SE">
              <a:latin typeface="微软雅黑" panose="020B0503020204020204" pitchFamily="34" charset="-122"/>
              <a:ea typeface="微软雅黑" panose="020B0503020204020204" pitchFamily="34" charset="-122"/>
            </a:endParaRPr>
          </a:p>
        </p:txBody>
      </p:sp>
      <p:sp>
        <p:nvSpPr>
          <p:cNvPr id="3" name="TextBox 2"/>
          <p:cNvSpPr txBox="1"/>
          <p:nvPr/>
        </p:nvSpPr>
        <p:spPr>
          <a:xfrm>
            <a:off x="3849400" y="3310781"/>
            <a:ext cx="1261884" cy="307777"/>
          </a:xfrm>
          <a:prstGeom prst="rect">
            <a:avLst/>
          </a:prstGeom>
          <a:noFill/>
          <a:ln>
            <a:solidFill>
              <a:schemeClr val="tx1">
                <a:lumMod val="50000"/>
                <a:lumOff val="50000"/>
              </a:schemeClr>
            </a:solidFill>
          </a:ln>
        </p:spPr>
        <p:txBody>
          <a:bodyPr wrap="none" rtlCol="0">
            <a:spAutoFit/>
          </a:bodyPr>
          <a:lstStyle/>
          <a:p>
            <a:r>
              <a:rPr lang="zh-CN" altLang="en-US" sz="1400" dirty="0">
                <a:latin typeface="微软雅黑" panose="020B0503020204020204" pitchFamily="34" charset="-122"/>
                <a:ea typeface="微软雅黑" panose="020B0503020204020204" pitchFamily="34" charset="-122"/>
              </a:rPr>
              <a:t>申请公司名称</a:t>
            </a:r>
            <a:endParaRPr lang="en-GB" sz="1400" dirty="0">
              <a:latin typeface="微软雅黑" panose="020B0503020204020204" pitchFamily="34" charset="-122"/>
              <a:ea typeface="微软雅黑" panose="020B0503020204020204" pitchFamily="34" charset="-122"/>
            </a:endParaRPr>
          </a:p>
        </p:txBody>
      </p:sp>
      <p:sp>
        <p:nvSpPr>
          <p:cNvPr id="9" name="TextBox 8"/>
          <p:cNvSpPr txBox="1"/>
          <p:nvPr/>
        </p:nvSpPr>
        <p:spPr>
          <a:xfrm>
            <a:off x="2807588" y="2247920"/>
            <a:ext cx="663964" cy="307777"/>
          </a:xfrm>
          <a:prstGeom prst="rect">
            <a:avLst/>
          </a:prstGeom>
          <a:noFill/>
          <a:ln>
            <a:solidFill>
              <a:schemeClr val="tx1">
                <a:lumMod val="50000"/>
                <a:lumOff val="50000"/>
              </a:schemeClr>
            </a:solidFill>
          </a:ln>
        </p:spPr>
        <p:txBody>
          <a:bodyPr wrap="none" rtlCol="0">
            <a:spAutoFit/>
          </a:bodyPr>
          <a:lstStyle/>
          <a:p>
            <a:r>
              <a:rPr lang="zh-CN" altLang="en-US" sz="1400" dirty="0">
                <a:latin typeface="微软雅黑" panose="020B0503020204020204" pitchFamily="34" charset="-122"/>
                <a:ea typeface="微软雅黑" panose="020B0503020204020204" pitchFamily="34" charset="-122"/>
              </a:rPr>
              <a:t>股东</a:t>
            </a:r>
            <a:r>
              <a:rPr lang="en-US" altLang="zh-CN" sz="1400" dirty="0">
                <a:latin typeface="微软雅黑" panose="020B0503020204020204" pitchFamily="34" charset="-122"/>
                <a:ea typeface="微软雅黑" panose="020B0503020204020204" pitchFamily="34" charset="-122"/>
              </a:rPr>
              <a:t>A</a:t>
            </a:r>
            <a:endParaRPr lang="en-GB" sz="1400" dirty="0">
              <a:latin typeface="微软雅黑" panose="020B0503020204020204" pitchFamily="34" charset="-122"/>
              <a:ea typeface="微软雅黑" panose="020B0503020204020204" pitchFamily="34" charset="-122"/>
            </a:endParaRPr>
          </a:p>
        </p:txBody>
      </p:sp>
      <p:sp>
        <p:nvSpPr>
          <p:cNvPr id="10" name="TextBox 9"/>
          <p:cNvSpPr txBox="1"/>
          <p:nvPr/>
        </p:nvSpPr>
        <p:spPr>
          <a:xfrm>
            <a:off x="5441175" y="2247920"/>
            <a:ext cx="655949" cy="307777"/>
          </a:xfrm>
          <a:prstGeom prst="rect">
            <a:avLst/>
          </a:prstGeom>
          <a:noFill/>
          <a:ln>
            <a:solidFill>
              <a:schemeClr val="tx1">
                <a:lumMod val="50000"/>
                <a:lumOff val="50000"/>
              </a:schemeClr>
            </a:solidFill>
          </a:ln>
        </p:spPr>
        <p:txBody>
          <a:bodyPr wrap="none" rtlCol="0">
            <a:spAutoFit/>
          </a:bodyPr>
          <a:lstStyle/>
          <a:p>
            <a:r>
              <a:rPr lang="zh-CN" altLang="en-US" sz="1400" dirty="0">
                <a:latin typeface="微软雅黑" panose="020B0503020204020204" pitchFamily="34" charset="-122"/>
                <a:ea typeface="微软雅黑" panose="020B0503020204020204" pitchFamily="34" charset="-122"/>
              </a:rPr>
              <a:t>股东</a:t>
            </a:r>
            <a:r>
              <a:rPr lang="en-US" altLang="zh-CN" sz="1400" dirty="0">
                <a:latin typeface="微软雅黑" panose="020B0503020204020204" pitchFamily="34" charset="-122"/>
                <a:ea typeface="微软雅黑" panose="020B0503020204020204" pitchFamily="34" charset="-122"/>
              </a:rPr>
              <a:t>B</a:t>
            </a:r>
            <a:endParaRPr lang="en-GB" sz="1400" dirty="0">
              <a:latin typeface="微软雅黑" panose="020B0503020204020204" pitchFamily="34" charset="-122"/>
              <a:ea typeface="微软雅黑" panose="020B0503020204020204" pitchFamily="34" charset="-122"/>
            </a:endParaRPr>
          </a:p>
        </p:txBody>
      </p:sp>
      <p:cxnSp>
        <p:nvCxnSpPr>
          <p:cNvPr id="12" name="Elbow Connector 11"/>
          <p:cNvCxnSpPr>
            <a:stCxn id="9" idx="2"/>
            <a:endCxn id="3" idx="0"/>
          </p:cNvCxnSpPr>
          <p:nvPr/>
        </p:nvCxnSpPr>
        <p:spPr>
          <a:xfrm rot="16200000" flipH="1">
            <a:off x="3432414" y="2262853"/>
            <a:ext cx="755084" cy="1340772"/>
          </a:xfrm>
          <a:prstGeom prst="bentConnector3">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4" name="Elbow Connector 13"/>
          <p:cNvCxnSpPr>
            <a:stCxn id="10" idx="2"/>
            <a:endCxn id="3" idx="0"/>
          </p:cNvCxnSpPr>
          <p:nvPr/>
        </p:nvCxnSpPr>
        <p:spPr>
          <a:xfrm rot="5400000">
            <a:off x="4747204" y="2288835"/>
            <a:ext cx="755084" cy="1288808"/>
          </a:xfrm>
          <a:prstGeom prst="bentConnector3">
            <a:avLst>
              <a:gd name="adj1" fmla="val 50000"/>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3405341" y="2640807"/>
            <a:ext cx="418704" cy="286232"/>
          </a:xfrm>
          <a:prstGeom prst="rect">
            <a:avLst/>
          </a:prstGeom>
          <a:noFill/>
          <a:ln>
            <a:noFill/>
          </a:ln>
        </p:spPr>
        <p:txBody>
          <a:bodyPr wrap="none" rtlCol="0">
            <a:spAutoFit/>
          </a:bodyPr>
          <a:lstStyle/>
          <a:p>
            <a:r>
              <a:rPr lang="en-US" sz="1260" dirty="0">
                <a:latin typeface="微软雅黑" panose="020B0503020204020204" pitchFamily="34" charset="-122"/>
                <a:ea typeface="微软雅黑" panose="020B0503020204020204" pitchFamily="34" charset="-122"/>
              </a:rPr>
              <a:t>?%</a:t>
            </a:r>
            <a:endParaRPr lang="en-GB" sz="1260" dirty="0">
              <a:latin typeface="微软雅黑" panose="020B0503020204020204" pitchFamily="34" charset="-122"/>
              <a:ea typeface="微软雅黑" panose="020B0503020204020204" pitchFamily="34" charset="-122"/>
            </a:endParaRPr>
          </a:p>
        </p:txBody>
      </p:sp>
      <p:sp>
        <p:nvSpPr>
          <p:cNvPr id="21" name="TextBox 20"/>
          <p:cNvSpPr txBox="1"/>
          <p:nvPr/>
        </p:nvSpPr>
        <p:spPr>
          <a:xfrm>
            <a:off x="4965491" y="2640807"/>
            <a:ext cx="418704" cy="286232"/>
          </a:xfrm>
          <a:prstGeom prst="rect">
            <a:avLst/>
          </a:prstGeom>
          <a:noFill/>
          <a:ln>
            <a:noFill/>
          </a:ln>
        </p:spPr>
        <p:txBody>
          <a:bodyPr wrap="none" rtlCol="0">
            <a:spAutoFit/>
          </a:bodyPr>
          <a:lstStyle/>
          <a:p>
            <a:r>
              <a:rPr lang="en-US" sz="1260" dirty="0">
                <a:latin typeface="微软雅黑" panose="020B0503020204020204" pitchFamily="34" charset="-122"/>
                <a:ea typeface="微软雅黑" panose="020B0503020204020204" pitchFamily="34" charset="-122"/>
              </a:rPr>
              <a:t>?%</a:t>
            </a:r>
            <a:endParaRPr lang="en-GB" sz="1260" dirty="0">
              <a:latin typeface="微软雅黑" panose="020B0503020204020204" pitchFamily="34" charset="-122"/>
              <a:ea typeface="微软雅黑" panose="020B0503020204020204" pitchFamily="34" charset="-122"/>
            </a:endParaRPr>
          </a:p>
        </p:txBody>
      </p:sp>
      <p:sp>
        <p:nvSpPr>
          <p:cNvPr id="15" name="TextBox 14"/>
          <p:cNvSpPr txBox="1"/>
          <p:nvPr/>
        </p:nvSpPr>
        <p:spPr>
          <a:xfrm>
            <a:off x="663109" y="4252777"/>
            <a:ext cx="1261884" cy="307777"/>
          </a:xfrm>
          <a:prstGeom prst="rect">
            <a:avLst/>
          </a:prstGeom>
          <a:noFill/>
        </p:spPr>
        <p:txBody>
          <a:bodyPr wrap="none" rtlCol="0">
            <a:spAutoFit/>
          </a:bodyPr>
          <a:lstStyle/>
          <a:p>
            <a:r>
              <a:rPr lang="zh-CN" altLang="en-US" sz="1400" dirty="0">
                <a:latin typeface="微软雅黑" panose="020B0503020204020204" pitchFamily="34" charset="-122"/>
                <a:ea typeface="微软雅黑" panose="020B0503020204020204" pitchFamily="34" charset="-122"/>
              </a:rPr>
              <a:t>最终决策人：</a:t>
            </a:r>
            <a:endParaRPr lang="en-GB" sz="1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3186840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公司所经营品牌股权结构</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8</a:t>
            </a:fld>
            <a:endParaRPr lang="sv-SE">
              <a:latin typeface="微软雅黑" panose="020B0503020204020204" pitchFamily="34" charset="-122"/>
              <a:ea typeface="微软雅黑" panose="020B0503020204020204" pitchFamily="34" charset="-122"/>
            </a:endParaRPr>
          </a:p>
        </p:txBody>
      </p:sp>
      <p:graphicFrame>
        <p:nvGraphicFramePr>
          <p:cNvPr id="10" name="Table 9"/>
          <p:cNvGraphicFramePr>
            <a:graphicFrameLocks noGrp="1"/>
          </p:cNvGraphicFramePr>
          <p:nvPr>
            <p:extLst>
              <p:ext uri="{D42A27DB-BD31-4B8C-83A1-F6EECF244321}">
                <p14:modId xmlns:p14="http://schemas.microsoft.com/office/powerpoint/2010/main" val="1955460879"/>
              </p:ext>
            </p:extLst>
          </p:nvPr>
        </p:nvGraphicFramePr>
        <p:xfrm>
          <a:off x="453916" y="1331491"/>
          <a:ext cx="8222419" cy="3278508"/>
        </p:xfrm>
        <a:graphic>
          <a:graphicData uri="http://schemas.openxmlformats.org/drawingml/2006/table">
            <a:tbl>
              <a:tblPr/>
              <a:tblGrid>
                <a:gridCol w="1027834">
                  <a:extLst>
                    <a:ext uri="{9D8B030D-6E8A-4147-A177-3AD203B41FA5}">
                      <a16:colId xmlns:a16="http://schemas.microsoft.com/office/drawing/2014/main" val="20000"/>
                    </a:ext>
                  </a:extLst>
                </a:gridCol>
                <a:gridCol w="1127601">
                  <a:extLst>
                    <a:ext uri="{9D8B030D-6E8A-4147-A177-3AD203B41FA5}">
                      <a16:colId xmlns:a16="http://schemas.microsoft.com/office/drawing/2014/main" val="20001"/>
                    </a:ext>
                  </a:extLst>
                </a:gridCol>
                <a:gridCol w="1354346">
                  <a:extLst>
                    <a:ext uri="{9D8B030D-6E8A-4147-A177-3AD203B41FA5}">
                      <a16:colId xmlns:a16="http://schemas.microsoft.com/office/drawing/2014/main" val="20002"/>
                    </a:ext>
                  </a:extLst>
                </a:gridCol>
                <a:gridCol w="1172542">
                  <a:extLst>
                    <a:ext uri="{9D8B030D-6E8A-4147-A177-3AD203B41FA5}">
                      <a16:colId xmlns:a16="http://schemas.microsoft.com/office/drawing/2014/main" val="20003"/>
                    </a:ext>
                  </a:extLst>
                </a:gridCol>
                <a:gridCol w="1270594">
                  <a:extLst>
                    <a:ext uri="{9D8B030D-6E8A-4147-A177-3AD203B41FA5}">
                      <a16:colId xmlns:a16="http://schemas.microsoft.com/office/drawing/2014/main" val="20004"/>
                    </a:ext>
                  </a:extLst>
                </a:gridCol>
                <a:gridCol w="1135772">
                  <a:extLst>
                    <a:ext uri="{9D8B030D-6E8A-4147-A177-3AD203B41FA5}">
                      <a16:colId xmlns:a16="http://schemas.microsoft.com/office/drawing/2014/main" val="20005"/>
                    </a:ext>
                  </a:extLst>
                </a:gridCol>
                <a:gridCol w="1133730">
                  <a:extLst>
                    <a:ext uri="{9D8B030D-6E8A-4147-A177-3AD203B41FA5}">
                      <a16:colId xmlns:a16="http://schemas.microsoft.com/office/drawing/2014/main" val="20006"/>
                    </a:ext>
                  </a:extLst>
                </a:gridCol>
              </a:tblGrid>
              <a:tr h="546418">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公司名称</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row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营品牌</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5">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权结构</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0"/>
                  </a:ext>
                </a:extLst>
              </a:tr>
              <a:tr h="546418">
                <a:tc vMerge="1">
                  <a:txBody>
                    <a:bodyPr/>
                    <a:lstStyle/>
                    <a:p>
                      <a:endParaRPr lang="en-GB"/>
                    </a:p>
                  </a:txBody>
                  <a:tcPr/>
                </a:tc>
                <a:tc v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东</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东</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B</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东</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C</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股东</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D</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54641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经销商</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A</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55%</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45%</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54641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经销商</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B</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B</a:t>
                      </a:r>
                      <a:endParaRPr kumimoji="0" lang="zh-CN"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80%</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20%</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54641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经销商</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C</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品牌</a:t>
                      </a: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C</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70%</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30%</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546418">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zh-CN"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zh-CN"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rPr>
                        <a:t>...</a:t>
                      </a:r>
                      <a:endParaRPr kumimoji="0" lang="en-GB" altLang="en-US" sz="1400" b="0" i="0" u="none" strike="noStrike" cap="none" normalizeH="0" baseline="0">
                        <a:ln>
                          <a:noFill/>
                        </a:ln>
                        <a:solidFill>
                          <a:schemeClr val="tx1"/>
                        </a:solidFill>
                        <a:effectLst/>
                        <a:latin typeface="微软雅黑" panose="020B0503020204020204" pitchFamily="34" charset="-122"/>
                        <a:ea typeface="微软雅黑" panose="020B0503020204020204" pitchFamily="34" charset="-122"/>
                      </a:endParaRP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GB" altLang="en-US" sz="1400" b="0" i="0" u="none" strike="noStrike" cap="none" normalizeH="0" baseline="0" dirty="0">
                          <a:ln>
                            <a:noFill/>
                          </a:ln>
                          <a:solidFill>
                            <a:schemeClr val="tx1"/>
                          </a:solidFill>
                          <a:effectLst/>
                          <a:latin typeface="微软雅黑" panose="020B0503020204020204" pitchFamily="34" charset="-122"/>
                          <a:ea typeface="微软雅黑" panose="020B0503020204020204" pitchFamily="34" charset="-122"/>
                        </a:rPr>
                        <a:t>... </a:t>
                      </a:r>
                    </a:p>
                  </a:txBody>
                  <a:tcPr marL="8330" marR="8330" marT="8328"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5602633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3"/>
          <p:cNvGraphicFramePr>
            <a:graphicFrameLocks noGrp="1"/>
          </p:cNvGraphicFramePr>
          <p:nvPr>
            <p:ph sz="quarter" idx="35"/>
            <p:extLst>
              <p:ext uri="{D42A27DB-BD31-4B8C-83A1-F6EECF244321}">
                <p14:modId xmlns:p14="http://schemas.microsoft.com/office/powerpoint/2010/main" val="1890094397"/>
              </p:ext>
            </p:extLst>
          </p:nvPr>
        </p:nvGraphicFramePr>
        <p:xfrm>
          <a:off x="360363" y="1347788"/>
          <a:ext cx="8390708" cy="3416472"/>
        </p:xfrm>
        <a:graphic>
          <a:graphicData uri="http://schemas.openxmlformats.org/drawingml/2006/table">
            <a:tbl>
              <a:tblPr/>
              <a:tblGrid>
                <a:gridCol w="1199145">
                  <a:extLst>
                    <a:ext uri="{9D8B030D-6E8A-4147-A177-3AD203B41FA5}">
                      <a16:colId xmlns:a16="http://schemas.microsoft.com/office/drawing/2014/main" val="20000"/>
                    </a:ext>
                  </a:extLst>
                </a:gridCol>
                <a:gridCol w="1572432">
                  <a:extLst>
                    <a:ext uri="{9D8B030D-6E8A-4147-A177-3AD203B41FA5}">
                      <a16:colId xmlns:a16="http://schemas.microsoft.com/office/drawing/2014/main" val="20001"/>
                    </a:ext>
                  </a:extLst>
                </a:gridCol>
                <a:gridCol w="675551">
                  <a:extLst>
                    <a:ext uri="{9D8B030D-6E8A-4147-A177-3AD203B41FA5}">
                      <a16:colId xmlns:a16="http://schemas.microsoft.com/office/drawing/2014/main" val="20002"/>
                    </a:ext>
                  </a:extLst>
                </a:gridCol>
                <a:gridCol w="449267">
                  <a:extLst>
                    <a:ext uri="{9D8B030D-6E8A-4147-A177-3AD203B41FA5}">
                      <a16:colId xmlns:a16="http://schemas.microsoft.com/office/drawing/2014/main" val="20003"/>
                    </a:ext>
                  </a:extLst>
                </a:gridCol>
                <a:gridCol w="824205">
                  <a:extLst>
                    <a:ext uri="{9D8B030D-6E8A-4147-A177-3AD203B41FA5}">
                      <a16:colId xmlns:a16="http://schemas.microsoft.com/office/drawing/2014/main" val="20004"/>
                    </a:ext>
                  </a:extLst>
                </a:gridCol>
                <a:gridCol w="1478283">
                  <a:extLst>
                    <a:ext uri="{9D8B030D-6E8A-4147-A177-3AD203B41FA5}">
                      <a16:colId xmlns:a16="http://schemas.microsoft.com/office/drawing/2014/main" val="20005"/>
                    </a:ext>
                  </a:extLst>
                </a:gridCol>
                <a:gridCol w="906791">
                  <a:extLst>
                    <a:ext uri="{9D8B030D-6E8A-4147-A177-3AD203B41FA5}">
                      <a16:colId xmlns:a16="http://schemas.microsoft.com/office/drawing/2014/main" val="20006"/>
                    </a:ext>
                  </a:extLst>
                </a:gridCol>
                <a:gridCol w="1285034">
                  <a:extLst>
                    <a:ext uri="{9D8B030D-6E8A-4147-A177-3AD203B41FA5}">
                      <a16:colId xmlns:a16="http://schemas.microsoft.com/office/drawing/2014/main" val="20007"/>
                    </a:ext>
                  </a:extLst>
                </a:gridCol>
              </a:tblGrid>
              <a:tr h="428807">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姓名       </a:t>
                      </a:r>
                      <a:r>
                        <a:rPr kumimoji="0" lang="ja-JP"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电子邮箱</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row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附近照</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37404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家庭住址  </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6">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vMerge="1">
                  <a:txBody>
                    <a:bodyPr/>
                    <a:lstStyle/>
                    <a:p>
                      <a:endParaRPr lang="en-GB"/>
                    </a:p>
                  </a:txBody>
                  <a:tcPr/>
                </a:tc>
                <a:extLst>
                  <a:ext uri="{0D108BD9-81ED-4DB2-BD59-A6C34878D82A}">
                    <a16:rowId xmlns:a16="http://schemas.microsoft.com/office/drawing/2014/main" val="10001"/>
                  </a:ext>
                </a:extLst>
              </a:tr>
              <a:tr h="422982">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手机 </a:t>
                      </a:r>
                      <a:r>
                        <a:rPr kumimoji="0" lang="ja-JP"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固定电话 </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vMerge="1">
                  <a:txBody>
                    <a:bodyPr/>
                    <a:lstStyle/>
                    <a:p>
                      <a:endParaRPr lang="en-GB"/>
                    </a:p>
                  </a:txBody>
                  <a:tcPr/>
                </a:tc>
                <a:extLst>
                  <a:ext uri="{0D108BD9-81ED-4DB2-BD59-A6C34878D82A}">
                    <a16:rowId xmlns:a16="http://schemas.microsoft.com/office/drawing/2014/main" val="10002"/>
                  </a:ext>
                </a:extLst>
              </a:tr>
              <a:tr h="291309">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学历</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就读年份</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学校名称</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学位</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所学专业</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91309">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中学</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至 </a:t>
                      </a:r>
                      <a:r>
                        <a:rPr kumimoji="0" lang="ja-JP"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291309">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大学</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 </a:t>
                      </a:r>
                      <a:r>
                        <a:rPr kumimoji="0" lang="ja-JP"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291309">
                <a:tc>
                  <a:txBody>
                    <a:bodyPr/>
                    <a:lstStyle>
                      <a:lvl1pPr>
                        <a:spcBef>
                          <a:spcPct val="20000"/>
                        </a:spcBef>
                        <a:tabLst>
                          <a:tab pos="266700" algn="l"/>
                          <a:tab pos="2698750" algn="ctr"/>
                          <a:tab pos="5399088" algn="r"/>
                        </a:tabLst>
                        <a:defRPr sz="2800">
                          <a:solidFill>
                            <a:schemeClr val="tx1"/>
                          </a:solidFill>
                          <a:latin typeface="Arial" panose="020B0604020202020204" pitchFamily="34" charset="0"/>
                        </a:defRPr>
                      </a:lvl1pPr>
                      <a:lvl2pPr marL="742950" indent="-285750">
                        <a:spcBef>
                          <a:spcPct val="20000"/>
                        </a:spcBef>
                        <a:tabLst>
                          <a:tab pos="266700" algn="l"/>
                          <a:tab pos="2698750" algn="ctr"/>
                          <a:tab pos="5399088" algn="r"/>
                        </a:tabLst>
                        <a:defRPr sz="2400">
                          <a:solidFill>
                            <a:schemeClr val="tx1"/>
                          </a:solidFill>
                          <a:latin typeface="Arial" panose="020B0604020202020204" pitchFamily="34" charset="0"/>
                        </a:defRPr>
                      </a:lvl2pPr>
                      <a:lvl3pPr marL="1143000" indent="-228600">
                        <a:spcBef>
                          <a:spcPct val="20000"/>
                        </a:spcBef>
                        <a:tabLst>
                          <a:tab pos="266700" algn="l"/>
                          <a:tab pos="2698750" algn="ctr"/>
                          <a:tab pos="5399088" algn="r"/>
                        </a:tabLst>
                        <a:defRPr sz="2000">
                          <a:solidFill>
                            <a:schemeClr val="tx1"/>
                          </a:solidFill>
                          <a:latin typeface="Arial" panose="020B0604020202020204" pitchFamily="34" charset="0"/>
                        </a:defRPr>
                      </a:lvl3pPr>
                      <a:lvl4pPr marL="1600200" indent="-228600">
                        <a:spcBef>
                          <a:spcPct val="20000"/>
                        </a:spcBef>
                        <a:tabLst>
                          <a:tab pos="266700" algn="l"/>
                          <a:tab pos="2698750" algn="ctr"/>
                          <a:tab pos="5399088" algn="r"/>
                        </a:tabLst>
                        <a:defRPr>
                          <a:solidFill>
                            <a:schemeClr val="tx1"/>
                          </a:solidFill>
                          <a:latin typeface="Arial" panose="020B0604020202020204" pitchFamily="34" charset="0"/>
                        </a:defRPr>
                      </a:lvl4pPr>
                      <a:lvl5pPr marL="2057400" indent="-228600">
                        <a:spcBef>
                          <a:spcPct val="20000"/>
                        </a:spcBef>
                        <a:tabLst>
                          <a:tab pos="266700" algn="l"/>
                          <a:tab pos="2698750" algn="ctr"/>
                          <a:tab pos="5399088" algn="r"/>
                        </a:tabLst>
                        <a:defRPr>
                          <a:solidFill>
                            <a:schemeClr val="tx1"/>
                          </a:solidFill>
                          <a:latin typeface="Arial" panose="020B0604020202020204" pitchFamily="34" charset="0"/>
                        </a:defRPr>
                      </a:lvl5pPr>
                      <a:lvl6pPr marL="25146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6pPr>
                      <a:lvl7pPr marL="29718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7pPr>
                      <a:lvl8pPr marL="34290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8pPr>
                      <a:lvl9pPr marL="3886200" indent="-228600" eaLnBrk="0" fontAlgn="base" hangingPunct="0">
                        <a:spcBef>
                          <a:spcPct val="20000"/>
                        </a:spcBef>
                        <a:spcAft>
                          <a:spcPct val="0"/>
                        </a:spcAft>
                        <a:tabLst>
                          <a:tab pos="266700" algn="l"/>
                          <a:tab pos="2698750" algn="ctr"/>
                          <a:tab pos="5399088" algn="r"/>
                        </a:tabLs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tab pos="266700" algn="l"/>
                          <a:tab pos="2698750" algn="ctr"/>
                          <a:tab pos="5399088" algn="r"/>
                        </a:tabLst>
                      </a:pPr>
                      <a:r>
                        <a:rPr kumimoji="0" lang="zh-TW"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研究</a:t>
                      </a: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生学位</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gridSpan="2">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至 </a:t>
                      </a:r>
                      <a:r>
                        <a:rPr kumimoji="0" lang="ja-JP"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en-US"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gridSpan="3">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ctr"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anchor="ctr"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1025405">
                <a:tc gridSpan="8">
                  <a:txBody>
                    <a:bodyPr/>
                    <a:lstStyle>
                      <a:lvl1pPr>
                        <a:spcBef>
                          <a:spcPct val="20000"/>
                        </a:spcBef>
                        <a:defRPr sz="2800">
                          <a:solidFill>
                            <a:schemeClr val="tx1"/>
                          </a:solidFill>
                          <a:latin typeface="Arial" panose="020B0604020202020204" pitchFamily="34" charset="0"/>
                        </a:defRPr>
                      </a:lvl1pPr>
                      <a:lvl2pPr marL="742950" indent="-285750">
                        <a:spcBef>
                          <a:spcPct val="20000"/>
                        </a:spcBef>
                        <a:defRPr sz="2400">
                          <a:solidFill>
                            <a:schemeClr val="tx1"/>
                          </a:solidFill>
                          <a:latin typeface="Arial" panose="020B0604020202020204" pitchFamily="34" charset="0"/>
                        </a:defRPr>
                      </a:lvl2pPr>
                      <a:lvl3pPr marL="1143000" indent="-228600">
                        <a:spcBef>
                          <a:spcPct val="20000"/>
                        </a:spcBef>
                        <a:defRPr sz="2000">
                          <a:solidFill>
                            <a:schemeClr val="tx1"/>
                          </a:solidFill>
                          <a:latin typeface="Arial" panose="020B0604020202020204" pitchFamily="34" charset="0"/>
                        </a:defRPr>
                      </a:lvl3pPr>
                      <a:lvl4pPr marL="1600200" indent="-228600">
                        <a:spcBef>
                          <a:spcPct val="20000"/>
                        </a:spcBef>
                        <a:defRPr>
                          <a:solidFill>
                            <a:schemeClr val="tx1"/>
                          </a:solidFill>
                          <a:latin typeface="Arial" panose="020B0604020202020204" pitchFamily="34" charset="0"/>
                        </a:defRPr>
                      </a:lvl4pPr>
                      <a:lvl5pPr marL="2057400" indent="-22860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ase" latinLnBrk="0" hangingPunct="1">
                        <a:lnSpc>
                          <a:spcPct val="100000"/>
                        </a:lnSpc>
                        <a:spcBef>
                          <a:spcPts val="238"/>
                        </a:spcBef>
                        <a:spcAft>
                          <a:spcPts val="238"/>
                        </a:spcAft>
                        <a:buClrTx/>
                        <a:buSzTx/>
                        <a:buFontTx/>
                        <a:buNone/>
                        <a:tabLst/>
                      </a:pPr>
                      <a:r>
                        <a:rPr kumimoji="0" lang="zh-CN" altLang="en-US"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如阁下认为以往曾参加过任何有助于拥有或者经沃尔沃汽车品牌特约店的课程及培训，请列出</a:t>
                      </a:r>
                      <a:r>
                        <a:rPr kumimoji="0" lang="en-US"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endParaRPr>
                    </a:p>
                    <a:p>
                      <a:pPr marL="0" marR="0" lvl="0" indent="0" algn="l" defTabSz="914400" rtl="0" eaLnBrk="1" fontAlgn="base" latinLnBrk="0" hangingPunct="1">
                        <a:lnSpc>
                          <a:spcPct val="100000"/>
                        </a:lnSpc>
                        <a:spcBef>
                          <a:spcPts val="238"/>
                        </a:spcBef>
                        <a:spcAft>
                          <a:spcPts val="238"/>
                        </a:spcAft>
                        <a:buClrTx/>
                        <a:buSzTx/>
                        <a:buFontTx/>
                        <a:buNone/>
                        <a:tabLst/>
                      </a:pPr>
                      <a:r>
                        <a:rPr kumimoji="0" lang="ja-JP"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rPr>
                        <a:t>     </a:t>
                      </a:r>
                      <a:endParaRPr kumimoji="0" lang="zh-CN" altLang="zh-CN" sz="1400" b="0" i="0" u="none" strike="noStrike" cap="none" normalizeH="0" baseline="0" dirty="0">
                        <a:ln>
                          <a:noFill/>
                        </a:ln>
                        <a:solidFill>
                          <a:srgbClr val="000000"/>
                        </a:solidFill>
                        <a:effectLst/>
                        <a:latin typeface="微软雅黑" panose="020B0503020204020204" pitchFamily="34" charset="-122"/>
                        <a:ea typeface="微软雅黑" panose="020B0503020204020204" pitchFamily="34" charset="-122"/>
                        <a:cs typeface="Times New Roman" panose="02020603050405020304" pitchFamily="18" charset="0"/>
                      </a:endParaRPr>
                    </a:p>
                  </a:txBody>
                  <a:tcPr marL="57754" marR="57754" marT="0" marB="0" horzOverflow="overflow">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no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bl>
          </a:graphicData>
        </a:graphic>
      </p:graphicFrame>
      <p:sp>
        <p:nvSpPr>
          <p:cNvPr id="4" name="Title 3"/>
          <p:cNvSpPr>
            <a:spLocks noGrp="1"/>
          </p:cNvSpPr>
          <p:nvPr>
            <p:ph type="title"/>
          </p:nvPr>
        </p:nvSpPr>
        <p:spPr/>
        <p:txBody>
          <a:bodyPr/>
          <a:lstStyle/>
          <a:p>
            <a:r>
              <a:rPr lang="zh-CN" altLang="en-US" b="1" dirty="0">
                <a:latin typeface="微软雅黑" panose="020B0503020204020204" pitchFamily="34" charset="-122"/>
                <a:ea typeface="微软雅黑" panose="020B0503020204020204" pitchFamily="34" charset="-122"/>
              </a:rPr>
              <a:t>申请者经营决策者简历</a:t>
            </a:r>
            <a:endParaRPr lang="en-GB" b="1" dirty="0">
              <a:latin typeface="微软雅黑" panose="020B0503020204020204" pitchFamily="34" charset="-122"/>
              <a:ea typeface="微软雅黑" panose="020B0503020204020204" pitchFamily="34" charset="-122"/>
            </a:endParaRPr>
          </a:p>
        </p:txBody>
      </p:sp>
      <p:sp>
        <p:nvSpPr>
          <p:cNvPr id="6" name="Slide Number Placeholder 5"/>
          <p:cNvSpPr>
            <a:spLocks noGrp="1"/>
          </p:cNvSpPr>
          <p:nvPr>
            <p:ph type="sldNum" sz="quarter" idx="4"/>
          </p:nvPr>
        </p:nvSpPr>
        <p:spPr/>
        <p:txBody>
          <a:bodyPr/>
          <a:lstStyle/>
          <a:p>
            <a:fld id="{6F67B5D9-DB62-4DEA-AF3E-B11D0AE898D7}" type="slidenum">
              <a:rPr lang="sv-SE" smtClean="0">
                <a:latin typeface="微软雅黑" panose="020B0503020204020204" pitchFamily="34" charset="-122"/>
                <a:ea typeface="微软雅黑" panose="020B0503020204020204" pitchFamily="34" charset="-122"/>
              </a:rPr>
              <a:pPr/>
              <a:t>9</a:t>
            </a:fld>
            <a:endParaRPr lang="sv-SE">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1765619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olvo Cars">
  <a:themeElements>
    <a:clrScheme name="Volvo Cars">
      <a:dk1>
        <a:srgbClr val="000000"/>
      </a:dk1>
      <a:lt1>
        <a:srgbClr val="FFFFFF"/>
      </a:lt1>
      <a:dk2>
        <a:srgbClr val="000000"/>
      </a:dk2>
      <a:lt2>
        <a:srgbClr val="FFFFFF"/>
      </a:lt2>
      <a:accent1>
        <a:srgbClr val="3D567E"/>
      </a:accent1>
      <a:accent2>
        <a:srgbClr val="8897AF"/>
      </a:accent2>
      <a:accent3>
        <a:srgbClr val="A13432"/>
      </a:accent3>
      <a:accent4>
        <a:srgbClr val="D7A49C"/>
      </a:accent4>
      <a:accent5>
        <a:srgbClr val="68875C"/>
      </a:accent5>
      <a:accent6>
        <a:srgbClr val="A4AE9B"/>
      </a:accent6>
      <a:hlink>
        <a:srgbClr val="3D567E"/>
      </a:hlink>
      <a:folHlink>
        <a:srgbClr val="8897AF"/>
      </a:folHlink>
    </a:clrScheme>
    <a:fontScheme name="Custom 3">
      <a:majorFont>
        <a:latin typeface="Volvo Novum"/>
        <a:ea typeface="Microsoft YaHei"/>
        <a:cs typeface=""/>
      </a:majorFont>
      <a:minorFont>
        <a:latin typeface="Volvo Novum"/>
        <a:ea typeface="Microsoft YaHei Light"/>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lIns="0" tIns="0" rIns="0" bIns="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0" tIns="0" rIns="0" bIns="0" rtlCol="0">
        <a:noAutofit/>
      </a:bodyPr>
      <a:lstStyle>
        <a:defPPr algn="l">
          <a:lnSpc>
            <a:spcPct val="120000"/>
          </a:lnSpc>
          <a:defRPr sz="1200" dirty="0">
            <a:latin typeface="Volvo Novum Light" panose="020B0303040502060204" pitchFamily="34" charset="77"/>
          </a:defRPr>
        </a:defPPr>
      </a:lstStyle>
    </a:txDef>
  </a:objectDefaults>
  <a:extraClrSchemeLst/>
  <a:extLst>
    <a:ext uri="{05A4C25C-085E-4340-85A3-A5531E510DB2}">
      <thm15:themeFamily xmlns:thm15="http://schemas.microsoft.com/office/thememl/2012/main" name="Presentation1" id="{94646C01-2045-4090-A794-AC9800680A32}" vid="{F0931F73-0B39-4D5E-A95D-C11655831D4F}"/>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D7375A3CB3E0A4AA9F30CCADBFB9DFE" ma:contentTypeVersion="0" ma:contentTypeDescription="Create a new document." ma:contentTypeScope="" ma:versionID="5143fa916b7d92121dcff4e58af9146b">
  <xsd:schema xmlns:xsd="http://www.w3.org/2001/XMLSchema" xmlns:xs="http://www.w3.org/2001/XMLSchema" xmlns:p="http://schemas.microsoft.com/office/2006/metadata/properties" targetNamespace="http://schemas.microsoft.com/office/2006/metadata/properties" ma:root="true" ma:fieldsID="746f00e840f102eddbd7381b3b4a489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07C7440-6781-4DDC-BD71-108C2E5632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1A017F36-7042-4080-AED3-02A1DA81E42A}">
  <ds:schemaRefs>
    <ds:schemaRef ds:uri="http://purl.org/dc/elements/1.1/"/>
    <ds:schemaRef ds:uri="http://schemas.microsoft.com/office/2006/documentManagement/types"/>
    <ds:schemaRef ds:uri="http://schemas.microsoft.com/office/2006/metadata/properties"/>
    <ds:schemaRef ds:uri="http://schemas.openxmlformats.org/package/2006/metadata/core-properties"/>
    <ds:schemaRef ds:uri="http://purl.org/dc/terms/"/>
    <ds:schemaRef ds:uri="http://purl.org/dc/dcmitype/"/>
    <ds:schemaRef ds:uri="http://www.w3.org/XML/1998/namespace"/>
    <ds:schemaRef ds:uri="http://schemas.microsoft.com/office/infopath/2007/PartnerControls"/>
  </ds:schemaRefs>
</ds:datastoreItem>
</file>

<file path=customXml/itemProps3.xml><?xml version="1.0" encoding="utf-8"?>
<ds:datastoreItem xmlns:ds="http://schemas.openxmlformats.org/officeDocument/2006/customXml" ds:itemID="{B346202D-86E3-4AB7-87A8-0E5BCE272532}">
  <ds:schemaRefs>
    <ds:schemaRef ds:uri="http://schemas.microsoft.com/sharepoint/v3/contenttype/forms"/>
  </ds:schemaRefs>
</ds:datastoreItem>
</file>

<file path=docMetadata/LabelInfo.xml><?xml version="1.0" encoding="utf-8"?>
<clbl:labelList xmlns:clbl="http://schemas.microsoft.com/office/2020/mipLabelMetadata">
  <clbl:label id="{7fea2623-af8f-4fb8-b1cf-b63cc8e496aa}" enabled="1" method="Privileged" siteId="{81fa766e-a349-4867-8bf4-ab35e250a08f}" removed="0"/>
</clbl:labelList>
</file>

<file path=docProps/app.xml><?xml version="1.0" encoding="utf-8"?>
<Properties xmlns="http://schemas.openxmlformats.org/officeDocument/2006/extended-properties" xmlns:vt="http://schemas.openxmlformats.org/officeDocument/2006/docPropsVTypes">
  <Template>Volvo_Car_Corporation_2014_16x9</Template>
  <TotalTime>1966</TotalTime>
  <Words>4057</Words>
  <Application>Microsoft Office PowerPoint</Application>
  <PresentationFormat>自定义</PresentationFormat>
  <Paragraphs>1428</Paragraphs>
  <Slides>65</Slides>
  <Notes>11</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2</vt:i4>
      </vt:variant>
      <vt:variant>
        <vt:lpstr>幻灯片标题</vt:lpstr>
      </vt:variant>
      <vt:variant>
        <vt:i4>65</vt:i4>
      </vt:variant>
    </vt:vector>
  </HeadingPairs>
  <TitlesOfParts>
    <vt:vector size="78" baseType="lpstr">
      <vt:lpstr>Volvo Novum Light</vt:lpstr>
      <vt:lpstr>Volvo Novum</vt:lpstr>
      <vt:lpstr>Wingdings</vt:lpstr>
      <vt:lpstr>微软雅黑</vt:lpstr>
      <vt:lpstr>Times</vt:lpstr>
      <vt:lpstr>Arial</vt:lpstr>
      <vt:lpstr>Verdana</vt:lpstr>
      <vt:lpstr>Volvo Novum Medium</vt:lpstr>
      <vt:lpstr>Calibri</vt:lpstr>
      <vt:lpstr>微软雅黑</vt:lpstr>
      <vt:lpstr>Volvo Cars</vt:lpstr>
      <vt:lpstr>think-cell 幻灯片</vt:lpstr>
      <vt:lpstr>Document</vt:lpstr>
      <vt:lpstr>沃尔沃汽车经销商申请业务计划书 </vt:lpstr>
      <vt:lpstr>申请联系人信息</vt:lpstr>
      <vt:lpstr>内容</vt:lpstr>
      <vt:lpstr>申请公司介绍</vt:lpstr>
      <vt:lpstr>申请公司介绍</vt:lpstr>
      <vt:lpstr>申请公司介绍</vt:lpstr>
      <vt:lpstr>申请公司介绍</vt:lpstr>
      <vt:lpstr>申请公司所经营品牌股权结构</vt:lpstr>
      <vt:lpstr>申请者经营决策者简历</vt:lpstr>
      <vt:lpstr>申请者经营决策者简历</vt:lpstr>
      <vt:lpstr>申请公司介绍</vt:lpstr>
      <vt:lpstr>申请公司介绍</vt:lpstr>
      <vt:lpstr>申请公司介绍</vt:lpstr>
      <vt:lpstr>申请公司介绍</vt:lpstr>
      <vt:lpstr>申请公司介绍</vt:lpstr>
      <vt:lpstr>申请公司介绍</vt:lpstr>
      <vt:lpstr>申请公司介绍</vt:lpstr>
      <vt:lpstr>申请公司介绍</vt:lpstr>
      <vt:lpstr>申请公司介绍</vt:lpstr>
      <vt:lpstr>申请公司介绍</vt:lpstr>
      <vt:lpstr>申请公司运营业绩-证明文件</vt:lpstr>
      <vt:lpstr>申请公司介绍</vt:lpstr>
      <vt:lpstr>申请公司介绍</vt:lpstr>
      <vt:lpstr>申请公司介绍</vt:lpstr>
      <vt:lpstr>申请公司介绍</vt:lpstr>
      <vt:lpstr>申请公司介绍</vt:lpstr>
      <vt:lpstr>申请公司介绍</vt:lpstr>
      <vt:lpstr>申请公司介绍</vt:lpstr>
      <vt:lpstr>申请沃尔沃经销商 的业务计划</vt:lpstr>
      <vt:lpstr>当地市场分析 (行政区划地图和介绍)</vt:lpstr>
      <vt:lpstr>当地市场分析 （当地市场简介）</vt:lpstr>
      <vt:lpstr>当地汽车零售市场分析</vt:lpstr>
      <vt:lpstr>申请者商业计划</vt:lpstr>
      <vt:lpstr>申请者商业计划</vt:lpstr>
      <vt:lpstr>申请者商业计划</vt:lpstr>
      <vt:lpstr>建议4S店场地</vt:lpstr>
      <vt:lpstr>建议4S店场地 – 位置</vt:lpstr>
      <vt:lpstr>建议4S店场地 – 照片I</vt:lpstr>
      <vt:lpstr>建议4S店场地 – 室内照片I</vt:lpstr>
      <vt:lpstr>建议4S店土地 – 新建店（红线图）</vt:lpstr>
      <vt:lpstr> 建议4S店土地 – 改建店（总平面图、平面图及立面图）</vt:lpstr>
      <vt:lpstr>建议场地 – 详细规划信息</vt:lpstr>
      <vt:lpstr>建议场地 – 详细建筑信息</vt:lpstr>
      <vt:lpstr>建议土地 – 其它</vt:lpstr>
      <vt:lpstr>场地准备状况</vt:lpstr>
      <vt:lpstr>建议土地 – 项目时间表</vt:lpstr>
      <vt:lpstr>4S店场地方案总结</vt:lpstr>
      <vt:lpstr>申请者商业计划</vt:lpstr>
      <vt:lpstr>申请者商业计划</vt:lpstr>
      <vt:lpstr>投资回报分析  (参照如下格式分析)</vt:lpstr>
      <vt:lpstr>投资回报分析  (参照如下格式分析)</vt:lpstr>
      <vt:lpstr>申请者商业计划</vt:lpstr>
      <vt:lpstr>投资回报分析总结</vt:lpstr>
      <vt:lpstr>申请者商业计划</vt:lpstr>
      <vt:lpstr>申请者业务计划</vt:lpstr>
      <vt:lpstr>决策机制</vt:lpstr>
      <vt:lpstr>申请者业务计划</vt:lpstr>
      <vt:lpstr>申请者业务计划</vt:lpstr>
      <vt:lpstr>建议的未来决策人（如果已经有）</vt:lpstr>
      <vt:lpstr>建议的未来总经理（如果已经有）</vt:lpstr>
      <vt:lpstr>申请总结</vt:lpstr>
      <vt:lpstr>需要提交清单</vt:lpstr>
      <vt:lpstr>申请者声明与保证</vt:lpstr>
      <vt:lpstr>提交</vt:lpstr>
      <vt:lpstr>PowerPoint 演示文稿</vt:lpstr>
    </vt:vector>
  </TitlesOfParts>
  <Company>Volvo Car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ersson Kargede, Maria (M. .)</dc:creator>
  <cp:lastModifiedBy>Qin, Lisha (Lisa)</cp:lastModifiedBy>
  <cp:revision>116</cp:revision>
  <cp:lastPrinted>2014-07-03T08:43:28Z</cp:lastPrinted>
  <dcterms:created xsi:type="dcterms:W3CDTF">2018-01-16T12:25:58Z</dcterms:created>
  <dcterms:modified xsi:type="dcterms:W3CDTF">2025-06-24T09:01: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D7375A3CB3E0A4AA9F30CCADBFB9DFE</vt:lpwstr>
  </property>
  <property fmtid="{D5CDD505-2E9C-101B-9397-08002B2CF9AE}" pid="3" name="MSIP_Label_7fea2623-af8f-4fb8-b1cf-b63cc8e496aa_Enabled">
    <vt:lpwstr>True</vt:lpwstr>
  </property>
  <property fmtid="{D5CDD505-2E9C-101B-9397-08002B2CF9AE}" pid="4" name="MSIP_Label_7fea2623-af8f-4fb8-b1cf-b63cc8e496aa_SiteId">
    <vt:lpwstr>81fa766e-a349-4867-8bf4-ab35e250a08f</vt:lpwstr>
  </property>
  <property fmtid="{D5CDD505-2E9C-101B-9397-08002B2CF9AE}" pid="5" name="MSIP_Label_7fea2623-af8f-4fb8-b1cf-b63cc8e496aa_Ref">
    <vt:lpwstr>https://api.informationprotection.azure.com/api/81fa766e-a349-4867-8bf4-ab35e250a08f</vt:lpwstr>
  </property>
  <property fmtid="{D5CDD505-2E9C-101B-9397-08002B2CF9AE}" pid="6" name="MSIP_Label_7fea2623-af8f-4fb8-b1cf-b63cc8e496aa_SetDate">
    <vt:lpwstr>2018-05-28T15:27:52.6625721+08:00</vt:lpwstr>
  </property>
  <property fmtid="{D5CDD505-2E9C-101B-9397-08002B2CF9AE}" pid="7" name="MSIP_Label_7fea2623-af8f-4fb8-b1cf-b63cc8e496aa_Name">
    <vt:lpwstr>Proprietary</vt:lpwstr>
  </property>
  <property fmtid="{D5CDD505-2E9C-101B-9397-08002B2CF9AE}" pid="8" name="MSIP_Label_7fea2623-af8f-4fb8-b1cf-b63cc8e496aa_Extended_MSFT_Method">
    <vt:lpwstr>Automatic</vt:lpwstr>
  </property>
  <property fmtid="{D5CDD505-2E9C-101B-9397-08002B2CF9AE}" pid="9" name="Sensitivity">
    <vt:lpwstr>Proprietary</vt:lpwstr>
  </property>
</Properties>
</file>